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7.xml" ContentType="application/vnd.openxmlformats-officedocument.presentationml.tags+xml"/>
  <Override PartName="/ppt/notesSlides/notesSlide1.xml" ContentType="application/vnd.openxmlformats-officedocument.presentationml.notesSlide+xml"/>
  <Override PartName="/ppt/tags/tag58.xml" ContentType="application/vnd.openxmlformats-officedocument.presentationml.tags+xml"/>
  <Override PartName="/ppt/notesSlides/notesSlide2.xml" ContentType="application/vnd.openxmlformats-officedocument.presentationml.notesSlide+xml"/>
  <Override PartName="/ppt/tags/tag59.xml" ContentType="application/vnd.openxmlformats-officedocument.presentationml.tags+xml"/>
  <Override PartName="/ppt/notesSlides/notesSlide3.xml" ContentType="application/vnd.openxmlformats-officedocument.presentationml.notesSlide+xml"/>
  <Override PartName="/ppt/tags/tag60.xml" ContentType="application/vnd.openxmlformats-officedocument.presentationml.tags+xml"/>
  <Override PartName="/ppt/notesSlides/notesSlide4.xml" ContentType="application/vnd.openxmlformats-officedocument.presentationml.notesSlide+xml"/>
  <Override PartName="/ppt/tags/tag61.xml" ContentType="application/vnd.openxmlformats-officedocument.presentationml.tags+xml"/>
  <Override PartName="/ppt/notesSlides/notesSlide5.xml" ContentType="application/vnd.openxmlformats-officedocument.presentationml.notesSlide+xml"/>
  <Override PartName="/ppt/tags/tag62.xml" ContentType="application/vnd.openxmlformats-officedocument.presentationml.tags+xml"/>
  <Override PartName="/ppt/notesSlides/notesSlide6.xml" ContentType="application/vnd.openxmlformats-officedocument.presentationml.notesSlide+xml"/>
  <Override PartName="/ppt/tags/tag63.xml" ContentType="application/vnd.openxmlformats-officedocument.presentationml.tags+xml"/>
  <Override PartName="/ppt/notesSlides/notesSlide7.xml" ContentType="application/vnd.openxmlformats-officedocument.presentationml.notesSlide+xml"/>
  <Override PartName="/ppt/tags/tag64.xml" ContentType="application/vnd.openxmlformats-officedocument.presentationml.tags+xml"/>
  <Override PartName="/ppt/notesSlides/notesSlide8.xml" ContentType="application/vnd.openxmlformats-officedocument.presentationml.notesSlide+xml"/>
  <Override PartName="/ppt/tags/tag65.xml" ContentType="application/vnd.openxmlformats-officedocument.presentationml.tags+xml"/>
  <Override PartName="/ppt/notesSlides/notesSlide9.xml" ContentType="application/vnd.openxmlformats-officedocument.presentationml.notesSlide+xml"/>
  <Override PartName="/ppt/tags/tag66.xml" ContentType="application/vnd.openxmlformats-officedocument.presentationml.tags+xml"/>
  <Override PartName="/ppt/notesSlides/notesSlide10.xml" ContentType="application/vnd.openxmlformats-officedocument.presentationml.notesSlide+xml"/>
  <Override PartName="/ppt/tags/tag67.xml" ContentType="application/vnd.openxmlformats-officedocument.presentationml.tags+xml"/>
  <Override PartName="/ppt/notesSlides/notesSlide11.xml" ContentType="application/vnd.openxmlformats-officedocument.presentationml.notesSlide+xml"/>
  <Override PartName="/ppt/tags/tag68.xml" ContentType="application/vnd.openxmlformats-officedocument.presentationml.tags+xml"/>
  <Override PartName="/ppt/notesSlides/notesSlide12.xml" ContentType="application/vnd.openxmlformats-officedocument.presentationml.notesSlide+xml"/>
  <Override PartName="/ppt/tags/tag69.xml" ContentType="application/vnd.openxmlformats-officedocument.presentationml.tags+xml"/>
  <Override PartName="/ppt/notesSlides/notesSlide13.xml" ContentType="application/vnd.openxmlformats-officedocument.presentationml.notesSlide+xml"/>
  <Override PartName="/ppt/tags/tag70.xml" ContentType="application/vnd.openxmlformats-officedocument.presentationml.tags+xml"/>
  <Override PartName="/ppt/notesSlides/notesSlide14.xml" ContentType="application/vnd.openxmlformats-officedocument.presentationml.notesSlide+xml"/>
  <Override PartName="/ppt/tags/tag71.xml" ContentType="application/vnd.openxmlformats-officedocument.presentationml.tags+xml"/>
  <Override PartName="/ppt/notesSlides/notesSlide15.xml" ContentType="application/vnd.openxmlformats-officedocument.presentationml.notesSlide+xml"/>
  <Override PartName="/ppt/tags/tag72.xml" ContentType="application/vnd.openxmlformats-officedocument.presentationml.tags+xml"/>
  <Override PartName="/ppt/notesSlides/notesSlide16.xml" ContentType="application/vnd.openxmlformats-officedocument.presentationml.notesSlide+xml"/>
  <Override PartName="/ppt/tags/tag73.xml" ContentType="application/vnd.openxmlformats-officedocument.presentationml.tags+xml"/>
  <Override PartName="/ppt/notesSlides/notesSlide17.xml" ContentType="application/vnd.openxmlformats-officedocument.presentationml.notesSlide+xml"/>
  <Override PartName="/ppt/tags/tag74.xml" ContentType="application/vnd.openxmlformats-officedocument.presentationml.tags+xml"/>
  <Override PartName="/ppt/notesSlides/notesSlide18.xml" ContentType="application/vnd.openxmlformats-officedocument.presentationml.notesSlide+xml"/>
  <Override PartName="/ppt/tags/tag75.xml" ContentType="application/vnd.openxmlformats-officedocument.presentationml.tags+xml"/>
  <Override PartName="/ppt/notesSlides/notesSlide19.xml" ContentType="application/vnd.openxmlformats-officedocument.presentationml.notesSlide+xml"/>
  <Override PartName="/ppt/tags/tag76.xml" ContentType="application/vnd.openxmlformats-officedocument.presentationml.tags+xml"/>
  <Override PartName="/ppt/notesSlides/notesSlide20.xml" ContentType="application/vnd.openxmlformats-officedocument.presentationml.notesSlide+xml"/>
  <Override PartName="/ppt/tags/tag77.xml" ContentType="application/vnd.openxmlformats-officedocument.presentationml.tags+xml"/>
  <Override PartName="/ppt/notesSlides/notesSlide21.xml" ContentType="application/vnd.openxmlformats-officedocument.presentationml.notesSlide+xml"/>
  <Override PartName="/ppt/tags/tag78.xml" ContentType="application/vnd.openxmlformats-officedocument.presentationml.tags+xml"/>
  <Override PartName="/ppt/notesSlides/notesSlide22.xml" ContentType="application/vnd.openxmlformats-officedocument.presentationml.notesSlide+xml"/>
  <Override PartName="/ppt/tags/tag79.xml" ContentType="application/vnd.openxmlformats-officedocument.presentationml.tags+xml"/>
  <Override PartName="/ppt/notesSlides/notesSlide23.xml" ContentType="application/vnd.openxmlformats-officedocument.presentationml.notesSlide+xml"/>
  <Override PartName="/ppt/tags/tag80.xml" ContentType="application/vnd.openxmlformats-officedocument.presentationml.tags+xml"/>
  <Override PartName="/ppt/notesSlides/notesSlide24.xml" ContentType="application/vnd.openxmlformats-officedocument.presentationml.notesSlide+xml"/>
  <Override PartName="/ppt/tags/tag81.xml" ContentType="application/vnd.openxmlformats-officedocument.presentationml.tags+xml"/>
  <Override PartName="/ppt/notesSlides/notesSlide25.xml" ContentType="application/vnd.openxmlformats-officedocument.presentationml.notesSlide+xml"/>
  <Override PartName="/ppt/tags/tag82.xml" ContentType="application/vnd.openxmlformats-officedocument.presentationml.tags+xml"/>
  <Override PartName="/ppt/notesSlides/notesSlide26.xml" ContentType="application/vnd.openxmlformats-officedocument.presentationml.notesSlide+xml"/>
  <Override PartName="/ppt/tags/tag83.xml" ContentType="application/vnd.openxmlformats-officedocument.presentationml.tags+xml"/>
  <Override PartName="/ppt/notesSlides/notesSlide27.xml" ContentType="application/vnd.openxmlformats-officedocument.presentationml.notesSlide+xml"/>
  <Override PartName="/ppt/tags/tag84.xml" ContentType="application/vnd.openxmlformats-officedocument.presentationml.tags+xml"/>
  <Override PartName="/ppt/notesSlides/notesSlide28.xml" ContentType="application/vnd.openxmlformats-officedocument.presentationml.notesSlide+xml"/>
  <Override PartName="/ppt/tags/tag85.xml" ContentType="application/vnd.openxmlformats-officedocument.presentationml.tags+xml"/>
  <Override PartName="/ppt/notesSlides/notesSlide29.xml" ContentType="application/vnd.openxmlformats-officedocument.presentationml.notesSlide+xml"/>
  <Override PartName="/ppt/tags/tag86.xml" ContentType="application/vnd.openxmlformats-officedocument.presentationml.tags+xml"/>
  <Override PartName="/ppt/notesSlides/notesSlide30.xml" ContentType="application/vnd.openxmlformats-officedocument.presentationml.notesSlide+xml"/>
  <Override PartName="/ppt/tags/tag87.xml" ContentType="application/vnd.openxmlformats-officedocument.presentationml.tags+xml"/>
  <Override PartName="/ppt/notesSlides/notesSlide31.xml" ContentType="application/vnd.openxmlformats-officedocument.presentationml.notesSlide+xml"/>
  <Override PartName="/ppt/tags/tag88.xml" ContentType="application/vnd.openxmlformats-officedocument.presentationml.tags+xml"/>
  <Override PartName="/ppt/notesSlides/notesSlide32.xml" ContentType="application/vnd.openxmlformats-officedocument.presentationml.notesSlide+xml"/>
  <Override PartName="/ppt/tags/tag89.xml" ContentType="application/vnd.openxmlformats-officedocument.presentationml.tags+xml"/>
  <Override PartName="/ppt/notesSlides/notesSlide33.xml" ContentType="application/vnd.openxmlformats-officedocument.presentationml.notesSlide+xml"/>
  <Override PartName="/ppt/tags/tag90.xml" ContentType="application/vnd.openxmlformats-officedocument.presentationml.tags+xml"/>
  <Override PartName="/ppt/notesSlides/notesSlide34.xml" ContentType="application/vnd.openxmlformats-officedocument.presentationml.notesSlide+xml"/>
  <Override PartName="/ppt/tags/tag91.xml" ContentType="application/vnd.openxmlformats-officedocument.presentationml.tags+xml"/>
  <Override PartName="/ppt/notesSlides/notesSlide35.xml" ContentType="application/vnd.openxmlformats-officedocument.presentationml.notesSlide+xml"/>
  <Override PartName="/ppt/tags/tag92.xml" ContentType="application/vnd.openxmlformats-officedocument.presentationml.tags+xml"/>
  <Override PartName="/ppt/notesSlides/notesSlide36.xml" ContentType="application/vnd.openxmlformats-officedocument.presentationml.notesSlide+xml"/>
  <Override PartName="/ppt/tags/tag93.xml" ContentType="application/vnd.openxmlformats-officedocument.presentationml.tags+xml"/>
  <Override PartName="/ppt/notesSlides/notesSlide37.xml" ContentType="application/vnd.openxmlformats-officedocument.presentationml.notesSlide+xml"/>
  <Override PartName="/ppt/tags/tag94.xml" ContentType="application/vnd.openxmlformats-officedocument.presentationml.tags+xml"/>
  <Override PartName="/ppt/notesSlides/notesSlide38.xml" ContentType="application/vnd.openxmlformats-officedocument.presentationml.notesSlide+xml"/>
  <Override PartName="/ppt/tags/tag95.xml" ContentType="application/vnd.openxmlformats-officedocument.presentationml.tags+xml"/>
  <Override PartName="/ppt/notesSlides/notesSlide39.xml" ContentType="application/vnd.openxmlformats-officedocument.presentationml.notesSlide+xml"/>
  <Override PartName="/ppt/tags/tag96.xml" ContentType="application/vnd.openxmlformats-officedocument.presentationml.tags+xml"/>
  <Override PartName="/ppt/notesSlides/notesSlide40.xml" ContentType="application/vnd.openxmlformats-officedocument.presentationml.notesSlide+xml"/>
  <Override PartName="/ppt/tags/tag97.xml" ContentType="application/vnd.openxmlformats-officedocument.presentationml.tags+xml"/>
  <Override PartName="/ppt/notesSlides/notesSlide41.xml" ContentType="application/vnd.openxmlformats-officedocument.presentationml.notesSlide+xml"/>
  <Override PartName="/ppt/tags/tag98.xml" ContentType="application/vnd.openxmlformats-officedocument.presentationml.tags+xml"/>
  <Override PartName="/ppt/notesSlides/notesSlide42.xml" ContentType="application/vnd.openxmlformats-officedocument.presentationml.notesSlide+xml"/>
  <Override PartName="/ppt/tags/tag99.xml" ContentType="application/vnd.openxmlformats-officedocument.presentationml.tags+xml"/>
  <Override PartName="/ppt/notesSlides/notesSlide43.xml" ContentType="application/vnd.openxmlformats-officedocument.presentationml.notesSlide+xml"/>
  <Override PartName="/ppt/tags/tag100.xml" ContentType="application/vnd.openxmlformats-officedocument.presentationml.tags+xml"/>
  <Override PartName="/ppt/notesSlides/notesSlide44.xml" ContentType="application/vnd.openxmlformats-officedocument.presentationml.notesSlide+xml"/>
  <Override PartName="/ppt/tags/tag101.xml" ContentType="application/vnd.openxmlformats-officedocument.presentationml.tags+xml"/>
  <Override PartName="/ppt/notesSlides/notesSlide45.xml" ContentType="application/vnd.openxmlformats-officedocument.presentationml.notesSlide+xml"/>
  <Override PartName="/ppt/tags/tag102.xml" ContentType="application/vnd.openxmlformats-officedocument.presentationml.tags+xml"/>
  <Override PartName="/ppt/notesSlides/notesSlide46.xml" ContentType="application/vnd.openxmlformats-officedocument.presentationml.notesSlide+xml"/>
  <Override PartName="/ppt/tags/tag103.xml" ContentType="application/vnd.openxmlformats-officedocument.presentationml.tags+xml"/>
  <Override PartName="/ppt/notesSlides/notesSlide47.xml" ContentType="application/vnd.openxmlformats-officedocument.presentationml.notesSlide+xml"/>
  <Override PartName="/ppt/tags/tag104.xml" ContentType="application/vnd.openxmlformats-officedocument.presentationml.tags+xml"/>
  <Override PartName="/ppt/notesSlides/notesSlide48.xml" ContentType="application/vnd.openxmlformats-officedocument.presentationml.notesSlide+xml"/>
  <Override PartName="/ppt/tags/tag105.xml" ContentType="application/vnd.openxmlformats-officedocument.presentationml.tags+xml"/>
  <Override PartName="/ppt/notesSlides/notesSlide49.xml" ContentType="application/vnd.openxmlformats-officedocument.presentationml.notesSlide+xml"/>
  <Override PartName="/ppt/tags/tag106.xml" ContentType="application/vnd.openxmlformats-officedocument.presentationml.tags+xml"/>
  <Override PartName="/ppt/notesSlides/notesSlide50.xml" ContentType="application/vnd.openxmlformats-officedocument.presentationml.notesSlide+xml"/>
  <Override PartName="/ppt/tags/tag107.xml" ContentType="application/vnd.openxmlformats-officedocument.presentationml.tags+xml"/>
  <Override PartName="/ppt/notesSlides/notesSlide51.xml" ContentType="application/vnd.openxmlformats-officedocument.presentationml.notesSlide+xml"/>
  <Override PartName="/ppt/tags/tag108.xml" ContentType="application/vnd.openxmlformats-officedocument.presentationml.tags+xml"/>
  <Override PartName="/ppt/notesSlides/notesSlide52.xml" ContentType="application/vnd.openxmlformats-officedocument.presentationml.notesSlide+xml"/>
  <Override PartName="/ppt/tags/tag109.xml" ContentType="application/vnd.openxmlformats-officedocument.presentationml.tags+xml"/>
  <Override PartName="/ppt/notesSlides/notesSlide53.xml" ContentType="application/vnd.openxmlformats-officedocument.presentationml.notesSlide+xml"/>
  <Override PartName="/ppt/tags/tag110.xml" ContentType="application/vnd.openxmlformats-officedocument.presentationml.tags+xml"/>
  <Override PartName="/ppt/notesSlides/notesSlide54.xml" ContentType="application/vnd.openxmlformats-officedocument.presentationml.notesSlide+xml"/>
  <Override PartName="/ppt/tags/tag111.xml" ContentType="application/vnd.openxmlformats-officedocument.presentationml.tags+xml"/>
  <Override PartName="/ppt/notesSlides/notesSlide55.xml" ContentType="application/vnd.openxmlformats-officedocument.presentationml.notesSlide+xml"/>
  <Override PartName="/ppt/tags/tag112.xml" ContentType="application/vnd.openxmlformats-officedocument.presentationml.tags+xml"/>
  <Override PartName="/ppt/notesSlides/notesSlide56.xml" ContentType="application/vnd.openxmlformats-officedocument.presentationml.notesSlide+xml"/>
  <Override PartName="/ppt/tags/tag113.xml" ContentType="application/vnd.openxmlformats-officedocument.presentationml.tags+xml"/>
  <Override PartName="/ppt/notesSlides/notesSlide57.xml" ContentType="application/vnd.openxmlformats-officedocument.presentationml.notesSlide+xml"/>
  <Override PartName="/ppt/tags/tag114.xml" ContentType="application/vnd.openxmlformats-officedocument.presentationml.tags+xml"/>
  <Override PartName="/ppt/notesSlides/notesSlide58.xml" ContentType="application/vnd.openxmlformats-officedocument.presentationml.notesSlide+xml"/>
  <Override PartName="/ppt/tags/tag115.xml" ContentType="application/vnd.openxmlformats-officedocument.presentationml.tags+xml"/>
  <Override PartName="/ppt/notesSlides/notesSlide59.xml" ContentType="application/vnd.openxmlformats-officedocument.presentationml.notesSlide+xml"/>
  <Override PartName="/ppt/tags/tag116.xml" ContentType="application/vnd.openxmlformats-officedocument.presentationml.tags+xml"/>
  <Override PartName="/ppt/notesSlides/notesSlide60.xml" ContentType="application/vnd.openxmlformats-officedocument.presentationml.notesSlide+xml"/>
  <Override PartName="/ppt/tags/tag117.xml" ContentType="application/vnd.openxmlformats-officedocument.presentationml.tags+xml"/>
  <Override PartName="/ppt/notesSlides/notesSlide61.xml" ContentType="application/vnd.openxmlformats-officedocument.presentationml.notesSlide+xml"/>
  <Override PartName="/ppt/tags/tag118.xml" ContentType="application/vnd.openxmlformats-officedocument.presentationml.tags+xml"/>
  <Override PartName="/ppt/notesSlides/notesSlide62.xml" ContentType="application/vnd.openxmlformats-officedocument.presentationml.notesSlide+xml"/>
  <Override PartName="/ppt/tags/tag119.xml" ContentType="application/vnd.openxmlformats-officedocument.presentationml.tags+xml"/>
  <Override PartName="/ppt/notesSlides/notesSlide63.xml" ContentType="application/vnd.openxmlformats-officedocument.presentationml.notesSlide+xml"/>
  <Override PartName="/ppt/tags/tag120.xml" ContentType="application/vnd.openxmlformats-officedocument.presentationml.tags+xml"/>
  <Override PartName="/ppt/notesSlides/notesSlide64.xml" ContentType="application/vnd.openxmlformats-officedocument.presentationml.notesSlide+xml"/>
  <Override PartName="/ppt/tags/tag121.xml" ContentType="application/vnd.openxmlformats-officedocument.presentationml.tags+xml"/>
  <Override PartName="/ppt/notesSlides/notesSlide6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22.xml" ContentType="application/vnd.openxmlformats-officedocument.presentationml.tags+xml"/>
  <Override PartName="/ppt/notesSlides/notesSlide66.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123.xml" ContentType="application/vnd.openxmlformats-officedocument.presentationml.tags+xml"/>
  <Override PartName="/ppt/notesSlides/notesSlide67.xml" ContentType="application/vnd.openxmlformats-officedocument.presentationml.notesSlide+xml"/>
  <Override PartName="/ppt/charts/chart4.xml" ContentType="application/vnd.openxmlformats-officedocument.drawingml.chart+xml"/>
  <Override PartName="/ppt/drawings/drawing1.xml" ContentType="application/vnd.openxmlformats-officedocument.drawingml.chartshapes+xml"/>
  <Override PartName="/ppt/tags/tag124.xml" ContentType="application/vnd.openxmlformats-officedocument.presentationml.tags+xml"/>
  <Override PartName="/ppt/notesSlides/notesSlide68.xml" ContentType="application/vnd.openxmlformats-officedocument.presentationml.notesSl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tags/tag125.xml" ContentType="application/vnd.openxmlformats-officedocument.presentationml.tags+xml"/>
  <Override PartName="/ppt/notesSlides/notesSlide69.xml" ContentType="application/vnd.openxmlformats-officedocument.presentationml.notesSlid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tags/tag126.xml" ContentType="application/vnd.openxmlformats-officedocument.presentationml.tags+xml"/>
  <Override PartName="/ppt/notesSlides/notesSlide70.xml" ContentType="application/vnd.openxmlformats-officedocument.presentationml.notesSlid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tags/tag127.xml" ContentType="application/vnd.openxmlformats-officedocument.presentationml.tags+xml"/>
  <Override PartName="/ppt/notesSlides/notesSlide71.xml" ContentType="application/vnd.openxmlformats-officedocument.presentationml.notesSlid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tags/tag128.xml" ContentType="application/vnd.openxmlformats-officedocument.presentationml.tags+xml"/>
  <Override PartName="/ppt/notesSlides/notesSlide72.xml" ContentType="application/vnd.openxmlformats-officedocument.presentationml.notesSlid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tags/tag129.xml" ContentType="application/vnd.openxmlformats-officedocument.presentationml.tags+xml"/>
  <Override PartName="/ppt/notesSlides/notesSlide73.xml" ContentType="application/vnd.openxmlformats-officedocument.presentationml.notesSlid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drawings/drawing2.xml" ContentType="application/vnd.openxmlformats-officedocument.drawingml.chartshapes+xml"/>
  <Override PartName="/ppt/charts/chart11.xml" ContentType="application/vnd.openxmlformats-officedocument.drawingml.chart+xml"/>
  <Override PartName="/ppt/charts/style10.xml" ContentType="application/vnd.ms-office.chartstyle+xml"/>
  <Override PartName="/ppt/charts/colors10.xml" ContentType="application/vnd.ms-office.chartcolorstyle+xml"/>
  <Override PartName="/ppt/tags/tag130.xml" ContentType="application/vnd.openxmlformats-officedocument.presentationml.tags+xml"/>
  <Override PartName="/ppt/notesSlides/notesSlide74.xml" ContentType="application/vnd.openxmlformats-officedocument.presentationml.notesSlide+xml"/>
  <Override PartName="/ppt/charts/chartEx1.xml" ContentType="application/vnd.ms-office.chartex+xml"/>
  <Override PartName="/ppt/charts/style11.xml" ContentType="application/vnd.ms-office.chartstyle+xml"/>
  <Override PartName="/ppt/charts/colors11.xml" ContentType="application/vnd.ms-office.chartcolorstyle+xml"/>
  <Override PartName="/ppt/charts/chartEx2.xml" ContentType="application/vnd.ms-office.chartex+xml"/>
  <Override PartName="/ppt/charts/style12.xml" ContentType="application/vnd.ms-office.chartstyle+xml"/>
  <Override PartName="/ppt/charts/colors12.xml" ContentType="application/vnd.ms-office.chartcolorstyle+xml"/>
  <Override PartName="/ppt/tags/tag131.xml" ContentType="application/vnd.openxmlformats-officedocument.presentationml.tags+xml"/>
  <Override PartName="/ppt/notesSlides/notesSlide75.xml" ContentType="application/vnd.openxmlformats-officedocument.presentationml.notesSlide+xml"/>
  <Override PartName="/ppt/charts/chartEx3.xml" ContentType="application/vnd.ms-office.chartex+xml"/>
  <Override PartName="/ppt/charts/style13.xml" ContentType="application/vnd.ms-office.chartstyle+xml"/>
  <Override PartName="/ppt/charts/colors13.xml" ContentType="application/vnd.ms-office.chartcolorstyle+xml"/>
  <Override PartName="/ppt/tags/tag132.xml" ContentType="application/vnd.openxmlformats-officedocument.presentationml.tags+xml"/>
  <Override PartName="/ppt/notesSlides/notesSlide76.xml" ContentType="application/vnd.openxmlformats-officedocument.presentationml.notesSlide+xml"/>
  <Override PartName="/ppt/charts/chart12.xml" ContentType="application/vnd.openxmlformats-officedocument.drawingml.chart+xml"/>
  <Override PartName="/ppt/charts/style14.xml" ContentType="application/vnd.ms-office.chartstyle+xml"/>
  <Override PartName="/ppt/charts/colors14.xml" ContentType="application/vnd.ms-office.chartcolorstyle+xml"/>
  <Override PartName="/ppt/tags/tag133.xml" ContentType="application/vnd.openxmlformats-officedocument.presentationml.tags+xml"/>
  <Override PartName="/ppt/notesSlides/notesSlide77.xml" ContentType="application/vnd.openxmlformats-officedocument.presentationml.notesSlide+xml"/>
  <Override PartName="/ppt/charts/chart13.xml" ContentType="application/vnd.openxmlformats-officedocument.drawingml.chart+xml"/>
  <Override PartName="/ppt/charts/style15.xml" ContentType="application/vnd.ms-office.chartstyle+xml"/>
  <Override PartName="/ppt/charts/colors15.xml" ContentType="application/vnd.ms-office.chartcolorstyle+xml"/>
  <Override PartName="/ppt/tags/tag134.xml" ContentType="application/vnd.openxmlformats-officedocument.presentationml.tags+xml"/>
  <Override PartName="/ppt/notesSlides/notesSlide78.xml" ContentType="application/vnd.openxmlformats-officedocument.presentationml.notesSlide+xml"/>
  <Override PartName="/ppt/charts/chartEx4.xml" ContentType="application/vnd.ms-office.chartex+xml"/>
  <Override PartName="/ppt/charts/style16.xml" ContentType="application/vnd.ms-office.chartstyle+xml"/>
  <Override PartName="/ppt/charts/colors16.xml" ContentType="application/vnd.ms-office.chartcolorstyle+xml"/>
  <Override PartName="/ppt/tags/tag135.xml" ContentType="application/vnd.openxmlformats-officedocument.presentationml.tags+xml"/>
  <Override PartName="/ppt/notesSlides/notesSlide79.xml" ContentType="application/vnd.openxmlformats-officedocument.presentationml.notesSlide+xml"/>
  <Override PartName="/ppt/charts/chartEx5.xml" ContentType="application/vnd.ms-office.chartex+xml"/>
  <Override PartName="/ppt/charts/style17.xml" ContentType="application/vnd.ms-office.chartstyle+xml"/>
  <Override PartName="/ppt/charts/colors17.xml" ContentType="application/vnd.ms-office.chartcolorstyle+xml"/>
  <Override PartName="/ppt/tags/tag136.xml" ContentType="application/vnd.openxmlformats-officedocument.presentationml.tags+xml"/>
  <Override PartName="/ppt/notesSlides/notesSlide80.xml" ContentType="application/vnd.openxmlformats-officedocument.presentationml.notesSlide+xml"/>
  <Override PartName="/ppt/charts/chart14.xml" ContentType="application/vnd.openxmlformats-officedocument.drawingml.chart+xml"/>
  <Override PartName="/ppt/charts/style18.xml" ContentType="application/vnd.ms-office.chartstyle+xml"/>
  <Override PartName="/ppt/charts/colors18.xml" ContentType="application/vnd.ms-office.chartcolorstyle+xml"/>
  <Override PartName="/ppt/tags/tag137.xml" ContentType="application/vnd.openxmlformats-officedocument.presentationml.tags+xml"/>
  <Override PartName="/ppt/notesSlides/notesSlide81.xml" ContentType="application/vnd.openxmlformats-officedocument.presentationml.notesSlide+xml"/>
  <Override PartName="/ppt/charts/chart15.xml" ContentType="application/vnd.openxmlformats-officedocument.drawingml.chart+xml"/>
  <Override PartName="/ppt/charts/style19.xml" ContentType="application/vnd.ms-office.chartstyle+xml"/>
  <Override PartName="/ppt/charts/colors19.xml" ContentType="application/vnd.ms-office.chartcolorstyle+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notesSlides/notesSlide82.xml" ContentType="application/vnd.openxmlformats-officedocument.presentationml.notesSlide+xml"/>
  <Override PartName="/ppt/charts/chart16.xml" ContentType="application/vnd.openxmlformats-officedocument.drawingml.chart+xml"/>
  <Override PartName="/ppt/tags/tag145.xml" ContentType="application/vnd.openxmlformats-officedocument.presentationml.tags+xml"/>
  <Override PartName="/ppt/notesSlides/notesSlide83.xml" ContentType="application/vnd.openxmlformats-officedocument.presentationml.notesSlide+xml"/>
  <Override PartName="/ppt/tags/tag146.xml" ContentType="application/vnd.openxmlformats-officedocument.presentationml.tags+xml"/>
  <Override PartName="/ppt/notesSlides/notesSlide84.xml" ContentType="application/vnd.openxmlformats-officedocument.presentationml.notesSlide+xml"/>
  <Override PartName="/ppt/tags/tag147.xml" ContentType="application/vnd.openxmlformats-officedocument.presentationml.tags+xml"/>
  <Override PartName="/ppt/notesSlides/notesSlide85.xml" ContentType="application/vnd.openxmlformats-officedocument.presentationml.notesSlide+xml"/>
  <Override PartName="/ppt/tags/tag148.xml" ContentType="application/vnd.openxmlformats-officedocument.presentationml.tags+xml"/>
  <Override PartName="/ppt/notesSlides/notesSlide86.xml" ContentType="application/vnd.openxmlformats-officedocument.presentationml.notesSlide+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notesSlides/notesSlide87.xml" ContentType="application/vnd.openxmlformats-officedocument.presentationml.notesSlide+xml"/>
  <Override PartName="/ppt/tags/tag152.xml" ContentType="application/vnd.openxmlformats-officedocument.presentationml.tags+xml"/>
  <Override PartName="/ppt/notesSlides/notesSlide88.xml" ContentType="application/vnd.openxmlformats-officedocument.presentationml.notesSlide+xml"/>
  <Override PartName="/ppt/tags/tag153.xml" ContentType="application/vnd.openxmlformats-officedocument.presentationml.tags+xml"/>
  <Override PartName="/ppt/notesSlides/notesSlide89.xml" ContentType="application/vnd.openxmlformats-officedocument.presentationml.notesSlide+xml"/>
  <Override PartName="/ppt/tags/tag154.xml" ContentType="application/vnd.openxmlformats-officedocument.presentationml.tags+xml"/>
  <Override PartName="/ppt/notesSlides/notesSlide90.xml" ContentType="application/vnd.openxmlformats-officedocument.presentationml.notesSlide+xml"/>
  <Override PartName="/ppt/tags/tag155.xml" ContentType="application/vnd.openxmlformats-officedocument.presentationml.tags+xml"/>
  <Override PartName="/ppt/notesSlides/notesSlide91.xml" ContentType="application/vnd.openxmlformats-officedocument.presentationml.notesSlide+xml"/>
  <Override PartName="/ppt/tags/tag156.xml" ContentType="application/vnd.openxmlformats-officedocument.presentationml.tags+xml"/>
  <Override PartName="/ppt/notesSlides/notesSlide92.xml" ContentType="application/vnd.openxmlformats-officedocument.presentationml.notesSlide+xml"/>
  <Override PartName="/ppt/tags/tag157.xml" ContentType="application/vnd.openxmlformats-officedocument.presentationml.tags+xml"/>
  <Override PartName="/ppt/notesSlides/notesSlide93.xml" ContentType="application/vnd.openxmlformats-officedocument.presentationml.notesSlide+xml"/>
  <Override PartName="/ppt/tags/tag158.xml" ContentType="application/vnd.openxmlformats-officedocument.presentationml.tags+xml"/>
  <Override PartName="/ppt/notesSlides/notesSlide94.xml" ContentType="application/vnd.openxmlformats-officedocument.presentationml.notesSlide+xml"/>
  <Override PartName="/ppt/tags/tag159.xml" ContentType="application/vnd.openxmlformats-officedocument.presentationml.tags+xml"/>
  <Override PartName="/ppt/notesSlides/notesSlide95.xml" ContentType="application/vnd.openxmlformats-officedocument.presentationml.notesSlide+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notesSlides/notesSlide96.xml" ContentType="application/vnd.openxmlformats-officedocument.presentationml.notesSlide+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notesSlides/notesSlide97.xml" ContentType="application/vnd.openxmlformats-officedocument.presentationml.notesSlide+xml"/>
  <Override PartName="/ppt/tags/tag182.xml" ContentType="application/vnd.openxmlformats-officedocument.presentationml.tags+xml"/>
  <Override PartName="/ppt/notesSlides/notesSlide98.xml" ContentType="application/vnd.openxmlformats-officedocument.presentationml.notesSlide+xml"/>
  <Override PartName="/ppt/tags/tag183.xml" ContentType="application/vnd.openxmlformats-officedocument.presentationml.tags+xml"/>
  <Override PartName="/ppt/notesSlides/notesSlide99.xml" ContentType="application/vnd.openxmlformats-officedocument.presentationml.notesSlide+xml"/>
  <Override PartName="/ppt/tags/tag184.xml" ContentType="application/vnd.openxmlformats-officedocument.presentationml.tags+xml"/>
  <Override PartName="/ppt/notesSlides/notesSlide100.xml" ContentType="application/vnd.openxmlformats-officedocument.presentationml.notesSlide+xml"/>
  <Override PartName="/ppt/tags/tag185.xml" ContentType="application/vnd.openxmlformats-officedocument.presentationml.tags+xml"/>
  <Override PartName="/ppt/notesSlides/notesSlide10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09" r:id="rId4"/>
  </p:sldMasterIdLst>
  <p:notesMasterIdLst>
    <p:notesMasterId r:id="rId106"/>
  </p:notesMasterIdLst>
  <p:handoutMasterIdLst>
    <p:handoutMasterId r:id="rId107"/>
  </p:handoutMasterIdLst>
  <p:sldIdLst>
    <p:sldId id="964" r:id="rId5"/>
    <p:sldId id="832" r:id="rId6"/>
    <p:sldId id="1034" r:id="rId7"/>
    <p:sldId id="1047" r:id="rId8"/>
    <p:sldId id="1050" r:id="rId9"/>
    <p:sldId id="1051" r:id="rId10"/>
    <p:sldId id="1053" r:id="rId11"/>
    <p:sldId id="1041" r:id="rId12"/>
    <p:sldId id="1062" r:id="rId13"/>
    <p:sldId id="1064" r:id="rId14"/>
    <p:sldId id="1065" r:id="rId15"/>
    <p:sldId id="1069" r:id="rId16"/>
    <p:sldId id="1070" r:id="rId17"/>
    <p:sldId id="1042" r:id="rId18"/>
    <p:sldId id="1073" r:id="rId19"/>
    <p:sldId id="1075" r:id="rId20"/>
    <p:sldId id="1043" r:id="rId21"/>
    <p:sldId id="1076" r:id="rId22"/>
    <p:sldId id="1044" r:id="rId23"/>
    <p:sldId id="1071" r:id="rId24"/>
    <p:sldId id="1074" r:id="rId25"/>
    <p:sldId id="1046" r:id="rId26"/>
    <p:sldId id="1077" r:id="rId27"/>
    <p:sldId id="1079" r:id="rId28"/>
    <p:sldId id="806" r:id="rId29"/>
    <p:sldId id="804" r:id="rId30"/>
    <p:sldId id="939" r:id="rId31"/>
    <p:sldId id="938" r:id="rId32"/>
    <p:sldId id="341" r:id="rId33"/>
    <p:sldId id="812" r:id="rId34"/>
    <p:sldId id="966" r:id="rId35"/>
    <p:sldId id="833" r:id="rId36"/>
    <p:sldId id="950" r:id="rId37"/>
    <p:sldId id="954" r:id="rId38"/>
    <p:sldId id="955" r:id="rId39"/>
    <p:sldId id="931" r:id="rId40"/>
    <p:sldId id="900" r:id="rId41"/>
    <p:sldId id="933" r:id="rId42"/>
    <p:sldId id="956" r:id="rId43"/>
    <p:sldId id="908" r:id="rId44"/>
    <p:sldId id="940" r:id="rId45"/>
    <p:sldId id="898" r:id="rId46"/>
    <p:sldId id="837" r:id="rId47"/>
    <p:sldId id="941" r:id="rId48"/>
    <p:sldId id="838" r:id="rId49"/>
    <p:sldId id="840" r:id="rId50"/>
    <p:sldId id="846" r:id="rId51"/>
    <p:sldId id="842" r:id="rId52"/>
    <p:sldId id="843" r:id="rId53"/>
    <p:sldId id="944" r:id="rId54"/>
    <p:sldId id="844" r:id="rId55"/>
    <p:sldId id="845" r:id="rId56"/>
    <p:sldId id="949" r:id="rId57"/>
    <p:sldId id="847" r:id="rId58"/>
    <p:sldId id="901" r:id="rId59"/>
    <p:sldId id="942" r:id="rId60"/>
    <p:sldId id="905" r:id="rId61"/>
    <p:sldId id="943" r:id="rId62"/>
    <p:sldId id="946" r:id="rId63"/>
    <p:sldId id="969" r:id="rId64"/>
    <p:sldId id="970" r:id="rId65"/>
    <p:sldId id="983" r:id="rId66"/>
    <p:sldId id="1016" r:id="rId67"/>
    <p:sldId id="1029" r:id="rId68"/>
    <p:sldId id="1028" r:id="rId69"/>
    <p:sldId id="1030" r:id="rId70"/>
    <p:sldId id="999" r:id="rId71"/>
    <p:sldId id="1000" r:id="rId72"/>
    <p:sldId id="1001" r:id="rId73"/>
    <p:sldId id="1002" r:id="rId74"/>
    <p:sldId id="988" r:id="rId75"/>
    <p:sldId id="438" r:id="rId76"/>
    <p:sldId id="440" r:id="rId77"/>
    <p:sldId id="1006" r:id="rId78"/>
    <p:sldId id="1007" r:id="rId79"/>
    <p:sldId id="1008" r:id="rId80"/>
    <p:sldId id="1009" r:id="rId81"/>
    <p:sldId id="1010" r:id="rId82"/>
    <p:sldId id="1011" r:id="rId83"/>
    <p:sldId id="1012" r:id="rId84"/>
    <p:sldId id="1013" r:id="rId85"/>
    <p:sldId id="808" r:id="rId86"/>
    <p:sldId id="982" r:id="rId87"/>
    <p:sldId id="1031" r:id="rId88"/>
    <p:sldId id="555" r:id="rId89"/>
    <p:sldId id="557" r:id="rId90"/>
    <p:sldId id="1015" r:id="rId91"/>
    <p:sldId id="995" r:id="rId92"/>
    <p:sldId id="644" r:id="rId93"/>
    <p:sldId id="646" r:id="rId94"/>
    <p:sldId id="680" r:id="rId95"/>
    <p:sldId id="678" r:id="rId96"/>
    <p:sldId id="685" r:id="rId97"/>
    <p:sldId id="802" r:id="rId98"/>
    <p:sldId id="991" r:id="rId99"/>
    <p:sldId id="992" r:id="rId100"/>
    <p:sldId id="699" r:id="rId101"/>
    <p:sldId id="803" r:id="rId102"/>
    <p:sldId id="707" r:id="rId103"/>
    <p:sldId id="709" r:id="rId104"/>
    <p:sldId id="268" r:id="rId105"/>
  </p:sldIdLst>
  <p:sldSz cx="12192000" cy="6858000"/>
  <p:notesSz cx="6858000" cy="9144000"/>
  <p:defaultTex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a" id="{7147DBEE-161E-4B5A-9197-B116EDF43655}">
          <p14:sldIdLst>
            <p14:sldId id="964"/>
          </p14:sldIdLst>
        </p14:section>
        <p14:section name="Sumário" id="{F96A7806-BD43-454C-B436-30E9515607A4}">
          <p14:sldIdLst>
            <p14:sldId id="832"/>
          </p14:sldIdLst>
        </p14:section>
        <p14:section name="Seção 1 - Contextualização do Trabalho" id="{105328D7-D053-4CA2-A3E8-26FA54CD2213}">
          <p14:sldIdLst>
            <p14:sldId id="1034"/>
          </p14:sldIdLst>
        </p14:section>
        <p14:section name="Motivação do Trabalho" id="{65D457AB-31F8-48B3-BA59-0F1400D6C999}">
          <p14:sldIdLst>
            <p14:sldId id="1047"/>
            <p14:sldId id="1050"/>
          </p14:sldIdLst>
        </p14:section>
        <p14:section name="Objetivo do Trabalho" id="{35FF2772-B8A4-45FD-869F-63690275C8D4}">
          <p14:sldIdLst>
            <p14:sldId id="1051"/>
          </p14:sldIdLst>
        </p14:section>
        <p14:section name="Contribuição do Trabalho" id="{6B26B429-D68E-49F0-A1D9-1A45C564B480}">
          <p14:sldIdLst>
            <p14:sldId id="1053"/>
          </p14:sldIdLst>
        </p14:section>
        <p14:section name="Seção 2 - Revisão Bibliográfica" id="{EA79E994-1900-41E6-A44C-E71B950F3171}">
          <p14:sldIdLst>
            <p14:sldId id="1041"/>
          </p14:sldIdLst>
        </p14:section>
        <p14:section name="Histórico dos Métodos Numéricos" id="{8F01F20F-B817-4DA2-A135-50D3B4D79194}">
          <p14:sldIdLst>
            <p14:sldId id="1062"/>
            <p14:sldId id="1064"/>
          </p14:sldIdLst>
        </p14:section>
        <p14:section name="Histórico do Machine Learning" id="{E39C3972-8288-4E44-A00E-F9F3A9534377}">
          <p14:sldIdLst>
            <p14:sldId id="1065"/>
          </p14:sldIdLst>
        </p14:section>
        <p14:section name="Incerteza em Redes Neurais" id="{76DD5F8C-D383-405B-B80B-341933FD63DF}">
          <p14:sldIdLst>
            <p14:sldId id="1069"/>
          </p14:sldIdLst>
        </p14:section>
        <p14:section name="Outros métodos em ML" id="{2A4BA7AE-72DC-4462-9D59-C06FF0DAAD2F}">
          <p14:sldIdLst>
            <p14:sldId id="1070"/>
          </p14:sldIdLst>
        </p14:section>
        <p14:section name="Seção 3 - Fundamentação Teórica" id="{22849BF1-9F91-4A7A-8745-0020FB529BBF}">
          <p14:sldIdLst>
            <p14:sldId id="1042"/>
          </p14:sldIdLst>
        </p14:section>
        <p14:section name="Elasticidade Linear" id="{13E14C8D-E778-442D-9123-AF907184998F}">
          <p14:sldIdLst>
            <p14:sldId id="1073"/>
          </p14:sldIdLst>
        </p14:section>
        <p14:section name="Rede Neural &amp; Incerteza" id="{529BB2FD-3490-4B51-B8AB-E4E2F9E73FCA}">
          <p14:sldIdLst>
            <p14:sldId id="1075"/>
          </p14:sldIdLst>
        </p14:section>
        <p14:section name="Seção 4 - Metodologia" id="{806C6BEA-EAE9-4626-92A7-D8535FAA40F5}">
          <p14:sldIdLst>
            <p14:sldId id="1043"/>
            <p14:sldId id="1076"/>
          </p14:sldIdLst>
        </p14:section>
        <p14:section name="Seção 5 - Resultados" id="{3CACFDF6-7FBE-4632-9887-05DDBE81E46F}">
          <p14:sldIdLst>
            <p14:sldId id="1044"/>
          </p14:sldIdLst>
        </p14:section>
        <p14:section name="VEM vs Rede Neural" id="{AC2641B9-44E2-4E43-8754-7377B5CE4972}">
          <p14:sldIdLst>
            <p14:sldId id="1071"/>
          </p14:sldIdLst>
        </p14:section>
        <p14:section name="Curvas de Erro" id="{E7F193B6-8292-4D09-B97D-02EF8D9EFFB1}">
          <p14:sldIdLst>
            <p14:sldId id="1074"/>
          </p14:sldIdLst>
        </p14:section>
        <p14:section name="Mapas de Incerteza" id="{5AF13B46-5D74-4D11-A25B-4756A2BB8CD3}">
          <p14:sldIdLst/>
        </p14:section>
        <p14:section name="Seção 6 - Conclusão" id="{26E06E97-E3C1-440B-BBDA-BC2385218E15}">
          <p14:sldIdLst>
            <p14:sldId id="1046"/>
            <p14:sldId id="1077"/>
            <p14:sldId id="1079"/>
          </p14:sldIdLst>
        </p14:section>
        <p14:section name="Conclusões" id="{975A5A08-120D-4081-A511-3F82DDEBB7C5}">
          <p14:sldIdLst/>
        </p14:section>
        <p14:section name="O que falta?" id="{18DA8C67-D65A-4786-9F9B-1F421D3D5112}">
          <p14:sldIdLst/>
        </p14:section>
        <p14:section name="Trabalhos futuros" id="{94B6F718-63DE-4EDC-8F4C-87032C93F6FD}">
          <p14:sldIdLst/>
        </p14:section>
        <p14:section name="Agradecimento" id="{874543D2-14C9-4AFB-9989-12AE3B842983}">
          <p14:sldIdLst/>
        </p14:section>
        <p14:section name="Introduction" id="{0ED17E51-C680-FC45-9106-194DB41B12DD}">
          <p14:sldIdLst>
            <p14:sldId id="806"/>
            <p14:sldId id="804"/>
            <p14:sldId id="939"/>
            <p14:sldId id="938"/>
            <p14:sldId id="341"/>
            <p14:sldId id="812"/>
          </p14:sldIdLst>
        </p14:section>
        <p14:section name="Agendas, teams, section deviders and call outs" id="{0EC43F5D-A39C-7C45-A858-B3B6B3F4F3E6}">
          <p14:sldIdLst>
            <p14:sldId id="966"/>
            <p14:sldId id="833"/>
            <p14:sldId id="950"/>
            <p14:sldId id="954"/>
            <p14:sldId id="955"/>
            <p14:sldId id="931"/>
            <p14:sldId id="900"/>
            <p14:sldId id="933"/>
            <p14:sldId id="956"/>
          </p14:sldIdLst>
        </p14:section>
        <p14:section name="Content slides" id="{722E0BC0-B944-0748-821F-A303D5125656}">
          <p14:sldIdLst>
            <p14:sldId id="908"/>
            <p14:sldId id="940"/>
            <p14:sldId id="898"/>
            <p14:sldId id="837"/>
            <p14:sldId id="941"/>
            <p14:sldId id="838"/>
            <p14:sldId id="840"/>
            <p14:sldId id="846"/>
            <p14:sldId id="842"/>
            <p14:sldId id="843"/>
            <p14:sldId id="944"/>
            <p14:sldId id="844"/>
            <p14:sldId id="845"/>
            <p14:sldId id="949"/>
            <p14:sldId id="847"/>
            <p14:sldId id="901"/>
            <p14:sldId id="942"/>
            <p14:sldId id="905"/>
            <p14:sldId id="943"/>
          </p14:sldIdLst>
        </p14:section>
        <p14:section name="Graphics and Charts" id="{31DD7CB1-9115-1542-B679-0C162AFE8E0A}">
          <p14:sldIdLst>
            <p14:sldId id="946"/>
            <p14:sldId id="969"/>
            <p14:sldId id="970"/>
            <p14:sldId id="983"/>
            <p14:sldId id="1016"/>
            <p14:sldId id="1029"/>
            <p14:sldId id="1028"/>
            <p14:sldId id="1030"/>
            <p14:sldId id="999"/>
            <p14:sldId id="1000"/>
            <p14:sldId id="1001"/>
            <p14:sldId id="1002"/>
            <p14:sldId id="988"/>
            <p14:sldId id="438"/>
            <p14:sldId id="440"/>
            <p14:sldId id="1006"/>
            <p14:sldId id="1007"/>
            <p14:sldId id="1008"/>
            <p14:sldId id="1009"/>
            <p14:sldId id="1010"/>
            <p14:sldId id="1011"/>
            <p14:sldId id="1012"/>
            <p14:sldId id="1013"/>
            <p14:sldId id="808"/>
            <p14:sldId id="982"/>
            <p14:sldId id="1031"/>
            <p14:sldId id="555"/>
            <p14:sldId id="557"/>
            <p14:sldId id="1015"/>
            <p14:sldId id="995"/>
            <p14:sldId id="644"/>
            <p14:sldId id="646"/>
            <p14:sldId id="680"/>
            <p14:sldId id="678"/>
            <p14:sldId id="685"/>
            <p14:sldId id="802"/>
            <p14:sldId id="991"/>
            <p14:sldId id="992"/>
            <p14:sldId id="699"/>
            <p14:sldId id="803"/>
            <p14:sldId id="707"/>
            <p14:sldId id="709"/>
          </p14:sldIdLst>
        </p14:section>
        <p14:section name="Salutation" id="{4D72E3DA-CBC6-8347-92C3-DFA07F50078F}">
          <p14:sldIdLst>
            <p14:sldId id="268"/>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C191301-376F-864E-862C-8EAE238F6A4B}" name="Santini, Andréa" initials="SA" userId="S::andrea.santini@accenture.com::426b7daf-8c36-440e-b7a6-c38a65b6929f" providerId="AD"/>
  <p188:author id="{D05CA914-7DC9-60D2-8911-9AA9AEF6B948}" name="Bertorelli, Eloisa" initials="" userId="S::eloisa.bertorelli@accenture.com::80eab2e9-142e-44fc-b95d-f6911bc46a14" providerId="AD"/>
  <p188:author id="{D42CFD33-CA96-B80D-6164-A403048B4BB5}" name="Gonzalez, Clara" initials="" userId="S::clara.gonzalez@accenture.com::a94196a8-3606-4a10-9e5d-b2c315ce9acb" providerId="AD"/>
  <p188:author id="{283C7B6C-D1B7-B4D9-0F16-3E342206DE97}" name="Bernero, Bo" initials="" userId="S::bo.bernero@accenture.com::038b8381-bee1-495b-9366-6f9d3c62105f" providerId="AD"/>
  <p188:author id="{0E73D874-EBD8-68E4-2E46-117214CC62E4}" name="Robledo, Martu" initials="MR" userId="S::martin.robledo@accenture.com::11410a32-82ed-43e7-9588-dc918e484bab" providerId="AD"/>
  <p188:author id="{9DC5BE7D-D1FB-853D-A22F-DE53A4792DC5}" name="Villarreal Jiménez, Scarleth" initials="SV" userId="S::s.villarreal.jimenez@accenture.com::04f9cf1f-9ff4-43ff-8a7e-af3267bfe7da" providerId="AD"/>
  <p188:author id="{5C758582-2FC8-1A52-D5FB-B3878EDC6774}" name="Santini, Andréa; Bernero, Bo" initials="SAN" userId="Santini, Andréa; Bernero, Bo" providerId="None"/>
  <p188:author id="{75F8DC9E-226B-6C3A-0C87-181D918A683C}" name="Iudice, Luciana Inés" initials="" userId="S::luciana.ines.iudice@accenture.com::20b7ef9e-58b0-4db3-888c-a9ffac62ee13" providerId="AD"/>
  <p188:author id="{AC2D28BC-4D77-CC7A-109C-B403230212B8}" name="Walsh, Autumn" initials="WA" userId="S::autumn.walsh@accenture.com::a29a7807-03ff-4b0e-8384-a68ad42d5eb0" providerId="AD"/>
  <p188:author id="{AFC317D8-5546-59C2-C49A-3BE166EDE0E8}" name="Chan, Phoebe" initials="" userId="S::phoebe.chan@accenture.com::fcc2f6c5-7c76-487f-a6e9-3be7c83ecf8b" providerId="AD"/>
  <p188:author id="{3A29D8E7-072C-FA7B-EC56-7B47AC7CD8C7}" name="Alex-Vasey, Gregory" initials="" userId="S::gregory.vasey@accenture.com::b696857f-d849-4733-9dcf-790ccea696e3" providerId="AD"/>
  <p188:author id="{17E0CEF8-8283-8512-250C-DB1C65CC29DB}" name="Andrea Santini" initials="SAN" userId="Andrea Santini" providerId="None"/>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460073"/>
    <a:srgbClr val="A100FF"/>
    <a:srgbClr val="7500C0"/>
    <a:srgbClr val="450073"/>
    <a:srgbClr val="FFFFFF"/>
    <a:srgbClr val="000000"/>
    <a:srgbClr val="AE29FF"/>
    <a:srgbClr val="05F2DB"/>
    <a:srgbClr val="224BFF"/>
    <a:srgbClr val="06112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C5164B6-B752-48CD-9FE9-177B750284C0}" v="3823" dt="2025-12-08T17:18:01.470"/>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2458" autoAdjust="0"/>
    <p:restoredTop sz="94558"/>
  </p:normalViewPr>
  <p:slideViewPr>
    <p:cSldViewPr snapToGrid="0">
      <p:cViewPr varScale="1">
        <p:scale>
          <a:sx n="74" d="100"/>
          <a:sy n="74" d="100"/>
        </p:scale>
        <p:origin x="163" y="77"/>
      </p:cViewPr>
      <p:guideLst/>
    </p:cSldViewPr>
  </p:slideViewPr>
  <p:notesTextViewPr>
    <p:cViewPr>
      <p:scale>
        <a:sx n="1" d="1"/>
        <a:sy n="1" d="1"/>
      </p:scale>
      <p:origin x="0" y="0"/>
    </p:cViewPr>
  </p:notesTextViewPr>
  <p:sorterViewPr>
    <p:cViewPr>
      <p:scale>
        <a:sx n="80" d="100"/>
        <a:sy n="80" d="100"/>
      </p:scale>
      <p:origin x="0" y="0"/>
    </p:cViewPr>
  </p:sorter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microsoft.com/office/2016/11/relationships/changesInfo" Target="changesInfos/changesInfo1.xml"/><Relationship Id="rId16" Type="http://schemas.openxmlformats.org/officeDocument/2006/relationships/slide" Target="slides/slide12.xml"/><Relationship Id="rId107" Type="http://schemas.openxmlformats.org/officeDocument/2006/relationships/handoutMaster" Target="handoutMasters/handoutMaster1.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microsoft.com/office/2015/10/relationships/revisionInfo" Target="revisionInfo.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presProps" Target="presProps.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notesMaster" Target="notesMasters/notesMaster1.xml"/><Relationship Id="rId114" Type="http://schemas.microsoft.com/office/2018/10/relationships/authors" Target="author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viewProps" Target="viewProps.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theme" Target="theme/theme1.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alcão Lacerda, Rafael" userId="40181ff7-4694-4c53-a944-7b7d63582359" providerId="ADAL" clId="{3B4D5F63-EA56-4616-8A78-0C43AB7049E7}"/>
    <pc:docChg chg="undo redo custSel addSld delSld modSld sldOrd modMainMaster addSection delSection modSection modNotesMaster">
      <pc:chgData name="Falcão Lacerda, Rafael" userId="40181ff7-4694-4c53-a944-7b7d63582359" providerId="ADAL" clId="{3B4D5F63-EA56-4616-8A78-0C43AB7049E7}" dt="2025-12-08T17:18:13.731" v="34035" actId="729"/>
      <pc:docMkLst>
        <pc:docMk/>
      </pc:docMkLst>
      <pc:sldChg chg="addSp modSp mod modShow modNotes">
        <pc:chgData name="Falcão Lacerda, Rafael" userId="40181ff7-4694-4c53-a944-7b7d63582359" providerId="ADAL" clId="{3B4D5F63-EA56-4616-8A78-0C43AB7049E7}" dt="2025-12-08T17:18:13.731" v="34035" actId="729"/>
        <pc:sldMkLst>
          <pc:docMk/>
          <pc:sldMk cId="1583931614" sldId="268"/>
        </pc:sldMkLst>
        <pc:spChg chg="mod">
          <ac:chgData name="Falcão Lacerda, Rafael" userId="40181ff7-4694-4c53-a944-7b7d63582359" providerId="ADAL" clId="{3B4D5F63-EA56-4616-8A78-0C43AB7049E7}" dt="2025-12-08T00:26:46.093" v="7757" actId="948"/>
          <ac:spMkLst>
            <pc:docMk/>
            <pc:sldMk cId="1583931614" sldId="268"/>
            <ac:spMk id="2" creationId="{88C86DCA-E252-45B6-8790-F0CA74EA47D8}"/>
          </ac:spMkLst>
        </pc:spChg>
        <pc:graphicFrameChg chg="add mod ord modVis">
          <ac:chgData name="Falcão Lacerda, Rafael" userId="40181ff7-4694-4c53-a944-7b7d63582359" providerId="ADAL" clId="{3B4D5F63-EA56-4616-8A78-0C43AB7049E7}" dt="2025-12-08T00:26:52.922" v="10273"/>
          <ac:graphicFrameMkLst>
            <pc:docMk/>
            <pc:sldMk cId="1583931614" sldId="268"/>
            <ac:graphicFrameMk id="3" creationId="{3CDA1681-E249-2089-9B1A-D258068558C1}"/>
          </ac:graphicFrameMkLst>
        </pc:graphicFrameChg>
      </pc:sldChg>
      <pc:sldChg chg="addSp modSp mod modShow modNotes">
        <pc:chgData name="Falcão Lacerda, Rafael" userId="40181ff7-4694-4c53-a944-7b7d63582359" providerId="ADAL" clId="{3B4D5F63-EA56-4616-8A78-0C43AB7049E7}" dt="2025-12-08T17:18:13.731" v="34035" actId="729"/>
        <pc:sldMkLst>
          <pc:docMk/>
          <pc:sldMk cId="1019583079" sldId="341"/>
        </pc:sldMkLst>
        <pc:spChg chg="mod">
          <ac:chgData name="Falcão Lacerda, Rafael" userId="40181ff7-4694-4c53-a944-7b7d63582359" providerId="ADAL" clId="{3B4D5F63-EA56-4616-8A78-0C43AB7049E7}" dt="2025-12-08T00:26:45.516" v="7514" actId="948"/>
          <ac:spMkLst>
            <pc:docMk/>
            <pc:sldMk cId="1019583079" sldId="341"/>
            <ac:spMk id="2" creationId="{56FBE84C-E5B6-452D-A67C-6435F4B76A12}"/>
          </ac:spMkLst>
        </pc:spChg>
        <pc:spChg chg="mod">
          <ac:chgData name="Falcão Lacerda, Rafael" userId="40181ff7-4694-4c53-a944-7b7d63582359" providerId="ADAL" clId="{3B4D5F63-EA56-4616-8A78-0C43AB7049E7}" dt="2025-12-08T00:26:41.841" v="6329" actId="790"/>
          <ac:spMkLst>
            <pc:docMk/>
            <pc:sldMk cId="1019583079" sldId="341"/>
            <ac:spMk id="4" creationId="{3B2002AE-0C6E-D3CE-ABBA-60DDC9730496}"/>
          </ac:spMkLst>
        </pc:spChg>
        <pc:spChg chg="mod">
          <ac:chgData name="Falcão Lacerda, Rafael" userId="40181ff7-4694-4c53-a944-7b7d63582359" providerId="ADAL" clId="{3B4D5F63-EA56-4616-8A78-0C43AB7049E7}" dt="2025-12-08T00:26:41.841" v="6329" actId="790"/>
          <ac:spMkLst>
            <pc:docMk/>
            <pc:sldMk cId="1019583079" sldId="341"/>
            <ac:spMk id="5" creationId="{AE1231CD-985C-544A-A6D3-B9A3FF5FF9F3}"/>
          </ac:spMkLst>
        </pc:spChg>
        <pc:spChg chg="mod">
          <ac:chgData name="Falcão Lacerda, Rafael" userId="40181ff7-4694-4c53-a944-7b7d63582359" providerId="ADAL" clId="{3B4D5F63-EA56-4616-8A78-0C43AB7049E7}" dt="2025-12-08T00:26:41.841" v="6329" actId="790"/>
          <ac:spMkLst>
            <pc:docMk/>
            <pc:sldMk cId="1019583079" sldId="341"/>
            <ac:spMk id="6" creationId="{F5607FD9-FE82-8A7E-6FAD-890F280D67DD}"/>
          </ac:spMkLst>
        </pc:spChg>
        <pc:spChg chg="mod">
          <ac:chgData name="Falcão Lacerda, Rafael" userId="40181ff7-4694-4c53-a944-7b7d63582359" providerId="ADAL" clId="{3B4D5F63-EA56-4616-8A78-0C43AB7049E7}" dt="2025-12-08T00:26:41.841" v="6329" actId="790"/>
          <ac:spMkLst>
            <pc:docMk/>
            <pc:sldMk cId="1019583079" sldId="341"/>
            <ac:spMk id="23" creationId="{56A0931C-A991-1F4D-B4A8-1CB27F785A0C}"/>
          </ac:spMkLst>
        </pc:spChg>
        <pc:spChg chg="mod">
          <ac:chgData name="Falcão Lacerda, Rafael" userId="40181ff7-4694-4c53-a944-7b7d63582359" providerId="ADAL" clId="{3B4D5F63-EA56-4616-8A78-0C43AB7049E7}" dt="2025-12-08T00:26:41.841" v="6329" actId="790"/>
          <ac:spMkLst>
            <pc:docMk/>
            <pc:sldMk cId="1019583079" sldId="341"/>
            <ac:spMk id="43" creationId="{C3EB088F-E947-3F1E-DB6D-80E7A7EFC968}"/>
          </ac:spMkLst>
        </pc:spChg>
        <pc:spChg chg="mod">
          <ac:chgData name="Falcão Lacerda, Rafael" userId="40181ff7-4694-4c53-a944-7b7d63582359" providerId="ADAL" clId="{3B4D5F63-EA56-4616-8A78-0C43AB7049E7}" dt="2025-12-08T00:26:41.841" v="6329" actId="790"/>
          <ac:spMkLst>
            <pc:docMk/>
            <pc:sldMk cId="1019583079" sldId="341"/>
            <ac:spMk id="47" creationId="{9F14741A-C3E5-1EA9-FD09-85F4AEC0E2BF}"/>
          </ac:spMkLst>
        </pc:spChg>
        <pc:graphicFrameChg chg="add mod ord modVis">
          <ac:chgData name="Falcão Lacerda, Rafael" userId="40181ff7-4694-4c53-a944-7b7d63582359" providerId="ADAL" clId="{3B4D5F63-EA56-4616-8A78-0C43AB7049E7}" dt="2025-12-08T00:26:52.176" v="10039"/>
          <ac:graphicFrameMkLst>
            <pc:docMk/>
            <pc:sldMk cId="1019583079" sldId="341"/>
            <ac:graphicFrameMk id="7" creationId="{310A5DA5-53F0-62E7-CA36-5D9FADA66AD9}"/>
          </ac:graphicFrameMkLst>
        </pc:graphicFrameChg>
      </pc:sldChg>
      <pc:sldChg chg="addSp delSp modSp mod modShow modNotes">
        <pc:chgData name="Falcão Lacerda, Rafael" userId="40181ff7-4694-4c53-a944-7b7d63582359" providerId="ADAL" clId="{3B4D5F63-EA56-4616-8A78-0C43AB7049E7}" dt="2025-12-08T17:18:13.731" v="34035" actId="729"/>
        <pc:sldMkLst>
          <pc:docMk/>
          <pc:sldMk cId="4280932509" sldId="438"/>
        </pc:sldMkLst>
        <pc:spChg chg="mod">
          <ac:chgData name="Falcão Lacerda, Rafael" userId="40181ff7-4694-4c53-a944-7b7d63582359" providerId="ADAL" clId="{3B4D5F63-EA56-4616-8A78-0C43AB7049E7}" dt="2025-12-08T00:26:46.390" v="7919" actId="948"/>
          <ac:spMkLst>
            <pc:docMk/>
            <pc:sldMk cId="4280932509" sldId="438"/>
            <ac:spMk id="2" creationId="{CB1A1BFB-AA33-4436-B9C3-A546758AFDE4}"/>
          </ac:spMkLst>
        </pc:spChg>
        <pc:spChg chg="add del mod modVis">
          <ac:chgData name="Falcão Lacerda, Rafael" userId="40181ff7-4694-4c53-a944-7b7d63582359" providerId="ADAL" clId="{3B4D5F63-EA56-4616-8A78-0C43AB7049E7}" dt="2025-12-08T00:26:53.304" v="10417"/>
          <ac:spMkLst>
            <pc:docMk/>
            <pc:sldMk cId="4280932509" sldId="438"/>
            <ac:spMk id="3" creationId="{AFDAB467-F5E5-7D9F-DAF9-95B474B532E7}"/>
          </ac:spMkLst>
        </pc:spChg>
        <pc:spChg chg="mod">
          <ac:chgData name="Falcão Lacerda, Rafael" userId="40181ff7-4694-4c53-a944-7b7d63582359" providerId="ADAL" clId="{3B4D5F63-EA56-4616-8A78-0C43AB7049E7}" dt="2025-12-08T00:26:41.841" v="6329" actId="790"/>
          <ac:spMkLst>
            <pc:docMk/>
            <pc:sldMk cId="4280932509" sldId="438"/>
            <ac:spMk id="12" creationId="{67603109-2765-48AA-B0EB-0FC5DA7CDC1A}"/>
          </ac:spMkLst>
        </pc:spChg>
        <pc:spChg chg="mod">
          <ac:chgData name="Falcão Lacerda, Rafael" userId="40181ff7-4694-4c53-a944-7b7d63582359" providerId="ADAL" clId="{3B4D5F63-EA56-4616-8A78-0C43AB7049E7}" dt="2025-12-08T00:26:41.841" v="6329" actId="790"/>
          <ac:spMkLst>
            <pc:docMk/>
            <pc:sldMk cId="4280932509" sldId="438"/>
            <ac:spMk id="13" creationId="{0D9C7C29-4D7B-4E91-AAC1-119D69D60802}"/>
          </ac:spMkLst>
        </pc:spChg>
        <pc:spChg chg="mod">
          <ac:chgData name="Falcão Lacerda, Rafael" userId="40181ff7-4694-4c53-a944-7b7d63582359" providerId="ADAL" clId="{3B4D5F63-EA56-4616-8A78-0C43AB7049E7}" dt="2025-12-08T00:26:41.841" v="6329" actId="790"/>
          <ac:spMkLst>
            <pc:docMk/>
            <pc:sldMk cId="4280932509" sldId="438"/>
            <ac:spMk id="14" creationId="{A3D23E3A-7A91-4A2C-B2AD-33C7F042599B}"/>
          </ac:spMkLst>
        </pc:spChg>
        <pc:graphicFrameChg chg="add mod ord modVis">
          <ac:chgData name="Falcão Lacerda, Rafael" userId="40181ff7-4694-4c53-a944-7b7d63582359" providerId="ADAL" clId="{3B4D5F63-EA56-4616-8A78-0C43AB7049E7}" dt="2025-12-08T00:26:53.341" v="10431"/>
          <ac:graphicFrameMkLst>
            <pc:docMk/>
            <pc:sldMk cId="4280932509" sldId="438"/>
            <ac:graphicFrameMk id="4" creationId="{7ECACEFD-F6D9-3E0D-2EED-484B85031F87}"/>
          </ac:graphicFrameMkLst>
        </pc:graphicFrameChg>
      </pc:sldChg>
      <pc:sldChg chg="addSp delSp modSp mod modShow modNotes">
        <pc:chgData name="Falcão Lacerda, Rafael" userId="40181ff7-4694-4c53-a944-7b7d63582359" providerId="ADAL" clId="{3B4D5F63-EA56-4616-8A78-0C43AB7049E7}" dt="2025-12-08T17:18:13.731" v="34035" actId="729"/>
        <pc:sldMkLst>
          <pc:docMk/>
          <pc:sldMk cId="1663315720" sldId="440"/>
        </pc:sldMkLst>
        <pc:spChg chg="mod">
          <ac:chgData name="Falcão Lacerda, Rafael" userId="40181ff7-4694-4c53-a944-7b7d63582359" providerId="ADAL" clId="{3B4D5F63-EA56-4616-8A78-0C43AB7049E7}" dt="2025-12-08T00:26:46.422" v="7939" actId="948"/>
          <ac:spMkLst>
            <pc:docMk/>
            <pc:sldMk cId="1663315720" sldId="440"/>
            <ac:spMk id="2" creationId="{CB1A1BFB-AA33-4436-B9C3-A546758AFDE4}"/>
          </ac:spMkLst>
        </pc:spChg>
        <pc:spChg chg="add del mod modVis">
          <ac:chgData name="Falcão Lacerda, Rafael" userId="40181ff7-4694-4c53-a944-7b7d63582359" providerId="ADAL" clId="{3B4D5F63-EA56-4616-8A78-0C43AB7049E7}" dt="2025-12-08T00:26:53.341" v="10433"/>
          <ac:spMkLst>
            <pc:docMk/>
            <pc:sldMk cId="1663315720" sldId="440"/>
            <ac:spMk id="3" creationId="{B918710A-D4D2-DE3D-25D7-545908FEA3DF}"/>
          </ac:spMkLst>
        </pc:spChg>
        <pc:graphicFrameChg chg="add mod ord modVis">
          <ac:chgData name="Falcão Lacerda, Rafael" userId="40181ff7-4694-4c53-a944-7b7d63582359" providerId="ADAL" clId="{3B4D5F63-EA56-4616-8A78-0C43AB7049E7}" dt="2025-12-08T00:26:53.390" v="10447"/>
          <ac:graphicFrameMkLst>
            <pc:docMk/>
            <pc:sldMk cId="1663315720" sldId="440"/>
            <ac:graphicFrameMk id="5" creationId="{3EE4B1E4-5E12-5BD7-EE66-2DAAEC8CA34C}"/>
          </ac:graphicFrameMkLst>
        </pc:graphicFrameChg>
      </pc:sldChg>
      <pc:sldChg chg="addSp delSp modSp mod modShow modNotes">
        <pc:chgData name="Falcão Lacerda, Rafael" userId="40181ff7-4694-4c53-a944-7b7d63582359" providerId="ADAL" clId="{3B4D5F63-EA56-4616-8A78-0C43AB7049E7}" dt="2025-12-08T17:18:13.731" v="34035" actId="729"/>
        <pc:sldMkLst>
          <pc:docMk/>
          <pc:sldMk cId="1018283535" sldId="555"/>
        </pc:sldMkLst>
        <pc:spChg chg="mod">
          <ac:chgData name="Falcão Lacerda, Rafael" userId="40181ff7-4694-4c53-a944-7b7d63582359" providerId="ADAL" clId="{3B4D5F63-EA56-4616-8A78-0C43AB7049E7}" dt="2025-12-08T00:26:46.903" v="8226" actId="948"/>
          <ac:spMkLst>
            <pc:docMk/>
            <pc:sldMk cId="1018283535" sldId="555"/>
            <ac:spMk id="2" creationId="{59AAEE37-1610-4B27-B97B-B45F31A203C1}"/>
          </ac:spMkLst>
        </pc:spChg>
        <pc:spChg chg="add del mod modVis">
          <ac:chgData name="Falcão Lacerda, Rafael" userId="40181ff7-4694-4c53-a944-7b7d63582359" providerId="ADAL" clId="{3B4D5F63-EA56-4616-8A78-0C43AB7049E7}" dt="2025-12-08T00:26:53.964" v="10657"/>
          <ac:spMkLst>
            <pc:docMk/>
            <pc:sldMk cId="1018283535" sldId="555"/>
            <ac:spMk id="4" creationId="{DDC242A2-BF92-01CB-B174-DBE4994120B3}"/>
          </ac:spMkLst>
        </pc:spChg>
        <pc:spChg chg="mod">
          <ac:chgData name="Falcão Lacerda, Rafael" userId="40181ff7-4694-4c53-a944-7b7d63582359" providerId="ADAL" clId="{3B4D5F63-EA56-4616-8A78-0C43AB7049E7}" dt="2025-12-08T00:26:38.033" v="5044" actId="947"/>
          <ac:spMkLst>
            <pc:docMk/>
            <pc:sldMk cId="1018283535" sldId="555"/>
            <ac:spMk id="53" creationId="{6A19F19F-0CBA-4C31-8242-C3090D799929}"/>
          </ac:spMkLst>
        </pc:spChg>
        <pc:spChg chg="mod">
          <ac:chgData name="Falcão Lacerda, Rafael" userId="40181ff7-4694-4c53-a944-7b7d63582359" providerId="ADAL" clId="{3B4D5F63-EA56-4616-8A78-0C43AB7049E7}" dt="2025-12-08T00:26:41.841" v="6329" actId="790"/>
          <ac:spMkLst>
            <pc:docMk/>
            <pc:sldMk cId="1018283535" sldId="555"/>
            <ac:spMk id="54" creationId="{7A5B7B7F-8F87-4E76-AC14-85D4B6CF6447}"/>
          </ac:spMkLst>
        </pc:spChg>
        <pc:spChg chg="mod">
          <ac:chgData name="Falcão Lacerda, Rafael" userId="40181ff7-4694-4c53-a944-7b7d63582359" providerId="ADAL" clId="{3B4D5F63-EA56-4616-8A78-0C43AB7049E7}" dt="2025-12-08T00:26:41.841" v="6329" actId="790"/>
          <ac:spMkLst>
            <pc:docMk/>
            <pc:sldMk cId="1018283535" sldId="555"/>
            <ac:spMk id="55" creationId="{9069A19C-1B7E-408E-8D53-CBD2249D4A93}"/>
          </ac:spMkLst>
        </pc:spChg>
        <pc:spChg chg="mod">
          <ac:chgData name="Falcão Lacerda, Rafael" userId="40181ff7-4694-4c53-a944-7b7d63582359" providerId="ADAL" clId="{3B4D5F63-EA56-4616-8A78-0C43AB7049E7}" dt="2025-12-08T00:26:38.036" v="5046" actId="947"/>
          <ac:spMkLst>
            <pc:docMk/>
            <pc:sldMk cId="1018283535" sldId="555"/>
            <ac:spMk id="56" creationId="{1884C4F0-2513-468E-9418-FD6224AC5417}"/>
          </ac:spMkLst>
        </pc:spChg>
        <pc:spChg chg="mod">
          <ac:chgData name="Falcão Lacerda, Rafael" userId="40181ff7-4694-4c53-a944-7b7d63582359" providerId="ADAL" clId="{3B4D5F63-EA56-4616-8A78-0C43AB7049E7}" dt="2025-12-08T00:26:38.030" v="5042" actId="947"/>
          <ac:spMkLst>
            <pc:docMk/>
            <pc:sldMk cId="1018283535" sldId="555"/>
            <ac:spMk id="57" creationId="{5C6D34DE-BDAD-412A-B790-35A4208D24A5}"/>
          </ac:spMkLst>
        </pc:spChg>
        <pc:spChg chg="mod">
          <ac:chgData name="Falcão Lacerda, Rafael" userId="40181ff7-4694-4c53-a944-7b7d63582359" providerId="ADAL" clId="{3B4D5F63-EA56-4616-8A78-0C43AB7049E7}" dt="2025-12-08T00:26:41.841" v="6329" actId="790"/>
          <ac:spMkLst>
            <pc:docMk/>
            <pc:sldMk cId="1018283535" sldId="555"/>
            <ac:spMk id="58" creationId="{A5439378-9E21-4322-A6D1-70187883AB9C}"/>
          </ac:spMkLst>
        </pc:spChg>
        <pc:spChg chg="mod">
          <ac:chgData name="Falcão Lacerda, Rafael" userId="40181ff7-4694-4c53-a944-7b7d63582359" providerId="ADAL" clId="{3B4D5F63-EA56-4616-8A78-0C43AB7049E7}" dt="2025-12-08T00:26:41.841" v="6329" actId="790"/>
          <ac:spMkLst>
            <pc:docMk/>
            <pc:sldMk cId="1018283535" sldId="555"/>
            <ac:spMk id="59" creationId="{1BA99F97-E099-4A78-A78E-13C481CF7913}"/>
          </ac:spMkLst>
        </pc:spChg>
        <pc:spChg chg="mod">
          <ac:chgData name="Falcão Lacerda, Rafael" userId="40181ff7-4694-4c53-a944-7b7d63582359" providerId="ADAL" clId="{3B4D5F63-EA56-4616-8A78-0C43AB7049E7}" dt="2025-12-08T00:26:38.015" v="5030" actId="947"/>
          <ac:spMkLst>
            <pc:docMk/>
            <pc:sldMk cId="1018283535" sldId="555"/>
            <ac:spMk id="60" creationId="{4AAB1F1D-01A1-4CB7-82B7-42486D837BE2}"/>
          </ac:spMkLst>
        </pc:spChg>
        <pc:spChg chg="mod">
          <ac:chgData name="Falcão Lacerda, Rafael" userId="40181ff7-4694-4c53-a944-7b7d63582359" providerId="ADAL" clId="{3B4D5F63-EA56-4616-8A78-0C43AB7049E7}" dt="2025-12-08T00:26:41.841" v="6329" actId="790"/>
          <ac:spMkLst>
            <pc:docMk/>
            <pc:sldMk cId="1018283535" sldId="555"/>
            <ac:spMk id="61" creationId="{D3A8038D-B56F-4B29-AD57-9A804DB63DA2}"/>
          </ac:spMkLst>
        </pc:spChg>
        <pc:spChg chg="mod">
          <ac:chgData name="Falcão Lacerda, Rafael" userId="40181ff7-4694-4c53-a944-7b7d63582359" providerId="ADAL" clId="{3B4D5F63-EA56-4616-8A78-0C43AB7049E7}" dt="2025-12-08T00:26:37.990" v="5010" actId="947"/>
          <ac:spMkLst>
            <pc:docMk/>
            <pc:sldMk cId="1018283535" sldId="555"/>
            <ac:spMk id="62" creationId="{2647FC6F-51BD-4EC8-A177-A869ED3094B4}"/>
          </ac:spMkLst>
        </pc:spChg>
        <pc:spChg chg="mod">
          <ac:chgData name="Falcão Lacerda, Rafael" userId="40181ff7-4694-4c53-a944-7b7d63582359" providerId="ADAL" clId="{3B4D5F63-EA56-4616-8A78-0C43AB7049E7}" dt="2025-12-08T00:26:41.841" v="6329" actId="790"/>
          <ac:spMkLst>
            <pc:docMk/>
            <pc:sldMk cId="1018283535" sldId="555"/>
            <ac:spMk id="63" creationId="{DF6852BF-EA61-496B-9138-404FED7F756A}"/>
          </ac:spMkLst>
        </pc:spChg>
        <pc:spChg chg="mod">
          <ac:chgData name="Falcão Lacerda, Rafael" userId="40181ff7-4694-4c53-a944-7b7d63582359" providerId="ADAL" clId="{3B4D5F63-EA56-4616-8A78-0C43AB7049E7}" dt="2025-12-08T00:26:38.020" v="5034" actId="947"/>
          <ac:spMkLst>
            <pc:docMk/>
            <pc:sldMk cId="1018283535" sldId="555"/>
            <ac:spMk id="64" creationId="{912D9DDC-772B-4E07-A626-F7AFD27C2C12}"/>
          </ac:spMkLst>
        </pc:spChg>
        <pc:spChg chg="mod">
          <ac:chgData name="Falcão Lacerda, Rafael" userId="40181ff7-4694-4c53-a944-7b7d63582359" providerId="ADAL" clId="{3B4D5F63-EA56-4616-8A78-0C43AB7049E7}" dt="2025-12-08T00:26:41.841" v="6329" actId="790"/>
          <ac:spMkLst>
            <pc:docMk/>
            <pc:sldMk cId="1018283535" sldId="555"/>
            <ac:spMk id="65" creationId="{5360CC77-A563-4AA4-BE8A-CD447A39EEC3}"/>
          </ac:spMkLst>
        </pc:spChg>
        <pc:spChg chg="mod">
          <ac:chgData name="Falcão Lacerda, Rafael" userId="40181ff7-4694-4c53-a944-7b7d63582359" providerId="ADAL" clId="{3B4D5F63-EA56-4616-8A78-0C43AB7049E7}" dt="2025-12-08T00:26:38.013" v="5028" actId="947"/>
          <ac:spMkLst>
            <pc:docMk/>
            <pc:sldMk cId="1018283535" sldId="555"/>
            <ac:spMk id="69" creationId="{239A8DE5-2092-4D91-85F6-F611EFD28052}"/>
          </ac:spMkLst>
        </pc:spChg>
        <pc:spChg chg="mod">
          <ac:chgData name="Falcão Lacerda, Rafael" userId="40181ff7-4694-4c53-a944-7b7d63582359" providerId="ADAL" clId="{3B4D5F63-EA56-4616-8A78-0C43AB7049E7}" dt="2025-12-08T00:26:38.010" v="5026" actId="947"/>
          <ac:spMkLst>
            <pc:docMk/>
            <pc:sldMk cId="1018283535" sldId="555"/>
            <ac:spMk id="70" creationId="{141C3353-959A-4287-9AC8-B02ABBE6C496}"/>
          </ac:spMkLst>
        </pc:spChg>
        <pc:spChg chg="mod">
          <ac:chgData name="Falcão Lacerda, Rafael" userId="40181ff7-4694-4c53-a944-7b7d63582359" providerId="ADAL" clId="{3B4D5F63-EA56-4616-8A78-0C43AB7049E7}" dt="2025-12-08T00:26:38.008" v="5024" actId="947"/>
          <ac:spMkLst>
            <pc:docMk/>
            <pc:sldMk cId="1018283535" sldId="555"/>
            <ac:spMk id="71" creationId="{10ECEC4C-CE20-481F-ACB1-EA1EB7201078}"/>
          </ac:spMkLst>
        </pc:spChg>
        <pc:spChg chg="mod">
          <ac:chgData name="Falcão Lacerda, Rafael" userId="40181ff7-4694-4c53-a944-7b7d63582359" providerId="ADAL" clId="{3B4D5F63-EA56-4616-8A78-0C43AB7049E7}" dt="2025-12-08T00:26:41.841" v="6329" actId="790"/>
          <ac:spMkLst>
            <pc:docMk/>
            <pc:sldMk cId="1018283535" sldId="555"/>
            <ac:spMk id="75" creationId="{C8F0318B-632F-42F3-9883-1A0C2FCA185A}"/>
          </ac:spMkLst>
        </pc:spChg>
        <pc:spChg chg="mod">
          <ac:chgData name="Falcão Lacerda, Rafael" userId="40181ff7-4694-4c53-a944-7b7d63582359" providerId="ADAL" clId="{3B4D5F63-EA56-4616-8A78-0C43AB7049E7}" dt="2025-12-08T00:26:41.841" v="6329" actId="790"/>
          <ac:spMkLst>
            <pc:docMk/>
            <pc:sldMk cId="1018283535" sldId="555"/>
            <ac:spMk id="76" creationId="{F730725F-A800-4112-BE99-1CA5853B7A66}"/>
          </ac:spMkLst>
        </pc:spChg>
        <pc:spChg chg="mod">
          <ac:chgData name="Falcão Lacerda, Rafael" userId="40181ff7-4694-4c53-a944-7b7d63582359" providerId="ADAL" clId="{3B4D5F63-EA56-4616-8A78-0C43AB7049E7}" dt="2025-12-08T00:26:37.993" v="5012" actId="947"/>
          <ac:spMkLst>
            <pc:docMk/>
            <pc:sldMk cId="1018283535" sldId="555"/>
            <ac:spMk id="77" creationId="{7DAE269F-7293-4C0D-B686-2DA9EB04C79E}"/>
          </ac:spMkLst>
        </pc:spChg>
        <pc:spChg chg="mod">
          <ac:chgData name="Falcão Lacerda, Rafael" userId="40181ff7-4694-4c53-a944-7b7d63582359" providerId="ADAL" clId="{3B4D5F63-EA56-4616-8A78-0C43AB7049E7}" dt="2025-12-08T00:26:37.987" v="5008" actId="947"/>
          <ac:spMkLst>
            <pc:docMk/>
            <pc:sldMk cId="1018283535" sldId="555"/>
            <ac:spMk id="81" creationId="{2A3AFFFC-1A36-42A4-8EEE-972AF1B89072}"/>
          </ac:spMkLst>
        </pc:spChg>
        <pc:spChg chg="mod">
          <ac:chgData name="Falcão Lacerda, Rafael" userId="40181ff7-4694-4c53-a944-7b7d63582359" providerId="ADAL" clId="{3B4D5F63-EA56-4616-8A78-0C43AB7049E7}" dt="2025-12-08T00:26:37.984" v="5006" actId="947"/>
          <ac:spMkLst>
            <pc:docMk/>
            <pc:sldMk cId="1018283535" sldId="555"/>
            <ac:spMk id="82" creationId="{543F68A3-D840-404F-9162-9ACA39E73E69}"/>
          </ac:spMkLst>
        </pc:spChg>
        <pc:spChg chg="mod">
          <ac:chgData name="Falcão Lacerda, Rafael" userId="40181ff7-4694-4c53-a944-7b7d63582359" providerId="ADAL" clId="{3B4D5F63-EA56-4616-8A78-0C43AB7049E7}" dt="2025-12-08T00:26:41.841" v="6329" actId="790"/>
          <ac:spMkLst>
            <pc:docMk/>
            <pc:sldMk cId="1018283535" sldId="555"/>
            <ac:spMk id="83" creationId="{1530963C-B61C-4428-889C-2771BE87A102}"/>
          </ac:spMkLst>
        </pc:spChg>
        <pc:graphicFrameChg chg="add mod ord modVis">
          <ac:chgData name="Falcão Lacerda, Rafael" userId="40181ff7-4694-4c53-a944-7b7d63582359" providerId="ADAL" clId="{3B4D5F63-EA56-4616-8A78-0C43AB7049E7}" dt="2025-12-08T00:26:53.999" v="10671"/>
          <ac:graphicFrameMkLst>
            <pc:docMk/>
            <pc:sldMk cId="1018283535" sldId="555"/>
            <ac:graphicFrameMk id="5" creationId="{8F13B7F0-E4E9-CF89-088A-A7917E423893}"/>
          </ac:graphicFrameMkLst>
        </pc:graphicFrameChg>
      </pc:sldChg>
      <pc:sldChg chg="addSp delSp modSp mod modShow modNotes">
        <pc:chgData name="Falcão Lacerda, Rafael" userId="40181ff7-4694-4c53-a944-7b7d63582359" providerId="ADAL" clId="{3B4D5F63-EA56-4616-8A78-0C43AB7049E7}" dt="2025-12-08T17:18:13.731" v="34035" actId="729"/>
        <pc:sldMkLst>
          <pc:docMk/>
          <pc:sldMk cId="1739153273" sldId="557"/>
        </pc:sldMkLst>
        <pc:spChg chg="mod">
          <ac:chgData name="Falcão Lacerda, Rafael" userId="40181ff7-4694-4c53-a944-7b7d63582359" providerId="ADAL" clId="{3B4D5F63-EA56-4616-8A78-0C43AB7049E7}" dt="2025-12-08T00:26:46.856" v="8199" actId="948"/>
          <ac:spMkLst>
            <pc:docMk/>
            <pc:sldMk cId="1739153273" sldId="557"/>
            <ac:spMk id="2" creationId="{59AAEE37-1610-4B27-B97B-B45F31A203C1}"/>
          </ac:spMkLst>
        </pc:spChg>
        <pc:spChg chg="add del mod modVis">
          <ac:chgData name="Falcão Lacerda, Rafael" userId="40181ff7-4694-4c53-a944-7b7d63582359" providerId="ADAL" clId="{3B4D5F63-EA56-4616-8A78-0C43AB7049E7}" dt="2025-12-08T00:26:53.886" v="10641"/>
          <ac:spMkLst>
            <pc:docMk/>
            <pc:sldMk cId="1739153273" sldId="557"/>
            <ac:spMk id="4" creationId="{E40F4A71-C117-1067-10D3-0C089B025A59}"/>
          </ac:spMkLst>
        </pc:spChg>
        <pc:spChg chg="mod">
          <ac:chgData name="Falcão Lacerda, Rafael" userId="40181ff7-4694-4c53-a944-7b7d63582359" providerId="ADAL" clId="{3B4D5F63-EA56-4616-8A78-0C43AB7049E7}" dt="2025-12-08T00:26:37.951" v="4998" actId="947"/>
          <ac:spMkLst>
            <pc:docMk/>
            <pc:sldMk cId="1739153273" sldId="557"/>
            <ac:spMk id="38" creationId="{2031FC81-1F4C-4ABE-A7F8-E62F8E86E169}"/>
          </ac:spMkLst>
        </pc:spChg>
        <pc:spChg chg="mod">
          <ac:chgData name="Falcão Lacerda, Rafael" userId="40181ff7-4694-4c53-a944-7b7d63582359" providerId="ADAL" clId="{3B4D5F63-EA56-4616-8A78-0C43AB7049E7}" dt="2025-12-08T00:26:41.841" v="6329" actId="790"/>
          <ac:spMkLst>
            <pc:docMk/>
            <pc:sldMk cId="1739153273" sldId="557"/>
            <ac:spMk id="39" creationId="{61AAFE0B-A639-4DA2-AA4A-71ED0329B1EE}"/>
          </ac:spMkLst>
        </pc:spChg>
        <pc:spChg chg="mod">
          <ac:chgData name="Falcão Lacerda, Rafael" userId="40181ff7-4694-4c53-a944-7b7d63582359" providerId="ADAL" clId="{3B4D5F63-EA56-4616-8A78-0C43AB7049E7}" dt="2025-12-08T00:26:41.841" v="6329" actId="790"/>
          <ac:spMkLst>
            <pc:docMk/>
            <pc:sldMk cId="1739153273" sldId="557"/>
            <ac:spMk id="40" creationId="{8D16DFDC-7D0C-43FD-87C4-ED1EF15EC10E}"/>
          </ac:spMkLst>
        </pc:spChg>
        <pc:spChg chg="mod">
          <ac:chgData name="Falcão Lacerda, Rafael" userId="40181ff7-4694-4c53-a944-7b7d63582359" providerId="ADAL" clId="{3B4D5F63-EA56-4616-8A78-0C43AB7049E7}" dt="2025-12-08T00:26:41.841" v="6329" actId="790"/>
          <ac:spMkLst>
            <pc:docMk/>
            <pc:sldMk cId="1739153273" sldId="557"/>
            <ac:spMk id="47" creationId="{1E139542-F01C-40C2-B600-CE9FFE449A1D}"/>
          </ac:spMkLst>
        </pc:spChg>
        <pc:spChg chg="mod">
          <ac:chgData name="Falcão Lacerda, Rafael" userId="40181ff7-4694-4c53-a944-7b7d63582359" providerId="ADAL" clId="{3B4D5F63-EA56-4616-8A78-0C43AB7049E7}" dt="2025-12-08T00:26:41.841" v="6329" actId="790"/>
          <ac:spMkLst>
            <pc:docMk/>
            <pc:sldMk cId="1739153273" sldId="557"/>
            <ac:spMk id="48" creationId="{688A9A3C-5827-426A-9B92-2C95A173BD41}"/>
          </ac:spMkLst>
        </pc:spChg>
        <pc:spChg chg="mod">
          <ac:chgData name="Falcão Lacerda, Rafael" userId="40181ff7-4694-4c53-a944-7b7d63582359" providerId="ADAL" clId="{3B4D5F63-EA56-4616-8A78-0C43AB7049E7}" dt="2025-12-08T00:26:41.841" v="6329" actId="790"/>
          <ac:spMkLst>
            <pc:docMk/>
            <pc:sldMk cId="1739153273" sldId="557"/>
            <ac:spMk id="49" creationId="{E852538F-C32E-4B3D-A9B6-4B332CC2CAEE}"/>
          </ac:spMkLst>
        </pc:spChg>
        <pc:spChg chg="mod">
          <ac:chgData name="Falcão Lacerda, Rafael" userId="40181ff7-4694-4c53-a944-7b7d63582359" providerId="ADAL" clId="{3B4D5F63-EA56-4616-8A78-0C43AB7049E7}" dt="2025-12-08T00:26:37.858" v="4980" actId="947"/>
          <ac:spMkLst>
            <pc:docMk/>
            <pc:sldMk cId="1739153273" sldId="557"/>
            <ac:spMk id="50" creationId="{D419B1A1-5378-429B-91A0-0ADD8F925719}"/>
          </ac:spMkLst>
        </pc:spChg>
        <pc:spChg chg="mod">
          <ac:chgData name="Falcão Lacerda, Rafael" userId="40181ff7-4694-4c53-a944-7b7d63582359" providerId="ADAL" clId="{3B4D5F63-EA56-4616-8A78-0C43AB7049E7}" dt="2025-12-08T00:26:41.841" v="6329" actId="790"/>
          <ac:spMkLst>
            <pc:docMk/>
            <pc:sldMk cId="1739153273" sldId="557"/>
            <ac:spMk id="51" creationId="{7989231D-3A4F-4F2D-99B2-6FD4406BE5AD}"/>
          </ac:spMkLst>
        </pc:spChg>
        <pc:spChg chg="mod">
          <ac:chgData name="Falcão Lacerda, Rafael" userId="40181ff7-4694-4c53-a944-7b7d63582359" providerId="ADAL" clId="{3B4D5F63-EA56-4616-8A78-0C43AB7049E7}" dt="2025-12-08T00:26:37.919" v="4992" actId="947"/>
          <ac:spMkLst>
            <pc:docMk/>
            <pc:sldMk cId="1739153273" sldId="557"/>
            <ac:spMk id="52" creationId="{B0057412-1906-496D-85B4-05A36059D79F}"/>
          </ac:spMkLst>
        </pc:spChg>
        <pc:spChg chg="mod">
          <ac:chgData name="Falcão Lacerda, Rafael" userId="40181ff7-4694-4c53-a944-7b7d63582359" providerId="ADAL" clId="{3B4D5F63-EA56-4616-8A78-0C43AB7049E7}" dt="2025-12-08T00:26:41.841" v="6329" actId="790"/>
          <ac:spMkLst>
            <pc:docMk/>
            <pc:sldMk cId="1739153273" sldId="557"/>
            <ac:spMk id="53" creationId="{8CB20EDC-6D13-4006-A9D9-D874301BE603}"/>
          </ac:spMkLst>
        </pc:spChg>
        <pc:spChg chg="mod">
          <ac:chgData name="Falcão Lacerda, Rafael" userId="40181ff7-4694-4c53-a944-7b7d63582359" providerId="ADAL" clId="{3B4D5F63-EA56-4616-8A78-0C43AB7049E7}" dt="2025-12-08T00:26:37.808" v="4972" actId="947"/>
          <ac:spMkLst>
            <pc:docMk/>
            <pc:sldMk cId="1739153273" sldId="557"/>
            <ac:spMk id="54" creationId="{577969F3-1377-4FF6-80AD-6AA36E31859B}"/>
          </ac:spMkLst>
        </pc:spChg>
        <pc:spChg chg="mod">
          <ac:chgData name="Falcão Lacerda, Rafael" userId="40181ff7-4694-4c53-a944-7b7d63582359" providerId="ADAL" clId="{3B4D5F63-EA56-4616-8A78-0C43AB7049E7}" dt="2025-12-08T00:26:37.797" v="4970" actId="947"/>
          <ac:spMkLst>
            <pc:docMk/>
            <pc:sldMk cId="1739153273" sldId="557"/>
            <ac:spMk id="55" creationId="{F1084B1C-7D03-476E-AFFE-584DB2ECF212}"/>
          </ac:spMkLst>
        </pc:spChg>
        <pc:spChg chg="mod">
          <ac:chgData name="Falcão Lacerda, Rafael" userId="40181ff7-4694-4c53-a944-7b7d63582359" providerId="ADAL" clId="{3B4D5F63-EA56-4616-8A78-0C43AB7049E7}" dt="2025-12-08T00:26:41.841" v="6329" actId="790"/>
          <ac:spMkLst>
            <pc:docMk/>
            <pc:sldMk cId="1739153273" sldId="557"/>
            <ac:spMk id="56" creationId="{5E3F805A-5325-43F6-87DC-7298393A8599}"/>
          </ac:spMkLst>
        </pc:spChg>
        <pc:spChg chg="mod">
          <ac:chgData name="Falcão Lacerda, Rafael" userId="40181ff7-4694-4c53-a944-7b7d63582359" providerId="ADAL" clId="{3B4D5F63-EA56-4616-8A78-0C43AB7049E7}" dt="2025-12-08T00:26:41.841" v="6329" actId="790"/>
          <ac:spMkLst>
            <pc:docMk/>
            <pc:sldMk cId="1739153273" sldId="557"/>
            <ac:spMk id="63" creationId="{0191A909-9232-4025-8F48-E68CF46384F2}"/>
          </ac:spMkLst>
        </pc:spChg>
        <pc:spChg chg="mod">
          <ac:chgData name="Falcão Lacerda, Rafael" userId="40181ff7-4694-4c53-a944-7b7d63582359" providerId="ADAL" clId="{3B4D5F63-EA56-4616-8A78-0C43AB7049E7}" dt="2025-12-08T00:26:37.884" v="4984" actId="947"/>
          <ac:spMkLst>
            <pc:docMk/>
            <pc:sldMk cId="1739153273" sldId="557"/>
            <ac:spMk id="64" creationId="{1FF565B0-92FC-45B8-A383-15B5AE0194B3}"/>
          </ac:spMkLst>
        </pc:spChg>
        <pc:spChg chg="mod">
          <ac:chgData name="Falcão Lacerda, Rafael" userId="40181ff7-4694-4c53-a944-7b7d63582359" providerId="ADAL" clId="{3B4D5F63-EA56-4616-8A78-0C43AB7049E7}" dt="2025-12-08T00:26:37.846" v="4978" actId="947"/>
          <ac:spMkLst>
            <pc:docMk/>
            <pc:sldMk cId="1739153273" sldId="557"/>
            <ac:spMk id="65" creationId="{318E6FA4-5B11-49EE-9D6C-DF6E792DF27D}"/>
          </ac:spMkLst>
        </pc:spChg>
        <pc:spChg chg="mod">
          <ac:chgData name="Falcão Lacerda, Rafael" userId="40181ff7-4694-4c53-a944-7b7d63582359" providerId="ADAL" clId="{3B4D5F63-EA56-4616-8A78-0C43AB7049E7}" dt="2025-12-08T00:26:41.841" v="6329" actId="790"/>
          <ac:spMkLst>
            <pc:docMk/>
            <pc:sldMk cId="1739153273" sldId="557"/>
            <ac:spMk id="66" creationId="{B82DCF94-04DF-4044-B5AF-2EB0191F98DE}"/>
          </ac:spMkLst>
        </pc:spChg>
        <pc:graphicFrameChg chg="add mod ord modVis">
          <ac:chgData name="Falcão Lacerda, Rafael" userId="40181ff7-4694-4c53-a944-7b7d63582359" providerId="ADAL" clId="{3B4D5F63-EA56-4616-8A78-0C43AB7049E7}" dt="2025-12-08T00:26:53.954" v="10655"/>
          <ac:graphicFrameMkLst>
            <pc:docMk/>
            <pc:sldMk cId="1739153273" sldId="557"/>
            <ac:graphicFrameMk id="5" creationId="{91D5D618-0017-802B-4738-BE5349DB302A}"/>
          </ac:graphicFrameMkLst>
        </pc:graphicFrameChg>
      </pc:sldChg>
      <pc:sldChg chg="addSp delSp modSp mod modShow modNotes">
        <pc:chgData name="Falcão Lacerda, Rafael" userId="40181ff7-4694-4c53-a944-7b7d63582359" providerId="ADAL" clId="{3B4D5F63-EA56-4616-8A78-0C43AB7049E7}" dt="2025-12-08T17:18:13.731" v="34035" actId="729"/>
        <pc:sldMkLst>
          <pc:docMk/>
          <pc:sldMk cId="1304944652" sldId="644"/>
        </pc:sldMkLst>
        <pc:spChg chg="mod">
          <ac:chgData name="Falcão Lacerda, Rafael" userId="40181ff7-4694-4c53-a944-7b7d63582359" providerId="ADAL" clId="{3B4D5F63-EA56-4616-8A78-0C43AB7049E7}" dt="2025-12-08T00:26:36.210" v="4088" actId="947"/>
          <ac:spMkLst>
            <pc:docMk/>
            <pc:sldMk cId="1304944652" sldId="644"/>
            <ac:spMk id="3" creationId="{88DC9556-4F3B-B38E-B960-AA2D37CBAAF0}"/>
          </ac:spMkLst>
        </pc:spChg>
        <pc:spChg chg="mod">
          <ac:chgData name="Falcão Lacerda, Rafael" userId="40181ff7-4694-4c53-a944-7b7d63582359" providerId="ADAL" clId="{3B4D5F63-EA56-4616-8A78-0C43AB7049E7}" dt="2025-12-08T00:26:45.598" v="7537" actId="948"/>
          <ac:spMkLst>
            <pc:docMk/>
            <pc:sldMk cId="1304944652" sldId="644"/>
            <ac:spMk id="4" creationId="{430B4296-9745-48A9-909B-7BED971230FC}"/>
          </ac:spMkLst>
        </pc:spChg>
        <pc:spChg chg="mod">
          <ac:chgData name="Falcão Lacerda, Rafael" userId="40181ff7-4694-4c53-a944-7b7d63582359" providerId="ADAL" clId="{3B4D5F63-EA56-4616-8A78-0C43AB7049E7}" dt="2025-12-08T00:26:36.210" v="4090" actId="947"/>
          <ac:spMkLst>
            <pc:docMk/>
            <pc:sldMk cId="1304944652" sldId="644"/>
            <ac:spMk id="5" creationId="{7CDFCC14-0E42-890B-65FE-A4D9A9780F66}"/>
          </ac:spMkLst>
        </pc:spChg>
        <pc:spChg chg="mod">
          <ac:chgData name="Falcão Lacerda, Rafael" userId="40181ff7-4694-4c53-a944-7b7d63582359" providerId="ADAL" clId="{3B4D5F63-EA56-4616-8A78-0C43AB7049E7}" dt="2025-12-08T00:26:41.841" v="6329" actId="790"/>
          <ac:spMkLst>
            <pc:docMk/>
            <pc:sldMk cId="1304944652" sldId="644"/>
            <ac:spMk id="7" creationId="{4093FF5F-46C8-4B3E-9154-584FBEDA7A27}"/>
          </ac:spMkLst>
        </pc:spChg>
        <pc:spChg chg="mod">
          <ac:chgData name="Falcão Lacerda, Rafael" userId="40181ff7-4694-4c53-a944-7b7d63582359" providerId="ADAL" clId="{3B4D5F63-EA56-4616-8A78-0C43AB7049E7}" dt="2025-12-08T00:26:36.194" v="4082" actId="947"/>
          <ac:spMkLst>
            <pc:docMk/>
            <pc:sldMk cId="1304944652" sldId="644"/>
            <ac:spMk id="9" creationId="{74876A3F-DE1F-4D31-A630-F77C690F9C9C}"/>
          </ac:spMkLst>
        </pc:spChg>
        <pc:spChg chg="mod">
          <ac:chgData name="Falcão Lacerda, Rafael" userId="40181ff7-4694-4c53-a944-7b7d63582359" providerId="ADAL" clId="{3B4D5F63-EA56-4616-8A78-0C43AB7049E7}" dt="2025-12-08T00:26:36.194" v="4080" actId="947"/>
          <ac:spMkLst>
            <pc:docMk/>
            <pc:sldMk cId="1304944652" sldId="644"/>
            <ac:spMk id="10" creationId="{D99DA9B5-743D-42C7-9275-0A9ACEED83A8}"/>
          </ac:spMkLst>
        </pc:spChg>
        <pc:spChg chg="mod">
          <ac:chgData name="Falcão Lacerda, Rafael" userId="40181ff7-4694-4c53-a944-7b7d63582359" providerId="ADAL" clId="{3B4D5F63-EA56-4616-8A78-0C43AB7049E7}" dt="2025-12-08T00:26:36.194" v="4078" actId="947"/>
          <ac:spMkLst>
            <pc:docMk/>
            <pc:sldMk cId="1304944652" sldId="644"/>
            <ac:spMk id="12" creationId="{73617D6C-5B05-4C6A-AD2E-A25CFAB020A8}"/>
          </ac:spMkLst>
        </pc:spChg>
        <pc:spChg chg="mod">
          <ac:chgData name="Falcão Lacerda, Rafael" userId="40181ff7-4694-4c53-a944-7b7d63582359" providerId="ADAL" clId="{3B4D5F63-EA56-4616-8A78-0C43AB7049E7}" dt="2025-12-08T00:26:36.194" v="4076" actId="947"/>
          <ac:spMkLst>
            <pc:docMk/>
            <pc:sldMk cId="1304944652" sldId="644"/>
            <ac:spMk id="13" creationId="{F9857F70-A2E8-4EAE-9261-D220795CCA5F}"/>
          </ac:spMkLst>
        </pc:spChg>
        <pc:spChg chg="mod">
          <ac:chgData name="Falcão Lacerda, Rafael" userId="40181ff7-4694-4c53-a944-7b7d63582359" providerId="ADAL" clId="{3B4D5F63-EA56-4616-8A78-0C43AB7049E7}" dt="2025-12-08T00:26:36.194" v="4074" actId="947"/>
          <ac:spMkLst>
            <pc:docMk/>
            <pc:sldMk cId="1304944652" sldId="644"/>
            <ac:spMk id="14" creationId="{E1E69420-BE03-43E9-993A-B6A616A81542}"/>
          </ac:spMkLst>
        </pc:spChg>
        <pc:spChg chg="mod">
          <ac:chgData name="Falcão Lacerda, Rafael" userId="40181ff7-4694-4c53-a944-7b7d63582359" providerId="ADAL" clId="{3B4D5F63-EA56-4616-8A78-0C43AB7049E7}" dt="2025-12-08T00:26:36.194" v="4072" actId="947"/>
          <ac:spMkLst>
            <pc:docMk/>
            <pc:sldMk cId="1304944652" sldId="644"/>
            <ac:spMk id="15" creationId="{0DBE76E5-8123-443B-AAE4-2E7F9CE12FEB}"/>
          </ac:spMkLst>
        </pc:spChg>
        <pc:spChg chg="mod">
          <ac:chgData name="Falcão Lacerda, Rafael" userId="40181ff7-4694-4c53-a944-7b7d63582359" providerId="ADAL" clId="{3B4D5F63-EA56-4616-8A78-0C43AB7049E7}" dt="2025-12-08T00:26:36.193" v="4070" actId="947"/>
          <ac:spMkLst>
            <pc:docMk/>
            <pc:sldMk cId="1304944652" sldId="644"/>
            <ac:spMk id="16" creationId="{E262F095-FF5D-4678-B92C-7E80513A326E}"/>
          </ac:spMkLst>
        </pc:spChg>
        <pc:spChg chg="mod">
          <ac:chgData name="Falcão Lacerda, Rafael" userId="40181ff7-4694-4c53-a944-7b7d63582359" providerId="ADAL" clId="{3B4D5F63-EA56-4616-8A78-0C43AB7049E7}" dt="2025-12-08T00:26:36.179" v="4068" actId="947"/>
          <ac:spMkLst>
            <pc:docMk/>
            <pc:sldMk cId="1304944652" sldId="644"/>
            <ac:spMk id="17" creationId="{C78B31CD-67B9-4DE9-ADCB-7B97273751EB}"/>
          </ac:spMkLst>
        </pc:spChg>
        <pc:spChg chg="mod">
          <ac:chgData name="Falcão Lacerda, Rafael" userId="40181ff7-4694-4c53-a944-7b7d63582359" providerId="ADAL" clId="{3B4D5F63-EA56-4616-8A78-0C43AB7049E7}" dt="2025-12-08T00:26:36.179" v="4066" actId="947"/>
          <ac:spMkLst>
            <pc:docMk/>
            <pc:sldMk cId="1304944652" sldId="644"/>
            <ac:spMk id="18" creationId="{4EC80A12-9D0C-4AAD-9078-57DCB9216FAA}"/>
          </ac:spMkLst>
        </pc:spChg>
        <pc:spChg chg="mod">
          <ac:chgData name="Falcão Lacerda, Rafael" userId="40181ff7-4694-4c53-a944-7b7d63582359" providerId="ADAL" clId="{3B4D5F63-EA56-4616-8A78-0C43AB7049E7}" dt="2025-12-08T00:26:36.179" v="4064" actId="947"/>
          <ac:spMkLst>
            <pc:docMk/>
            <pc:sldMk cId="1304944652" sldId="644"/>
            <ac:spMk id="19" creationId="{15197CD3-239A-46B5-9EBE-F5357DAFCBFC}"/>
          </ac:spMkLst>
        </pc:spChg>
        <pc:spChg chg="mod">
          <ac:chgData name="Falcão Lacerda, Rafael" userId="40181ff7-4694-4c53-a944-7b7d63582359" providerId="ADAL" clId="{3B4D5F63-EA56-4616-8A78-0C43AB7049E7}" dt="2025-12-08T00:26:41.841" v="6329" actId="790"/>
          <ac:spMkLst>
            <pc:docMk/>
            <pc:sldMk cId="1304944652" sldId="644"/>
            <ac:spMk id="20" creationId="{DBD45755-0411-4258-8A5A-3BC708E2D898}"/>
          </ac:spMkLst>
        </pc:spChg>
        <pc:spChg chg="mod">
          <ac:chgData name="Falcão Lacerda, Rafael" userId="40181ff7-4694-4c53-a944-7b7d63582359" providerId="ADAL" clId="{3B4D5F63-EA56-4616-8A78-0C43AB7049E7}" dt="2025-12-08T00:26:36.179" v="4060" actId="947"/>
          <ac:spMkLst>
            <pc:docMk/>
            <pc:sldMk cId="1304944652" sldId="644"/>
            <ac:spMk id="21" creationId="{EA56B298-89A0-405F-913D-9B51E98913DC}"/>
          </ac:spMkLst>
        </pc:spChg>
        <pc:spChg chg="mod">
          <ac:chgData name="Falcão Lacerda, Rafael" userId="40181ff7-4694-4c53-a944-7b7d63582359" providerId="ADAL" clId="{3B4D5F63-EA56-4616-8A78-0C43AB7049E7}" dt="2025-12-08T00:26:36.179" v="4058" actId="947"/>
          <ac:spMkLst>
            <pc:docMk/>
            <pc:sldMk cId="1304944652" sldId="644"/>
            <ac:spMk id="22" creationId="{2E899B1F-9049-4466-A6B3-408A11A9A39B}"/>
          </ac:spMkLst>
        </pc:spChg>
        <pc:spChg chg="mod">
          <ac:chgData name="Falcão Lacerda, Rafael" userId="40181ff7-4694-4c53-a944-7b7d63582359" providerId="ADAL" clId="{3B4D5F63-EA56-4616-8A78-0C43AB7049E7}" dt="2025-12-08T00:26:36.161" v="4056" actId="947"/>
          <ac:spMkLst>
            <pc:docMk/>
            <pc:sldMk cId="1304944652" sldId="644"/>
            <ac:spMk id="23" creationId="{4E99365E-B348-4765-9B85-9C0E278EA081}"/>
          </ac:spMkLst>
        </pc:spChg>
        <pc:spChg chg="mod">
          <ac:chgData name="Falcão Lacerda, Rafael" userId="40181ff7-4694-4c53-a944-7b7d63582359" providerId="ADAL" clId="{3B4D5F63-EA56-4616-8A78-0C43AB7049E7}" dt="2025-12-08T00:26:36.161" v="4054" actId="947"/>
          <ac:spMkLst>
            <pc:docMk/>
            <pc:sldMk cId="1304944652" sldId="644"/>
            <ac:spMk id="24" creationId="{DF4D0603-F6D2-4D31-957A-18EA789AC0EF}"/>
          </ac:spMkLst>
        </pc:spChg>
        <pc:spChg chg="mod">
          <ac:chgData name="Falcão Lacerda, Rafael" userId="40181ff7-4694-4c53-a944-7b7d63582359" providerId="ADAL" clId="{3B4D5F63-EA56-4616-8A78-0C43AB7049E7}" dt="2025-12-08T00:26:36.161" v="4052" actId="947"/>
          <ac:spMkLst>
            <pc:docMk/>
            <pc:sldMk cId="1304944652" sldId="644"/>
            <ac:spMk id="25" creationId="{C3C2B136-9D74-40AD-A6BC-B3F217C8F1A7}"/>
          </ac:spMkLst>
        </pc:spChg>
        <pc:spChg chg="mod">
          <ac:chgData name="Falcão Lacerda, Rafael" userId="40181ff7-4694-4c53-a944-7b7d63582359" providerId="ADAL" clId="{3B4D5F63-EA56-4616-8A78-0C43AB7049E7}" dt="2025-12-08T00:26:36.161" v="4050" actId="947"/>
          <ac:spMkLst>
            <pc:docMk/>
            <pc:sldMk cId="1304944652" sldId="644"/>
            <ac:spMk id="26" creationId="{ACD61EC2-95E4-4841-B2EB-20F4E93411EB}"/>
          </ac:spMkLst>
        </pc:spChg>
        <pc:spChg chg="mod">
          <ac:chgData name="Falcão Lacerda, Rafael" userId="40181ff7-4694-4c53-a944-7b7d63582359" providerId="ADAL" clId="{3B4D5F63-EA56-4616-8A78-0C43AB7049E7}" dt="2025-12-08T00:26:36.161" v="4048" actId="947"/>
          <ac:spMkLst>
            <pc:docMk/>
            <pc:sldMk cId="1304944652" sldId="644"/>
            <ac:spMk id="27" creationId="{F8DDA04D-604F-4914-8DDC-F4A631DAC4D4}"/>
          </ac:spMkLst>
        </pc:spChg>
        <pc:spChg chg="mod">
          <ac:chgData name="Falcão Lacerda, Rafael" userId="40181ff7-4694-4c53-a944-7b7d63582359" providerId="ADAL" clId="{3B4D5F63-EA56-4616-8A78-0C43AB7049E7}" dt="2025-12-08T00:26:36.161" v="4046" actId="947"/>
          <ac:spMkLst>
            <pc:docMk/>
            <pc:sldMk cId="1304944652" sldId="644"/>
            <ac:spMk id="28" creationId="{4691ADB1-8AD4-433E-969B-5225079818FD}"/>
          </ac:spMkLst>
        </pc:spChg>
        <pc:spChg chg="mod">
          <ac:chgData name="Falcão Lacerda, Rafael" userId="40181ff7-4694-4c53-a944-7b7d63582359" providerId="ADAL" clId="{3B4D5F63-EA56-4616-8A78-0C43AB7049E7}" dt="2025-12-08T00:26:41.841" v="6329" actId="790"/>
          <ac:spMkLst>
            <pc:docMk/>
            <pc:sldMk cId="1304944652" sldId="644"/>
            <ac:spMk id="29" creationId="{AF09F407-A02F-468E-97E5-4C2CD6E39F18}"/>
          </ac:spMkLst>
        </pc:spChg>
        <pc:spChg chg="mod">
          <ac:chgData name="Falcão Lacerda, Rafael" userId="40181ff7-4694-4c53-a944-7b7d63582359" providerId="ADAL" clId="{3B4D5F63-EA56-4616-8A78-0C43AB7049E7}" dt="2025-12-08T00:26:36.146" v="4042" actId="947"/>
          <ac:spMkLst>
            <pc:docMk/>
            <pc:sldMk cId="1304944652" sldId="644"/>
            <ac:spMk id="30" creationId="{F55B2C41-2B97-41F5-8A9F-1024C1CF6415}"/>
          </ac:spMkLst>
        </pc:spChg>
        <pc:spChg chg="mod">
          <ac:chgData name="Falcão Lacerda, Rafael" userId="40181ff7-4694-4c53-a944-7b7d63582359" providerId="ADAL" clId="{3B4D5F63-EA56-4616-8A78-0C43AB7049E7}" dt="2025-12-08T00:26:36.146" v="4040" actId="947"/>
          <ac:spMkLst>
            <pc:docMk/>
            <pc:sldMk cId="1304944652" sldId="644"/>
            <ac:spMk id="31" creationId="{3CDBF86B-EDB8-4BE1-BF18-4583CCFDD72E}"/>
          </ac:spMkLst>
        </pc:spChg>
        <pc:spChg chg="mod">
          <ac:chgData name="Falcão Lacerda, Rafael" userId="40181ff7-4694-4c53-a944-7b7d63582359" providerId="ADAL" clId="{3B4D5F63-EA56-4616-8A78-0C43AB7049E7}" dt="2025-12-08T00:26:36.146" v="4038" actId="947"/>
          <ac:spMkLst>
            <pc:docMk/>
            <pc:sldMk cId="1304944652" sldId="644"/>
            <ac:spMk id="32" creationId="{CB136260-B653-4DF0-8CBA-7208A6213606}"/>
          </ac:spMkLst>
        </pc:spChg>
        <pc:spChg chg="mod">
          <ac:chgData name="Falcão Lacerda, Rafael" userId="40181ff7-4694-4c53-a944-7b7d63582359" providerId="ADAL" clId="{3B4D5F63-EA56-4616-8A78-0C43AB7049E7}" dt="2025-12-08T00:26:36.146" v="4036" actId="947"/>
          <ac:spMkLst>
            <pc:docMk/>
            <pc:sldMk cId="1304944652" sldId="644"/>
            <ac:spMk id="33" creationId="{41611D71-840E-4C05-9542-5C9DEF425F20}"/>
          </ac:spMkLst>
        </pc:spChg>
        <pc:spChg chg="mod">
          <ac:chgData name="Falcão Lacerda, Rafael" userId="40181ff7-4694-4c53-a944-7b7d63582359" providerId="ADAL" clId="{3B4D5F63-EA56-4616-8A78-0C43AB7049E7}" dt="2025-12-08T00:26:41.841" v="6329" actId="790"/>
          <ac:spMkLst>
            <pc:docMk/>
            <pc:sldMk cId="1304944652" sldId="644"/>
            <ac:spMk id="34" creationId="{BFD79C76-07E6-4B4B-A303-0876886A40BB}"/>
          </ac:spMkLst>
        </pc:spChg>
        <pc:spChg chg="mod">
          <ac:chgData name="Falcão Lacerda, Rafael" userId="40181ff7-4694-4c53-a944-7b7d63582359" providerId="ADAL" clId="{3B4D5F63-EA56-4616-8A78-0C43AB7049E7}" dt="2025-12-08T00:26:41.841" v="6329" actId="790"/>
          <ac:spMkLst>
            <pc:docMk/>
            <pc:sldMk cId="1304944652" sldId="644"/>
            <ac:spMk id="35" creationId="{0914313C-E3C2-49AB-9486-00A55A3E56B3}"/>
          </ac:spMkLst>
        </pc:spChg>
        <pc:spChg chg="mod">
          <ac:chgData name="Falcão Lacerda, Rafael" userId="40181ff7-4694-4c53-a944-7b7d63582359" providerId="ADAL" clId="{3B4D5F63-EA56-4616-8A78-0C43AB7049E7}" dt="2025-12-08T00:26:41.841" v="6329" actId="790"/>
          <ac:spMkLst>
            <pc:docMk/>
            <pc:sldMk cId="1304944652" sldId="644"/>
            <ac:spMk id="36" creationId="{5A62E61B-B4AD-4474-A4C2-C10E513AE7E4}"/>
          </ac:spMkLst>
        </pc:spChg>
        <pc:spChg chg="mod">
          <ac:chgData name="Falcão Lacerda, Rafael" userId="40181ff7-4694-4c53-a944-7b7d63582359" providerId="ADAL" clId="{3B4D5F63-EA56-4616-8A78-0C43AB7049E7}" dt="2025-12-08T00:26:36.130" v="4028" actId="947"/>
          <ac:spMkLst>
            <pc:docMk/>
            <pc:sldMk cId="1304944652" sldId="644"/>
            <ac:spMk id="37" creationId="{FE59C00A-9E3F-40BF-8CCC-2AAE5BEB149F}"/>
          </ac:spMkLst>
        </pc:spChg>
        <pc:spChg chg="mod">
          <ac:chgData name="Falcão Lacerda, Rafael" userId="40181ff7-4694-4c53-a944-7b7d63582359" providerId="ADAL" clId="{3B4D5F63-EA56-4616-8A78-0C43AB7049E7}" dt="2025-12-08T00:26:41.841" v="6329" actId="790"/>
          <ac:spMkLst>
            <pc:docMk/>
            <pc:sldMk cId="1304944652" sldId="644"/>
            <ac:spMk id="38" creationId="{D33B03CE-52E3-4346-BAD3-386C0380B944}"/>
          </ac:spMkLst>
        </pc:spChg>
        <pc:spChg chg="mod">
          <ac:chgData name="Falcão Lacerda, Rafael" userId="40181ff7-4694-4c53-a944-7b7d63582359" providerId="ADAL" clId="{3B4D5F63-EA56-4616-8A78-0C43AB7049E7}" dt="2025-12-08T00:26:36.130" v="4024" actId="947"/>
          <ac:spMkLst>
            <pc:docMk/>
            <pc:sldMk cId="1304944652" sldId="644"/>
            <ac:spMk id="39" creationId="{42B03777-DD36-4582-A6E4-68870BA2E8EE}"/>
          </ac:spMkLst>
        </pc:spChg>
        <pc:spChg chg="mod">
          <ac:chgData name="Falcão Lacerda, Rafael" userId="40181ff7-4694-4c53-a944-7b7d63582359" providerId="ADAL" clId="{3B4D5F63-EA56-4616-8A78-0C43AB7049E7}" dt="2025-12-08T00:26:36.130" v="4022" actId="947"/>
          <ac:spMkLst>
            <pc:docMk/>
            <pc:sldMk cId="1304944652" sldId="644"/>
            <ac:spMk id="40" creationId="{1C403132-EFA7-4A56-BBBE-281D4F86E9D7}"/>
          </ac:spMkLst>
        </pc:spChg>
        <pc:spChg chg="mod">
          <ac:chgData name="Falcão Lacerda, Rafael" userId="40181ff7-4694-4c53-a944-7b7d63582359" providerId="ADAL" clId="{3B4D5F63-EA56-4616-8A78-0C43AB7049E7}" dt="2025-12-08T00:26:36.130" v="4020" actId="947"/>
          <ac:spMkLst>
            <pc:docMk/>
            <pc:sldMk cId="1304944652" sldId="644"/>
            <ac:spMk id="41" creationId="{C06E0BEB-A217-47DB-A2D4-AF40182F72D4}"/>
          </ac:spMkLst>
        </pc:spChg>
        <pc:spChg chg="mod">
          <ac:chgData name="Falcão Lacerda, Rafael" userId="40181ff7-4694-4c53-a944-7b7d63582359" providerId="ADAL" clId="{3B4D5F63-EA56-4616-8A78-0C43AB7049E7}" dt="2025-12-08T00:26:36.130" v="4018" actId="947"/>
          <ac:spMkLst>
            <pc:docMk/>
            <pc:sldMk cId="1304944652" sldId="644"/>
            <ac:spMk id="42" creationId="{455EDE1B-ACEA-48A9-9B64-3C7F6A4D5147}"/>
          </ac:spMkLst>
        </pc:spChg>
        <pc:spChg chg="mod">
          <ac:chgData name="Falcão Lacerda, Rafael" userId="40181ff7-4694-4c53-a944-7b7d63582359" providerId="ADAL" clId="{3B4D5F63-EA56-4616-8A78-0C43AB7049E7}" dt="2025-12-08T00:26:36.130" v="4016" actId="947"/>
          <ac:spMkLst>
            <pc:docMk/>
            <pc:sldMk cId="1304944652" sldId="644"/>
            <ac:spMk id="43" creationId="{C14830FD-EFA3-47BA-9FEB-A5645DFB2493}"/>
          </ac:spMkLst>
        </pc:spChg>
        <pc:spChg chg="mod">
          <ac:chgData name="Falcão Lacerda, Rafael" userId="40181ff7-4694-4c53-a944-7b7d63582359" providerId="ADAL" clId="{3B4D5F63-EA56-4616-8A78-0C43AB7049E7}" dt="2025-12-08T00:26:41.841" v="6329" actId="790"/>
          <ac:spMkLst>
            <pc:docMk/>
            <pc:sldMk cId="1304944652" sldId="644"/>
            <ac:spMk id="44" creationId="{DFB15903-75AC-4D1C-8AA7-4FAD11E856E0}"/>
          </ac:spMkLst>
        </pc:spChg>
        <pc:spChg chg="mod">
          <ac:chgData name="Falcão Lacerda, Rafael" userId="40181ff7-4694-4c53-a944-7b7d63582359" providerId="ADAL" clId="{3B4D5F63-EA56-4616-8A78-0C43AB7049E7}" dt="2025-12-08T00:26:36.126" v="4012" actId="947"/>
          <ac:spMkLst>
            <pc:docMk/>
            <pc:sldMk cId="1304944652" sldId="644"/>
            <ac:spMk id="45" creationId="{6951E097-6A32-4175-BB03-FC60D1D07A6E}"/>
          </ac:spMkLst>
        </pc:spChg>
        <pc:spChg chg="mod">
          <ac:chgData name="Falcão Lacerda, Rafael" userId="40181ff7-4694-4c53-a944-7b7d63582359" providerId="ADAL" clId="{3B4D5F63-EA56-4616-8A78-0C43AB7049E7}" dt="2025-12-08T00:26:36.098" v="3990" actId="947"/>
          <ac:spMkLst>
            <pc:docMk/>
            <pc:sldMk cId="1304944652" sldId="644"/>
            <ac:spMk id="46" creationId="{83C23D1F-32E2-4999-AE3D-DCB25B0CFD6E}"/>
          </ac:spMkLst>
        </pc:spChg>
        <pc:spChg chg="mod">
          <ac:chgData name="Falcão Lacerda, Rafael" userId="40181ff7-4694-4c53-a944-7b7d63582359" providerId="ADAL" clId="{3B4D5F63-EA56-4616-8A78-0C43AB7049E7}" dt="2025-12-08T00:26:36.114" v="4010" actId="947"/>
          <ac:spMkLst>
            <pc:docMk/>
            <pc:sldMk cId="1304944652" sldId="644"/>
            <ac:spMk id="48" creationId="{D8A868C8-8E8E-4C5E-A94F-55D68E268F3F}"/>
          </ac:spMkLst>
        </pc:spChg>
        <pc:spChg chg="add del mod modVis">
          <ac:chgData name="Falcão Lacerda, Rafael" userId="40181ff7-4694-4c53-a944-7b7d63582359" providerId="ADAL" clId="{3B4D5F63-EA56-4616-8A78-0C43AB7049E7}" dt="2025-12-08T00:26:52.319" v="10085"/>
          <ac:spMkLst>
            <pc:docMk/>
            <pc:sldMk cId="1304944652" sldId="644"/>
            <ac:spMk id="49" creationId="{D3251027-B94A-0EB4-8E78-1C7C604F75DD}"/>
          </ac:spMkLst>
        </pc:spChg>
        <pc:spChg chg="mod">
          <ac:chgData name="Falcão Lacerda, Rafael" userId="40181ff7-4694-4c53-a944-7b7d63582359" providerId="ADAL" clId="{3B4D5F63-EA56-4616-8A78-0C43AB7049E7}" dt="2025-12-08T00:26:36.114" v="4008" actId="947"/>
          <ac:spMkLst>
            <pc:docMk/>
            <pc:sldMk cId="1304944652" sldId="644"/>
            <ac:spMk id="53" creationId="{02AC10DC-2865-4AA7-A54F-9300AE5F8BB7}"/>
          </ac:spMkLst>
        </pc:spChg>
        <pc:spChg chg="mod">
          <ac:chgData name="Falcão Lacerda, Rafael" userId="40181ff7-4694-4c53-a944-7b7d63582359" providerId="ADAL" clId="{3B4D5F63-EA56-4616-8A78-0C43AB7049E7}" dt="2025-12-08T00:26:41.841" v="6329" actId="790"/>
          <ac:spMkLst>
            <pc:docMk/>
            <pc:sldMk cId="1304944652" sldId="644"/>
            <ac:spMk id="54" creationId="{AF266481-3179-4590-B37B-04754EA7697B}"/>
          </ac:spMkLst>
        </pc:spChg>
        <pc:spChg chg="mod">
          <ac:chgData name="Falcão Lacerda, Rafael" userId="40181ff7-4694-4c53-a944-7b7d63582359" providerId="ADAL" clId="{3B4D5F63-EA56-4616-8A78-0C43AB7049E7}" dt="2025-12-08T00:26:36.114" v="4004" actId="947"/>
          <ac:spMkLst>
            <pc:docMk/>
            <pc:sldMk cId="1304944652" sldId="644"/>
            <ac:spMk id="55" creationId="{075FEC39-18AE-463A-8F64-C1E748BD474C}"/>
          </ac:spMkLst>
        </pc:spChg>
        <pc:spChg chg="mod">
          <ac:chgData name="Falcão Lacerda, Rafael" userId="40181ff7-4694-4c53-a944-7b7d63582359" providerId="ADAL" clId="{3B4D5F63-EA56-4616-8A78-0C43AB7049E7}" dt="2025-12-08T00:26:36.114" v="4002" actId="947"/>
          <ac:spMkLst>
            <pc:docMk/>
            <pc:sldMk cId="1304944652" sldId="644"/>
            <ac:spMk id="56" creationId="{2CA5F31A-53B0-4B49-9681-66539C0C2835}"/>
          </ac:spMkLst>
        </pc:spChg>
        <pc:spChg chg="mod">
          <ac:chgData name="Falcão Lacerda, Rafael" userId="40181ff7-4694-4c53-a944-7b7d63582359" providerId="ADAL" clId="{3B4D5F63-EA56-4616-8A78-0C43AB7049E7}" dt="2025-12-08T00:26:36.114" v="4000" actId="947"/>
          <ac:spMkLst>
            <pc:docMk/>
            <pc:sldMk cId="1304944652" sldId="644"/>
            <ac:spMk id="57" creationId="{FA7148C4-6B9D-47F4-8BF3-75EC1A9F80A8}"/>
          </ac:spMkLst>
        </pc:spChg>
        <pc:spChg chg="mod">
          <ac:chgData name="Falcão Lacerda, Rafael" userId="40181ff7-4694-4c53-a944-7b7d63582359" providerId="ADAL" clId="{3B4D5F63-EA56-4616-8A78-0C43AB7049E7}" dt="2025-12-08T00:26:36.098" v="3998" actId="947"/>
          <ac:spMkLst>
            <pc:docMk/>
            <pc:sldMk cId="1304944652" sldId="644"/>
            <ac:spMk id="58" creationId="{84D1585F-F65D-4E0C-946E-D6FE193AD262}"/>
          </ac:spMkLst>
        </pc:spChg>
        <pc:spChg chg="mod">
          <ac:chgData name="Falcão Lacerda, Rafael" userId="40181ff7-4694-4c53-a944-7b7d63582359" providerId="ADAL" clId="{3B4D5F63-EA56-4616-8A78-0C43AB7049E7}" dt="2025-12-08T00:26:36.098" v="3996" actId="947"/>
          <ac:spMkLst>
            <pc:docMk/>
            <pc:sldMk cId="1304944652" sldId="644"/>
            <ac:spMk id="59" creationId="{CF2ADFEE-C683-4F89-871B-F6F30EC3286B}"/>
          </ac:spMkLst>
        </pc:spChg>
        <pc:spChg chg="mod">
          <ac:chgData name="Falcão Lacerda, Rafael" userId="40181ff7-4694-4c53-a944-7b7d63582359" providerId="ADAL" clId="{3B4D5F63-EA56-4616-8A78-0C43AB7049E7}" dt="2025-12-08T00:26:36.098" v="3994" actId="947"/>
          <ac:spMkLst>
            <pc:docMk/>
            <pc:sldMk cId="1304944652" sldId="644"/>
            <ac:spMk id="60" creationId="{B53EFBE0-0193-4CF5-B26E-0FAFF83E3736}"/>
          </ac:spMkLst>
        </pc:spChg>
        <pc:spChg chg="mod">
          <ac:chgData name="Falcão Lacerda, Rafael" userId="40181ff7-4694-4c53-a944-7b7d63582359" providerId="ADAL" clId="{3B4D5F63-EA56-4616-8A78-0C43AB7049E7}" dt="2025-12-08T00:26:41.841" v="6329" actId="790"/>
          <ac:spMkLst>
            <pc:docMk/>
            <pc:sldMk cId="1304944652" sldId="644"/>
            <ac:spMk id="61" creationId="{05C1F093-DE03-41D1-83D5-49501D516BE7}"/>
          </ac:spMkLst>
        </pc:spChg>
        <pc:spChg chg="mod">
          <ac:chgData name="Falcão Lacerda, Rafael" userId="40181ff7-4694-4c53-a944-7b7d63582359" providerId="ADAL" clId="{3B4D5F63-EA56-4616-8A78-0C43AB7049E7}" dt="2025-12-08T00:26:36.210" v="4092" actId="947"/>
          <ac:spMkLst>
            <pc:docMk/>
            <pc:sldMk cId="1304944652" sldId="644"/>
            <ac:spMk id="63" creationId="{9B912F34-9078-54E3-F990-D97EB4CC4910}"/>
          </ac:spMkLst>
        </pc:spChg>
        <pc:spChg chg="mod">
          <ac:chgData name="Falcão Lacerda, Rafael" userId="40181ff7-4694-4c53-a944-7b7d63582359" providerId="ADAL" clId="{3B4D5F63-EA56-4616-8A78-0C43AB7049E7}" dt="2025-12-08T00:26:36.210" v="4086" actId="947"/>
          <ac:spMkLst>
            <pc:docMk/>
            <pc:sldMk cId="1304944652" sldId="644"/>
            <ac:spMk id="64" creationId="{8C316125-1529-ACEE-C1B6-0972C1309A9E}"/>
          </ac:spMkLst>
        </pc:spChg>
        <pc:graphicFrameChg chg="modGraphic">
          <ac:chgData name="Falcão Lacerda, Rafael" userId="40181ff7-4694-4c53-a944-7b7d63582359" providerId="ADAL" clId="{3B4D5F63-EA56-4616-8A78-0C43AB7049E7}" dt="2025-12-08T00:26:36.225" v="4112" actId="947"/>
          <ac:graphicFrameMkLst>
            <pc:docMk/>
            <pc:sldMk cId="1304944652" sldId="644"/>
            <ac:graphicFrameMk id="6" creationId="{E198DBFA-D8D1-44DA-9F7D-A2A2F0E8C7AC}"/>
          </ac:graphicFrameMkLst>
        </pc:graphicFrameChg>
        <pc:graphicFrameChg chg="add mod ord modVis">
          <ac:chgData name="Falcão Lacerda, Rafael" userId="40181ff7-4694-4c53-a944-7b7d63582359" providerId="ADAL" clId="{3B4D5F63-EA56-4616-8A78-0C43AB7049E7}" dt="2025-12-08T00:26:52.373" v="10099"/>
          <ac:graphicFrameMkLst>
            <pc:docMk/>
            <pc:sldMk cId="1304944652" sldId="644"/>
            <ac:graphicFrameMk id="50" creationId="{F9F11A79-E084-49E7-7237-725D302D1FFA}"/>
          </ac:graphicFrameMkLst>
        </pc:graphicFrameChg>
      </pc:sldChg>
      <pc:sldChg chg="addSp delSp modSp mod modShow modNotes">
        <pc:chgData name="Falcão Lacerda, Rafael" userId="40181ff7-4694-4c53-a944-7b7d63582359" providerId="ADAL" clId="{3B4D5F63-EA56-4616-8A78-0C43AB7049E7}" dt="2025-12-08T17:18:13.731" v="34035" actId="729"/>
        <pc:sldMkLst>
          <pc:docMk/>
          <pc:sldMk cId="1675141164" sldId="646"/>
        </pc:sldMkLst>
        <pc:spChg chg="add del mod modVis">
          <ac:chgData name="Falcão Lacerda, Rafael" userId="40181ff7-4694-4c53-a944-7b7d63582359" providerId="ADAL" clId="{3B4D5F63-EA56-4616-8A78-0C43AB7049E7}" dt="2025-12-08T00:26:52.378" v="10101"/>
          <ac:spMkLst>
            <pc:docMk/>
            <pc:sldMk cId="1675141164" sldId="646"/>
            <ac:spMk id="3" creationId="{73AC5053-F962-1EED-8C6F-672B9630ED3F}"/>
          </ac:spMkLst>
        </pc:spChg>
        <pc:spChg chg="mod">
          <ac:chgData name="Falcão Lacerda, Rafael" userId="40181ff7-4694-4c53-a944-7b7d63582359" providerId="ADAL" clId="{3B4D5F63-EA56-4616-8A78-0C43AB7049E7}" dt="2025-12-08T00:26:45.637" v="7557" actId="948"/>
          <ac:spMkLst>
            <pc:docMk/>
            <pc:sldMk cId="1675141164" sldId="646"/>
            <ac:spMk id="4" creationId="{430B4296-9745-48A9-909B-7BED971230FC}"/>
          </ac:spMkLst>
        </pc:spChg>
        <pc:spChg chg="mod">
          <ac:chgData name="Falcão Lacerda, Rafael" userId="40181ff7-4694-4c53-a944-7b7d63582359" providerId="ADAL" clId="{3B4D5F63-EA56-4616-8A78-0C43AB7049E7}" dt="2025-12-08T00:26:41.841" v="6329" actId="790"/>
          <ac:spMkLst>
            <pc:docMk/>
            <pc:sldMk cId="1675141164" sldId="646"/>
            <ac:spMk id="6" creationId="{025735E3-E820-4E59-9353-A85041B7C7E3}"/>
          </ac:spMkLst>
        </pc:spChg>
        <pc:spChg chg="mod">
          <ac:chgData name="Falcão Lacerda, Rafael" userId="40181ff7-4694-4c53-a944-7b7d63582359" providerId="ADAL" clId="{3B4D5F63-EA56-4616-8A78-0C43AB7049E7}" dt="2025-12-08T00:26:36.320" v="4176" actId="947"/>
          <ac:spMkLst>
            <pc:docMk/>
            <pc:sldMk cId="1675141164" sldId="646"/>
            <ac:spMk id="7" creationId="{C623B92B-E917-411C-997A-C2B3031E8327}"/>
          </ac:spMkLst>
        </pc:spChg>
        <pc:spChg chg="mod">
          <ac:chgData name="Falcão Lacerda, Rafael" userId="40181ff7-4694-4c53-a944-7b7d63582359" providerId="ADAL" clId="{3B4D5F63-EA56-4616-8A78-0C43AB7049E7}" dt="2025-12-08T00:26:36.320" v="4174" actId="947"/>
          <ac:spMkLst>
            <pc:docMk/>
            <pc:sldMk cId="1675141164" sldId="646"/>
            <ac:spMk id="8" creationId="{C6CCF3D8-22B0-475E-A4C5-6E3A255C9E5E}"/>
          </ac:spMkLst>
        </pc:spChg>
        <pc:spChg chg="mod">
          <ac:chgData name="Falcão Lacerda, Rafael" userId="40181ff7-4694-4c53-a944-7b7d63582359" providerId="ADAL" clId="{3B4D5F63-EA56-4616-8A78-0C43AB7049E7}" dt="2025-12-08T00:26:36.304" v="4166" actId="947"/>
          <ac:spMkLst>
            <pc:docMk/>
            <pc:sldMk cId="1675141164" sldId="646"/>
            <ac:spMk id="9" creationId="{AF68CEC8-71DE-445B-8831-BCDC6106B313}"/>
          </ac:spMkLst>
        </pc:spChg>
        <pc:spChg chg="mod">
          <ac:chgData name="Falcão Lacerda, Rafael" userId="40181ff7-4694-4c53-a944-7b7d63582359" providerId="ADAL" clId="{3B4D5F63-EA56-4616-8A78-0C43AB7049E7}" dt="2025-12-08T00:26:36.304" v="4170" actId="947"/>
          <ac:spMkLst>
            <pc:docMk/>
            <pc:sldMk cId="1675141164" sldId="646"/>
            <ac:spMk id="10" creationId="{ABF2F071-E386-4EC5-AF22-D56F84681A60}"/>
          </ac:spMkLst>
        </pc:spChg>
        <pc:spChg chg="mod">
          <ac:chgData name="Falcão Lacerda, Rafael" userId="40181ff7-4694-4c53-a944-7b7d63582359" providerId="ADAL" clId="{3B4D5F63-EA56-4616-8A78-0C43AB7049E7}" dt="2025-12-08T00:26:36.304" v="4168" actId="947"/>
          <ac:spMkLst>
            <pc:docMk/>
            <pc:sldMk cId="1675141164" sldId="646"/>
            <ac:spMk id="11" creationId="{B0DD6764-933A-4167-B74D-CDD3669A79BD}"/>
          </ac:spMkLst>
        </pc:spChg>
        <pc:spChg chg="mod">
          <ac:chgData name="Falcão Lacerda, Rafael" userId="40181ff7-4694-4c53-a944-7b7d63582359" providerId="ADAL" clId="{3B4D5F63-EA56-4616-8A78-0C43AB7049E7}" dt="2025-12-08T00:26:41.841" v="6329" actId="790"/>
          <ac:spMkLst>
            <pc:docMk/>
            <pc:sldMk cId="1675141164" sldId="646"/>
            <ac:spMk id="13" creationId="{13F13656-5C48-420D-B2A7-72A270F2E34A}"/>
          </ac:spMkLst>
        </pc:spChg>
        <pc:spChg chg="mod">
          <ac:chgData name="Falcão Lacerda, Rafael" userId="40181ff7-4694-4c53-a944-7b7d63582359" providerId="ADAL" clId="{3B4D5F63-EA56-4616-8A78-0C43AB7049E7}" dt="2025-12-08T00:26:36.304" v="4162" actId="947"/>
          <ac:spMkLst>
            <pc:docMk/>
            <pc:sldMk cId="1675141164" sldId="646"/>
            <ac:spMk id="14" creationId="{5C1A1DBC-6B6B-4595-8848-8DDE27F0A985}"/>
          </ac:spMkLst>
        </pc:spChg>
        <pc:spChg chg="mod">
          <ac:chgData name="Falcão Lacerda, Rafael" userId="40181ff7-4694-4c53-a944-7b7d63582359" providerId="ADAL" clId="{3B4D5F63-EA56-4616-8A78-0C43AB7049E7}" dt="2025-12-08T00:26:41.841" v="6329" actId="790"/>
          <ac:spMkLst>
            <pc:docMk/>
            <pc:sldMk cId="1675141164" sldId="646"/>
            <ac:spMk id="15" creationId="{148A29FA-4411-4E2C-B5E0-FA14FC2C0889}"/>
          </ac:spMkLst>
        </pc:spChg>
        <pc:spChg chg="mod">
          <ac:chgData name="Falcão Lacerda, Rafael" userId="40181ff7-4694-4c53-a944-7b7d63582359" providerId="ADAL" clId="{3B4D5F63-EA56-4616-8A78-0C43AB7049E7}" dt="2025-12-08T00:26:36.292" v="4158" actId="947"/>
          <ac:spMkLst>
            <pc:docMk/>
            <pc:sldMk cId="1675141164" sldId="646"/>
            <ac:spMk id="16" creationId="{C216786B-7679-4E6A-9397-3FAD5DB2B49F}"/>
          </ac:spMkLst>
        </pc:spChg>
        <pc:spChg chg="mod">
          <ac:chgData name="Falcão Lacerda, Rafael" userId="40181ff7-4694-4c53-a944-7b7d63582359" providerId="ADAL" clId="{3B4D5F63-EA56-4616-8A78-0C43AB7049E7}" dt="2025-12-08T00:26:41.841" v="6329" actId="790"/>
          <ac:spMkLst>
            <pc:docMk/>
            <pc:sldMk cId="1675141164" sldId="646"/>
            <ac:spMk id="17" creationId="{FF24009F-1317-41EB-B468-5793091EEB5F}"/>
          </ac:spMkLst>
        </pc:spChg>
        <pc:spChg chg="mod">
          <ac:chgData name="Falcão Lacerda, Rafael" userId="40181ff7-4694-4c53-a944-7b7d63582359" providerId="ADAL" clId="{3B4D5F63-EA56-4616-8A78-0C43AB7049E7}" dt="2025-12-08T00:26:36.289" v="4150" actId="947"/>
          <ac:spMkLst>
            <pc:docMk/>
            <pc:sldMk cId="1675141164" sldId="646"/>
            <ac:spMk id="18" creationId="{FE4A006C-B405-41EC-ADEB-7283EC969318}"/>
          </ac:spMkLst>
        </pc:spChg>
        <pc:spChg chg="mod">
          <ac:chgData name="Falcão Lacerda, Rafael" userId="40181ff7-4694-4c53-a944-7b7d63582359" providerId="ADAL" clId="{3B4D5F63-EA56-4616-8A78-0C43AB7049E7}" dt="2025-12-08T00:26:41.841" v="6329" actId="790"/>
          <ac:spMkLst>
            <pc:docMk/>
            <pc:sldMk cId="1675141164" sldId="646"/>
            <ac:spMk id="19" creationId="{73CB86F9-DD90-455F-BC74-5DE94EDDD66F}"/>
          </ac:spMkLst>
        </pc:spChg>
        <pc:spChg chg="mod">
          <ac:chgData name="Falcão Lacerda, Rafael" userId="40181ff7-4694-4c53-a944-7b7d63582359" providerId="ADAL" clId="{3B4D5F63-EA56-4616-8A78-0C43AB7049E7}" dt="2025-12-08T00:26:36.272" v="4148" actId="947"/>
          <ac:spMkLst>
            <pc:docMk/>
            <pc:sldMk cId="1675141164" sldId="646"/>
            <ac:spMk id="20" creationId="{09F0E292-24A8-493C-B3D2-006DF0948D32}"/>
          </ac:spMkLst>
        </pc:spChg>
        <pc:spChg chg="mod">
          <ac:chgData name="Falcão Lacerda, Rafael" userId="40181ff7-4694-4c53-a944-7b7d63582359" providerId="ADAL" clId="{3B4D5F63-EA56-4616-8A78-0C43AB7049E7}" dt="2025-12-08T00:26:36.272" v="4146" actId="947"/>
          <ac:spMkLst>
            <pc:docMk/>
            <pc:sldMk cId="1675141164" sldId="646"/>
            <ac:spMk id="21" creationId="{0EBFC9E9-927F-46D7-AB3A-7D5E77FD6C68}"/>
          </ac:spMkLst>
        </pc:spChg>
        <pc:spChg chg="mod">
          <ac:chgData name="Falcão Lacerda, Rafael" userId="40181ff7-4694-4c53-a944-7b7d63582359" providerId="ADAL" clId="{3B4D5F63-EA56-4616-8A78-0C43AB7049E7}" dt="2025-12-08T00:26:41.841" v="6329" actId="790"/>
          <ac:spMkLst>
            <pc:docMk/>
            <pc:sldMk cId="1675141164" sldId="646"/>
            <ac:spMk id="22" creationId="{AE3DADED-90B1-432C-BB28-DC24C40B88C5}"/>
          </ac:spMkLst>
        </pc:spChg>
        <pc:spChg chg="mod">
          <ac:chgData name="Falcão Lacerda, Rafael" userId="40181ff7-4694-4c53-a944-7b7d63582359" providerId="ADAL" clId="{3B4D5F63-EA56-4616-8A78-0C43AB7049E7}" dt="2025-12-08T00:26:36.272" v="4142" actId="947"/>
          <ac:spMkLst>
            <pc:docMk/>
            <pc:sldMk cId="1675141164" sldId="646"/>
            <ac:spMk id="23" creationId="{374B338B-DDDF-41C1-9AC0-DCBF039DFD49}"/>
          </ac:spMkLst>
        </pc:spChg>
        <pc:spChg chg="mod">
          <ac:chgData name="Falcão Lacerda, Rafael" userId="40181ff7-4694-4c53-a944-7b7d63582359" providerId="ADAL" clId="{3B4D5F63-EA56-4616-8A78-0C43AB7049E7}" dt="2025-12-08T00:26:36.272" v="4140" actId="947"/>
          <ac:spMkLst>
            <pc:docMk/>
            <pc:sldMk cId="1675141164" sldId="646"/>
            <ac:spMk id="24" creationId="{71C8BC1B-4611-445A-A83B-E4D25A24D038}"/>
          </ac:spMkLst>
        </pc:spChg>
        <pc:spChg chg="mod">
          <ac:chgData name="Falcão Lacerda, Rafael" userId="40181ff7-4694-4c53-a944-7b7d63582359" providerId="ADAL" clId="{3B4D5F63-EA56-4616-8A78-0C43AB7049E7}" dt="2025-12-08T00:26:41.841" v="6329" actId="790"/>
          <ac:spMkLst>
            <pc:docMk/>
            <pc:sldMk cId="1675141164" sldId="646"/>
            <ac:spMk id="25" creationId="{3CD7E014-BD60-436A-9778-A145F2E56484}"/>
          </ac:spMkLst>
        </pc:spChg>
        <pc:spChg chg="mod">
          <ac:chgData name="Falcão Lacerda, Rafael" userId="40181ff7-4694-4c53-a944-7b7d63582359" providerId="ADAL" clId="{3B4D5F63-EA56-4616-8A78-0C43AB7049E7}" dt="2025-12-08T00:26:41.841" v="6329" actId="790"/>
          <ac:spMkLst>
            <pc:docMk/>
            <pc:sldMk cId="1675141164" sldId="646"/>
            <ac:spMk id="26" creationId="{565D8728-F841-48C8-8F82-05486282FD18}"/>
          </ac:spMkLst>
        </pc:spChg>
        <pc:spChg chg="mod">
          <ac:chgData name="Falcão Lacerda, Rafael" userId="40181ff7-4694-4c53-a944-7b7d63582359" providerId="ADAL" clId="{3B4D5F63-EA56-4616-8A78-0C43AB7049E7}" dt="2025-12-08T00:26:36.257" v="4134" actId="947"/>
          <ac:spMkLst>
            <pc:docMk/>
            <pc:sldMk cId="1675141164" sldId="646"/>
            <ac:spMk id="27" creationId="{2A622DB6-20F6-4753-9664-E69AD9F7609A}"/>
          </ac:spMkLst>
        </pc:spChg>
        <pc:spChg chg="mod">
          <ac:chgData name="Falcão Lacerda, Rafael" userId="40181ff7-4694-4c53-a944-7b7d63582359" providerId="ADAL" clId="{3B4D5F63-EA56-4616-8A78-0C43AB7049E7}" dt="2025-12-08T00:26:36.257" v="4132" actId="947"/>
          <ac:spMkLst>
            <pc:docMk/>
            <pc:sldMk cId="1675141164" sldId="646"/>
            <ac:spMk id="28" creationId="{76C8542C-2B09-4D2C-AE4C-21DF25B98445}"/>
          </ac:spMkLst>
        </pc:spChg>
        <pc:spChg chg="mod">
          <ac:chgData name="Falcão Lacerda, Rafael" userId="40181ff7-4694-4c53-a944-7b7d63582359" providerId="ADAL" clId="{3B4D5F63-EA56-4616-8A78-0C43AB7049E7}" dt="2025-12-08T00:26:36.257" v="4130" actId="947"/>
          <ac:spMkLst>
            <pc:docMk/>
            <pc:sldMk cId="1675141164" sldId="646"/>
            <ac:spMk id="29" creationId="{1AEAE969-2D49-42C6-9769-7507A1719C49}"/>
          </ac:spMkLst>
        </pc:spChg>
        <pc:spChg chg="mod">
          <ac:chgData name="Falcão Lacerda, Rafael" userId="40181ff7-4694-4c53-a944-7b7d63582359" providerId="ADAL" clId="{3B4D5F63-EA56-4616-8A78-0C43AB7049E7}" dt="2025-12-08T00:26:41.841" v="6329" actId="790"/>
          <ac:spMkLst>
            <pc:docMk/>
            <pc:sldMk cId="1675141164" sldId="646"/>
            <ac:spMk id="30" creationId="{89793218-BF1B-4342-A3D3-6100923E0D8C}"/>
          </ac:spMkLst>
        </pc:spChg>
        <pc:spChg chg="mod">
          <ac:chgData name="Falcão Lacerda, Rafael" userId="40181ff7-4694-4c53-a944-7b7d63582359" providerId="ADAL" clId="{3B4D5F63-EA56-4616-8A78-0C43AB7049E7}" dt="2025-12-08T00:26:36.242" v="4126" actId="947"/>
          <ac:spMkLst>
            <pc:docMk/>
            <pc:sldMk cId="1675141164" sldId="646"/>
            <ac:spMk id="31" creationId="{F37CE22A-3A9A-482D-8C40-2CBC46FFA554}"/>
          </ac:spMkLst>
        </pc:spChg>
        <pc:spChg chg="mod">
          <ac:chgData name="Falcão Lacerda, Rafael" userId="40181ff7-4694-4c53-a944-7b7d63582359" providerId="ADAL" clId="{3B4D5F63-EA56-4616-8A78-0C43AB7049E7}" dt="2025-12-08T00:26:36.242" v="4124" actId="947"/>
          <ac:spMkLst>
            <pc:docMk/>
            <pc:sldMk cId="1675141164" sldId="646"/>
            <ac:spMk id="32" creationId="{D864CDD0-CC15-4DC4-B632-14F2158B494A}"/>
          </ac:spMkLst>
        </pc:spChg>
        <pc:spChg chg="mod">
          <ac:chgData name="Falcão Lacerda, Rafael" userId="40181ff7-4694-4c53-a944-7b7d63582359" providerId="ADAL" clId="{3B4D5F63-EA56-4616-8A78-0C43AB7049E7}" dt="2025-12-08T00:26:36.242" v="4122" actId="947"/>
          <ac:spMkLst>
            <pc:docMk/>
            <pc:sldMk cId="1675141164" sldId="646"/>
            <ac:spMk id="33" creationId="{58D4C505-C6C1-46F4-8290-E1A67703A874}"/>
          </ac:spMkLst>
        </pc:spChg>
        <pc:spChg chg="mod">
          <ac:chgData name="Falcão Lacerda, Rafael" userId="40181ff7-4694-4c53-a944-7b7d63582359" providerId="ADAL" clId="{3B4D5F63-EA56-4616-8A78-0C43AB7049E7}" dt="2025-12-08T00:26:36.242" v="4120" actId="947"/>
          <ac:spMkLst>
            <pc:docMk/>
            <pc:sldMk cId="1675141164" sldId="646"/>
            <ac:spMk id="34" creationId="{77D4554D-D296-49F1-A531-71CB88605447}"/>
          </ac:spMkLst>
        </pc:spChg>
        <pc:spChg chg="mod">
          <ac:chgData name="Falcão Lacerda, Rafael" userId="40181ff7-4694-4c53-a944-7b7d63582359" providerId="ADAL" clId="{3B4D5F63-EA56-4616-8A78-0C43AB7049E7}" dt="2025-12-08T00:26:36.242" v="4118" actId="947"/>
          <ac:spMkLst>
            <pc:docMk/>
            <pc:sldMk cId="1675141164" sldId="646"/>
            <ac:spMk id="35" creationId="{209B231E-9AB9-4BFF-97F1-7E82BB29F716}"/>
          </ac:spMkLst>
        </pc:spChg>
        <pc:spChg chg="mod">
          <ac:chgData name="Falcão Lacerda, Rafael" userId="40181ff7-4694-4c53-a944-7b7d63582359" providerId="ADAL" clId="{3B4D5F63-EA56-4616-8A78-0C43AB7049E7}" dt="2025-12-08T00:26:41.841" v="6329" actId="790"/>
          <ac:spMkLst>
            <pc:docMk/>
            <pc:sldMk cId="1675141164" sldId="646"/>
            <ac:spMk id="36" creationId="{7A12E4CD-1D92-430D-B3AD-5D6B8F65B119}"/>
          </ac:spMkLst>
        </pc:spChg>
        <pc:spChg chg="mod">
          <ac:chgData name="Falcão Lacerda, Rafael" userId="40181ff7-4694-4c53-a944-7b7d63582359" providerId="ADAL" clId="{3B4D5F63-EA56-4616-8A78-0C43AB7049E7}" dt="2025-12-08T00:26:36.320" v="4180" actId="947"/>
          <ac:spMkLst>
            <pc:docMk/>
            <pc:sldMk cId="1675141164" sldId="646"/>
            <ac:spMk id="37" creationId="{2958E4B1-CED4-4B28-A69F-9DB8627AF061}"/>
          </ac:spMkLst>
        </pc:spChg>
        <pc:spChg chg="mod">
          <ac:chgData name="Falcão Lacerda, Rafael" userId="40181ff7-4694-4c53-a944-7b7d63582359" providerId="ADAL" clId="{3B4D5F63-EA56-4616-8A78-0C43AB7049E7}" dt="2025-12-08T00:26:36.304" v="4172" actId="947"/>
          <ac:spMkLst>
            <pc:docMk/>
            <pc:sldMk cId="1675141164" sldId="646"/>
            <ac:spMk id="38" creationId="{54AF5CBB-B318-400E-A0A8-382E39316026}"/>
          </ac:spMkLst>
        </pc:spChg>
        <pc:spChg chg="mod">
          <ac:chgData name="Falcão Lacerda, Rafael" userId="40181ff7-4694-4c53-a944-7b7d63582359" providerId="ADAL" clId="{3B4D5F63-EA56-4616-8A78-0C43AB7049E7}" dt="2025-12-08T00:26:36.292" v="4156" actId="947"/>
          <ac:spMkLst>
            <pc:docMk/>
            <pc:sldMk cId="1675141164" sldId="646"/>
            <ac:spMk id="39" creationId="{3B510D25-DB9D-4CA5-BF18-840292626875}"/>
          </ac:spMkLst>
        </pc:spChg>
        <pc:graphicFrameChg chg="add mod ord modVis">
          <ac:chgData name="Falcão Lacerda, Rafael" userId="40181ff7-4694-4c53-a944-7b7d63582359" providerId="ADAL" clId="{3B4D5F63-EA56-4616-8A78-0C43AB7049E7}" dt="2025-12-08T00:26:52.425" v="10115"/>
          <ac:graphicFrameMkLst>
            <pc:docMk/>
            <pc:sldMk cId="1675141164" sldId="646"/>
            <ac:graphicFrameMk id="5" creationId="{BAC580EE-D24D-ABD5-556D-0B64DE7A80DD}"/>
          </ac:graphicFrameMkLst>
        </pc:graphicFrameChg>
      </pc:sldChg>
      <pc:sldChg chg="addSp delSp modSp mod modShow modNotes">
        <pc:chgData name="Falcão Lacerda, Rafael" userId="40181ff7-4694-4c53-a944-7b7d63582359" providerId="ADAL" clId="{3B4D5F63-EA56-4616-8A78-0C43AB7049E7}" dt="2025-12-08T17:18:13.731" v="34035" actId="729"/>
        <pc:sldMkLst>
          <pc:docMk/>
          <pc:sldMk cId="2394862934" sldId="678"/>
        </pc:sldMkLst>
        <pc:spChg chg="mod">
          <ac:chgData name="Falcão Lacerda, Rafael" userId="40181ff7-4694-4c53-a944-7b7d63582359" providerId="ADAL" clId="{3B4D5F63-EA56-4616-8A78-0C43AB7049E7}" dt="2025-12-08T00:26:45.668" v="7577" actId="948"/>
          <ac:spMkLst>
            <pc:docMk/>
            <pc:sldMk cId="2394862934" sldId="678"/>
            <ac:spMk id="2" creationId="{4A56D9CB-5F67-45AE-8FBF-00D78E537DAA}"/>
          </ac:spMkLst>
        </pc:spChg>
        <pc:spChg chg="mod">
          <ac:chgData name="Falcão Lacerda, Rafael" userId="40181ff7-4694-4c53-a944-7b7d63582359" providerId="ADAL" clId="{3B4D5F63-EA56-4616-8A78-0C43AB7049E7}" dt="2025-12-08T00:26:36.512" v="4318" actId="947"/>
          <ac:spMkLst>
            <pc:docMk/>
            <pc:sldMk cId="2394862934" sldId="678"/>
            <ac:spMk id="5" creationId="{5E1ADCD3-41D8-4570-84D7-E188D42273B2}"/>
          </ac:spMkLst>
        </pc:spChg>
        <pc:spChg chg="mod">
          <ac:chgData name="Falcão Lacerda, Rafael" userId="40181ff7-4694-4c53-a944-7b7d63582359" providerId="ADAL" clId="{3B4D5F63-EA56-4616-8A78-0C43AB7049E7}" dt="2025-12-08T00:26:36.512" v="4316" actId="947"/>
          <ac:spMkLst>
            <pc:docMk/>
            <pc:sldMk cId="2394862934" sldId="678"/>
            <ac:spMk id="6" creationId="{F509ED7C-E2F8-4BE5-99EE-42BE07599347}"/>
          </ac:spMkLst>
        </pc:spChg>
        <pc:spChg chg="add del mod modVis">
          <ac:chgData name="Falcão Lacerda, Rafael" userId="40181ff7-4694-4c53-a944-7b7d63582359" providerId="ADAL" clId="{3B4D5F63-EA56-4616-8A78-0C43AB7049E7}" dt="2025-12-08T00:26:52.429" v="10117"/>
          <ac:spMkLst>
            <pc:docMk/>
            <pc:sldMk cId="2394862934" sldId="678"/>
            <ac:spMk id="7" creationId="{6C86F406-AAB4-F79A-C7FE-D787A6711508}"/>
          </ac:spMkLst>
        </pc:spChg>
        <pc:spChg chg="mod">
          <ac:chgData name="Falcão Lacerda, Rafael" userId="40181ff7-4694-4c53-a944-7b7d63582359" providerId="ADAL" clId="{3B4D5F63-EA56-4616-8A78-0C43AB7049E7}" dt="2025-12-08T00:26:36.376" v="4208" actId="947"/>
          <ac:spMkLst>
            <pc:docMk/>
            <pc:sldMk cId="2394862934" sldId="678"/>
            <ac:spMk id="8" creationId="{A81C6A4E-82D4-496A-B3AB-C81F8C5644C0}"/>
          </ac:spMkLst>
        </pc:spChg>
        <pc:spChg chg="mod">
          <ac:chgData name="Falcão Lacerda, Rafael" userId="40181ff7-4694-4c53-a944-7b7d63582359" providerId="ADAL" clId="{3B4D5F63-EA56-4616-8A78-0C43AB7049E7}" dt="2025-12-08T00:26:36.367" v="4206" actId="947"/>
          <ac:spMkLst>
            <pc:docMk/>
            <pc:sldMk cId="2394862934" sldId="678"/>
            <ac:spMk id="9" creationId="{51EA9E0E-959E-4FFD-8B94-4AE4EF1B0CE6}"/>
          </ac:spMkLst>
        </pc:spChg>
        <pc:spChg chg="mod">
          <ac:chgData name="Falcão Lacerda, Rafael" userId="40181ff7-4694-4c53-a944-7b7d63582359" providerId="ADAL" clId="{3B4D5F63-EA56-4616-8A78-0C43AB7049E7}" dt="2025-12-08T00:26:36.542" v="4344" actId="947"/>
          <ac:spMkLst>
            <pc:docMk/>
            <pc:sldMk cId="2394862934" sldId="678"/>
            <ac:spMk id="11" creationId="{446BFC38-EADD-421E-BBBB-982094274538}"/>
          </ac:spMkLst>
        </pc:spChg>
        <pc:spChg chg="mod">
          <ac:chgData name="Falcão Lacerda, Rafael" userId="40181ff7-4694-4c53-a944-7b7d63582359" providerId="ADAL" clId="{3B4D5F63-EA56-4616-8A78-0C43AB7049E7}" dt="2025-12-08T00:26:41.841" v="6329" actId="790"/>
          <ac:spMkLst>
            <pc:docMk/>
            <pc:sldMk cId="2394862934" sldId="678"/>
            <ac:spMk id="12" creationId="{C9F293A2-4622-4970-9C0F-91AF88DAFB47}"/>
          </ac:spMkLst>
        </pc:spChg>
        <pc:spChg chg="mod">
          <ac:chgData name="Falcão Lacerda, Rafael" userId="40181ff7-4694-4c53-a944-7b7d63582359" providerId="ADAL" clId="{3B4D5F63-EA56-4616-8A78-0C43AB7049E7}" dt="2025-12-08T00:26:36.400" v="4234" actId="947"/>
          <ac:spMkLst>
            <pc:docMk/>
            <pc:sldMk cId="2394862934" sldId="678"/>
            <ac:spMk id="14" creationId="{2CDE9B77-768E-4CAD-BB7A-8EBB44823021}"/>
          </ac:spMkLst>
        </pc:spChg>
        <pc:spChg chg="mod">
          <ac:chgData name="Falcão Lacerda, Rafael" userId="40181ff7-4694-4c53-a944-7b7d63582359" providerId="ADAL" clId="{3B4D5F63-EA56-4616-8A78-0C43AB7049E7}" dt="2025-12-08T00:26:36.400" v="4232" actId="947"/>
          <ac:spMkLst>
            <pc:docMk/>
            <pc:sldMk cId="2394862934" sldId="678"/>
            <ac:spMk id="15" creationId="{B4470BE9-8FE2-4384-AA9E-D36EBBCABDB4}"/>
          </ac:spMkLst>
        </pc:spChg>
        <pc:spChg chg="mod">
          <ac:chgData name="Falcão Lacerda, Rafael" userId="40181ff7-4694-4c53-a944-7b7d63582359" providerId="ADAL" clId="{3B4D5F63-EA56-4616-8A78-0C43AB7049E7}" dt="2025-12-08T00:26:36.557" v="4368" actId="947"/>
          <ac:spMkLst>
            <pc:docMk/>
            <pc:sldMk cId="2394862934" sldId="678"/>
            <ac:spMk id="17" creationId="{BB86CF0E-0711-4E0E-ACBE-7B12935F5B71}"/>
          </ac:spMkLst>
        </pc:spChg>
        <pc:spChg chg="mod">
          <ac:chgData name="Falcão Lacerda, Rafael" userId="40181ff7-4694-4c53-a944-7b7d63582359" providerId="ADAL" clId="{3B4D5F63-EA56-4616-8A78-0C43AB7049E7}" dt="2025-12-08T00:26:36.573" v="4370" actId="947"/>
          <ac:spMkLst>
            <pc:docMk/>
            <pc:sldMk cId="2394862934" sldId="678"/>
            <ac:spMk id="18" creationId="{A0A9745E-FCEE-4766-8F43-C13CEB468C99}"/>
          </ac:spMkLst>
        </pc:spChg>
        <pc:spChg chg="mod">
          <ac:chgData name="Falcão Lacerda, Rafael" userId="40181ff7-4694-4c53-a944-7b7d63582359" providerId="ADAL" clId="{3B4D5F63-EA56-4616-8A78-0C43AB7049E7}" dt="2025-12-08T00:26:36.446" v="4260" actId="947"/>
          <ac:spMkLst>
            <pc:docMk/>
            <pc:sldMk cId="2394862934" sldId="678"/>
            <ac:spMk id="20" creationId="{BC62A930-C249-4B3F-A3CC-3FBD9FAF0DB7}"/>
          </ac:spMkLst>
        </pc:spChg>
        <pc:spChg chg="mod">
          <ac:chgData name="Falcão Lacerda, Rafael" userId="40181ff7-4694-4c53-a944-7b7d63582359" providerId="ADAL" clId="{3B4D5F63-EA56-4616-8A78-0C43AB7049E7}" dt="2025-12-08T00:26:36.431" v="4258" actId="947"/>
          <ac:spMkLst>
            <pc:docMk/>
            <pc:sldMk cId="2394862934" sldId="678"/>
            <ac:spMk id="21" creationId="{4C49012F-8054-414F-9888-2A2DFCFD714C}"/>
          </ac:spMkLst>
        </pc:spChg>
        <pc:spChg chg="mod">
          <ac:chgData name="Falcão Lacerda, Rafael" userId="40181ff7-4694-4c53-a944-7b7d63582359" providerId="ADAL" clId="{3B4D5F63-EA56-4616-8A78-0C43AB7049E7}" dt="2025-12-08T00:26:36.592" v="4396" actId="947"/>
          <ac:spMkLst>
            <pc:docMk/>
            <pc:sldMk cId="2394862934" sldId="678"/>
            <ac:spMk id="23" creationId="{1222E0EE-2FD2-4C6A-9326-FDF09A940984}"/>
          </ac:spMkLst>
        </pc:spChg>
        <pc:spChg chg="mod">
          <ac:chgData name="Falcão Lacerda, Rafael" userId="40181ff7-4694-4c53-a944-7b7d63582359" providerId="ADAL" clId="{3B4D5F63-EA56-4616-8A78-0C43AB7049E7}" dt="2025-12-08T00:26:36.592" v="4394" actId="947"/>
          <ac:spMkLst>
            <pc:docMk/>
            <pc:sldMk cId="2394862934" sldId="678"/>
            <ac:spMk id="24" creationId="{1C10B9D7-1346-44C0-B198-1A81C3EEA0B9}"/>
          </ac:spMkLst>
        </pc:spChg>
        <pc:spChg chg="mod">
          <ac:chgData name="Falcão Lacerda, Rafael" userId="40181ff7-4694-4c53-a944-7b7d63582359" providerId="ADAL" clId="{3B4D5F63-EA56-4616-8A78-0C43AB7049E7}" dt="2025-12-08T00:26:41.841" v="6329" actId="790"/>
          <ac:spMkLst>
            <pc:docMk/>
            <pc:sldMk cId="2394862934" sldId="678"/>
            <ac:spMk id="26" creationId="{A99EDEF2-5924-493D-97B3-8B7BCB7660B2}"/>
          </ac:spMkLst>
        </pc:spChg>
        <pc:spChg chg="mod">
          <ac:chgData name="Falcão Lacerda, Rafael" userId="40181ff7-4694-4c53-a944-7b7d63582359" providerId="ADAL" clId="{3B4D5F63-EA56-4616-8A78-0C43AB7049E7}" dt="2025-12-08T00:26:36.477" v="4284" actId="947"/>
          <ac:spMkLst>
            <pc:docMk/>
            <pc:sldMk cId="2394862934" sldId="678"/>
            <ac:spMk id="27" creationId="{B468771C-4D9B-49DB-B0F7-4CA39EF3B8AB}"/>
          </ac:spMkLst>
        </pc:spChg>
        <pc:spChg chg="mod">
          <ac:chgData name="Falcão Lacerda, Rafael" userId="40181ff7-4694-4c53-a944-7b7d63582359" providerId="ADAL" clId="{3B4D5F63-EA56-4616-8A78-0C43AB7049E7}" dt="2025-12-08T00:26:36.605" v="4402" actId="947"/>
          <ac:spMkLst>
            <pc:docMk/>
            <pc:sldMk cId="2394862934" sldId="678"/>
            <ac:spMk id="29" creationId="{51469D7F-96D9-4C74-B2EA-088BAD65F295}"/>
          </ac:spMkLst>
        </pc:spChg>
        <pc:spChg chg="mod">
          <ac:chgData name="Falcão Lacerda, Rafael" userId="40181ff7-4694-4c53-a944-7b7d63582359" providerId="ADAL" clId="{3B4D5F63-EA56-4616-8A78-0C43AB7049E7}" dt="2025-12-08T00:26:36.605" v="4400" actId="947"/>
          <ac:spMkLst>
            <pc:docMk/>
            <pc:sldMk cId="2394862934" sldId="678"/>
            <ac:spMk id="31" creationId="{3CD43278-CBF6-4FD4-BBBC-0D6DA8181D0F}"/>
          </ac:spMkLst>
        </pc:spChg>
        <pc:spChg chg="mod">
          <ac:chgData name="Falcão Lacerda, Rafael" userId="40181ff7-4694-4c53-a944-7b7d63582359" providerId="ADAL" clId="{3B4D5F63-EA56-4616-8A78-0C43AB7049E7}" dt="2025-12-08T00:26:36.477" v="4292" actId="947"/>
          <ac:spMkLst>
            <pc:docMk/>
            <pc:sldMk cId="2394862934" sldId="678"/>
            <ac:spMk id="32" creationId="{42D02B0E-04AE-4CB3-8763-3CAF88BD3E22}"/>
          </ac:spMkLst>
        </pc:spChg>
        <pc:spChg chg="mod">
          <ac:chgData name="Falcão Lacerda, Rafael" userId="40181ff7-4694-4c53-a944-7b7d63582359" providerId="ADAL" clId="{3B4D5F63-EA56-4616-8A78-0C43AB7049E7}" dt="2025-12-08T00:26:36.477" v="4290" actId="947"/>
          <ac:spMkLst>
            <pc:docMk/>
            <pc:sldMk cId="2394862934" sldId="678"/>
            <ac:spMk id="34" creationId="{06C81705-028D-43FA-A160-8CDB57B2596E}"/>
          </ac:spMkLst>
        </pc:spChg>
        <pc:spChg chg="mod">
          <ac:chgData name="Falcão Lacerda, Rafael" userId="40181ff7-4694-4c53-a944-7b7d63582359" providerId="ADAL" clId="{3B4D5F63-EA56-4616-8A78-0C43AB7049E7}" dt="2025-12-08T00:26:36.669" v="4462" actId="947"/>
          <ac:spMkLst>
            <pc:docMk/>
            <pc:sldMk cId="2394862934" sldId="678"/>
            <ac:spMk id="35" creationId="{ABD8BECE-9867-451E-88BB-A0EF8740F98B}"/>
          </ac:spMkLst>
        </pc:spChg>
        <pc:spChg chg="mod">
          <ac:chgData name="Falcão Lacerda, Rafael" userId="40181ff7-4694-4c53-a944-7b7d63582359" providerId="ADAL" clId="{3B4D5F63-EA56-4616-8A78-0C43AB7049E7}" dt="2025-12-08T00:26:36.653" v="4450" actId="947"/>
          <ac:spMkLst>
            <pc:docMk/>
            <pc:sldMk cId="2394862934" sldId="678"/>
            <ac:spMk id="36" creationId="{A32466E9-B7CB-4879-9BB8-CB8E8F4577EF}"/>
          </ac:spMkLst>
        </pc:spChg>
        <pc:spChg chg="mod">
          <ac:chgData name="Falcão Lacerda, Rafael" userId="40181ff7-4694-4c53-a944-7b7d63582359" providerId="ADAL" clId="{3B4D5F63-EA56-4616-8A78-0C43AB7049E7}" dt="2025-12-08T00:26:36.631" v="4426" actId="947"/>
          <ac:spMkLst>
            <pc:docMk/>
            <pc:sldMk cId="2394862934" sldId="678"/>
            <ac:spMk id="37" creationId="{CAACDCA2-5779-4C5C-A5BE-CE4D59010DCF}"/>
          </ac:spMkLst>
        </pc:spChg>
        <pc:spChg chg="mod">
          <ac:chgData name="Falcão Lacerda, Rafael" userId="40181ff7-4694-4c53-a944-7b7d63582359" providerId="ADAL" clId="{3B4D5F63-EA56-4616-8A78-0C43AB7049E7}" dt="2025-12-08T00:26:36.638" v="4438" actId="947"/>
          <ac:spMkLst>
            <pc:docMk/>
            <pc:sldMk cId="2394862934" sldId="678"/>
            <ac:spMk id="38" creationId="{AA5CAD1F-0159-4273-925A-DA4E45054F0D}"/>
          </ac:spMkLst>
        </pc:spChg>
        <pc:spChg chg="mod">
          <ac:chgData name="Falcão Lacerda, Rafael" userId="40181ff7-4694-4c53-a944-7b7d63582359" providerId="ADAL" clId="{3B4D5F63-EA56-4616-8A78-0C43AB7049E7}" dt="2025-12-08T00:26:36.621" v="4414" actId="947"/>
          <ac:spMkLst>
            <pc:docMk/>
            <pc:sldMk cId="2394862934" sldId="678"/>
            <ac:spMk id="39" creationId="{A6E88832-0F90-43F9-A8CA-E3C9108CADAF}"/>
          </ac:spMkLst>
        </pc:spChg>
        <pc:spChg chg="mod">
          <ac:chgData name="Falcão Lacerda, Rafael" userId="40181ff7-4694-4c53-a944-7b7d63582359" providerId="ADAL" clId="{3B4D5F63-EA56-4616-8A78-0C43AB7049E7}" dt="2025-12-08T00:26:36.669" v="4460" actId="947"/>
          <ac:spMkLst>
            <pc:docMk/>
            <pc:sldMk cId="2394862934" sldId="678"/>
            <ac:spMk id="41" creationId="{D0625773-16BC-4EE5-9B6D-E69CC4851862}"/>
          </ac:spMkLst>
        </pc:spChg>
        <pc:spChg chg="mod">
          <ac:chgData name="Falcão Lacerda, Rafael" userId="40181ff7-4694-4c53-a944-7b7d63582359" providerId="ADAL" clId="{3B4D5F63-EA56-4616-8A78-0C43AB7049E7}" dt="2025-12-08T00:26:41.841" v="6329" actId="790"/>
          <ac:spMkLst>
            <pc:docMk/>
            <pc:sldMk cId="2394862934" sldId="678"/>
            <ac:spMk id="42" creationId="{0803AB35-92EB-4C37-AC04-7EA68E370299}"/>
          </ac:spMkLst>
        </pc:spChg>
        <pc:spChg chg="mod">
          <ac:chgData name="Falcão Lacerda, Rafael" userId="40181ff7-4694-4c53-a944-7b7d63582359" providerId="ADAL" clId="{3B4D5F63-EA56-4616-8A78-0C43AB7049E7}" dt="2025-12-08T00:26:36.669" v="4456" actId="947"/>
          <ac:spMkLst>
            <pc:docMk/>
            <pc:sldMk cId="2394862934" sldId="678"/>
            <ac:spMk id="43" creationId="{73791BDB-7F26-4FFA-A793-4192143C5742}"/>
          </ac:spMkLst>
        </pc:spChg>
        <pc:spChg chg="mod">
          <ac:chgData name="Falcão Lacerda, Rafael" userId="40181ff7-4694-4c53-a944-7b7d63582359" providerId="ADAL" clId="{3B4D5F63-EA56-4616-8A78-0C43AB7049E7}" dt="2025-12-08T00:26:36.653" v="4454" actId="947"/>
          <ac:spMkLst>
            <pc:docMk/>
            <pc:sldMk cId="2394862934" sldId="678"/>
            <ac:spMk id="44" creationId="{A930B3ED-4B54-4A4F-B99E-911F9E34DE48}"/>
          </ac:spMkLst>
        </pc:spChg>
        <pc:spChg chg="mod">
          <ac:chgData name="Falcão Lacerda, Rafael" userId="40181ff7-4694-4c53-a944-7b7d63582359" providerId="ADAL" clId="{3B4D5F63-EA56-4616-8A78-0C43AB7049E7}" dt="2025-12-08T00:26:36.653" v="4452" actId="947"/>
          <ac:spMkLst>
            <pc:docMk/>
            <pc:sldMk cId="2394862934" sldId="678"/>
            <ac:spMk id="45" creationId="{60F4C23F-76C5-4C07-8B65-314A38C29681}"/>
          </ac:spMkLst>
        </pc:spChg>
        <pc:spChg chg="mod">
          <ac:chgData name="Falcão Lacerda, Rafael" userId="40181ff7-4694-4c53-a944-7b7d63582359" providerId="ADAL" clId="{3B4D5F63-EA56-4616-8A78-0C43AB7049E7}" dt="2025-12-08T00:26:36.605" v="4412" actId="947"/>
          <ac:spMkLst>
            <pc:docMk/>
            <pc:sldMk cId="2394862934" sldId="678"/>
            <ac:spMk id="47" creationId="{F8F7A6E6-6FCF-4ABC-8113-BA93F9BBC3DC}"/>
          </ac:spMkLst>
        </pc:spChg>
        <pc:spChg chg="mod">
          <ac:chgData name="Falcão Lacerda, Rafael" userId="40181ff7-4694-4c53-a944-7b7d63582359" providerId="ADAL" clId="{3B4D5F63-EA56-4616-8A78-0C43AB7049E7}" dt="2025-12-08T00:26:41.841" v="6329" actId="790"/>
          <ac:spMkLst>
            <pc:docMk/>
            <pc:sldMk cId="2394862934" sldId="678"/>
            <ac:spMk id="48" creationId="{9F2FA7AD-E5C0-4D21-95C6-BDCD8A21A251}"/>
          </ac:spMkLst>
        </pc:spChg>
        <pc:spChg chg="mod">
          <ac:chgData name="Falcão Lacerda, Rafael" userId="40181ff7-4694-4c53-a944-7b7d63582359" providerId="ADAL" clId="{3B4D5F63-EA56-4616-8A78-0C43AB7049E7}" dt="2025-12-08T00:26:36.605" v="4408" actId="947"/>
          <ac:spMkLst>
            <pc:docMk/>
            <pc:sldMk cId="2394862934" sldId="678"/>
            <ac:spMk id="49" creationId="{0250CF3A-B500-4544-81D6-96A7304F2070}"/>
          </ac:spMkLst>
        </pc:spChg>
        <pc:spChg chg="mod">
          <ac:chgData name="Falcão Lacerda, Rafael" userId="40181ff7-4694-4c53-a944-7b7d63582359" providerId="ADAL" clId="{3B4D5F63-EA56-4616-8A78-0C43AB7049E7}" dt="2025-12-08T00:26:36.605" v="4406" actId="947"/>
          <ac:spMkLst>
            <pc:docMk/>
            <pc:sldMk cId="2394862934" sldId="678"/>
            <ac:spMk id="50" creationId="{223C4823-83E6-43E3-9ED2-31E23A8198F2}"/>
          </ac:spMkLst>
        </pc:spChg>
        <pc:spChg chg="mod">
          <ac:chgData name="Falcão Lacerda, Rafael" userId="40181ff7-4694-4c53-a944-7b7d63582359" providerId="ADAL" clId="{3B4D5F63-EA56-4616-8A78-0C43AB7049E7}" dt="2025-12-08T00:26:36.605" v="4404" actId="947"/>
          <ac:spMkLst>
            <pc:docMk/>
            <pc:sldMk cId="2394862934" sldId="678"/>
            <ac:spMk id="51" creationId="{03494D85-DEFD-43D3-B782-F2419A8A1C04}"/>
          </ac:spMkLst>
        </pc:spChg>
        <pc:spChg chg="mod">
          <ac:chgData name="Falcão Lacerda, Rafael" userId="40181ff7-4694-4c53-a944-7b7d63582359" providerId="ADAL" clId="{3B4D5F63-EA56-4616-8A78-0C43AB7049E7}" dt="2025-12-08T00:26:36.631" v="4424" actId="947"/>
          <ac:spMkLst>
            <pc:docMk/>
            <pc:sldMk cId="2394862934" sldId="678"/>
            <ac:spMk id="53" creationId="{47E30018-671F-4564-B748-2C2F3CFB153F}"/>
          </ac:spMkLst>
        </pc:spChg>
        <pc:spChg chg="mod">
          <ac:chgData name="Falcão Lacerda, Rafael" userId="40181ff7-4694-4c53-a944-7b7d63582359" providerId="ADAL" clId="{3B4D5F63-EA56-4616-8A78-0C43AB7049E7}" dt="2025-12-08T00:26:36.627" v="4422" actId="947"/>
          <ac:spMkLst>
            <pc:docMk/>
            <pc:sldMk cId="2394862934" sldId="678"/>
            <ac:spMk id="54" creationId="{CB8A08D3-93D7-4158-B81E-B1F916D580BC}"/>
          </ac:spMkLst>
        </pc:spChg>
        <pc:spChg chg="mod">
          <ac:chgData name="Falcão Lacerda, Rafael" userId="40181ff7-4694-4c53-a944-7b7d63582359" providerId="ADAL" clId="{3B4D5F63-EA56-4616-8A78-0C43AB7049E7}" dt="2025-12-08T00:26:36.627" v="4420" actId="947"/>
          <ac:spMkLst>
            <pc:docMk/>
            <pc:sldMk cId="2394862934" sldId="678"/>
            <ac:spMk id="55" creationId="{88858D8D-FDCF-4D7C-A9EB-78A03C88AA42}"/>
          </ac:spMkLst>
        </pc:spChg>
        <pc:spChg chg="mod">
          <ac:chgData name="Falcão Lacerda, Rafael" userId="40181ff7-4694-4c53-a944-7b7d63582359" providerId="ADAL" clId="{3B4D5F63-EA56-4616-8A78-0C43AB7049E7}" dt="2025-12-08T00:26:36.627" v="4418" actId="947"/>
          <ac:spMkLst>
            <pc:docMk/>
            <pc:sldMk cId="2394862934" sldId="678"/>
            <ac:spMk id="56" creationId="{01CB50B3-5B97-4627-8720-0CFFDBF65255}"/>
          </ac:spMkLst>
        </pc:spChg>
        <pc:spChg chg="mod">
          <ac:chgData name="Falcão Lacerda, Rafael" userId="40181ff7-4694-4c53-a944-7b7d63582359" providerId="ADAL" clId="{3B4D5F63-EA56-4616-8A78-0C43AB7049E7}" dt="2025-12-08T00:26:36.621" v="4416" actId="947"/>
          <ac:spMkLst>
            <pc:docMk/>
            <pc:sldMk cId="2394862934" sldId="678"/>
            <ac:spMk id="57" creationId="{810CDA4A-DB2C-423A-A278-083E3B1A89C7}"/>
          </ac:spMkLst>
        </pc:spChg>
        <pc:spChg chg="mod">
          <ac:chgData name="Falcão Lacerda, Rafael" userId="40181ff7-4694-4c53-a944-7b7d63582359" providerId="ADAL" clId="{3B4D5F63-EA56-4616-8A78-0C43AB7049E7}" dt="2025-12-08T00:26:36.638" v="4436" actId="947"/>
          <ac:spMkLst>
            <pc:docMk/>
            <pc:sldMk cId="2394862934" sldId="678"/>
            <ac:spMk id="59" creationId="{C207360F-1EAB-4E19-9E31-19ABC83E0175}"/>
          </ac:spMkLst>
        </pc:spChg>
        <pc:spChg chg="mod">
          <ac:chgData name="Falcão Lacerda, Rafael" userId="40181ff7-4694-4c53-a944-7b7d63582359" providerId="ADAL" clId="{3B4D5F63-EA56-4616-8A78-0C43AB7049E7}" dt="2025-12-08T00:26:36.638" v="4434" actId="947"/>
          <ac:spMkLst>
            <pc:docMk/>
            <pc:sldMk cId="2394862934" sldId="678"/>
            <ac:spMk id="60" creationId="{BBA6321C-BDDB-43CB-B425-94BCCB95A372}"/>
          </ac:spMkLst>
        </pc:spChg>
        <pc:spChg chg="mod">
          <ac:chgData name="Falcão Lacerda, Rafael" userId="40181ff7-4694-4c53-a944-7b7d63582359" providerId="ADAL" clId="{3B4D5F63-EA56-4616-8A78-0C43AB7049E7}" dt="2025-12-08T00:26:36.638" v="4432" actId="947"/>
          <ac:spMkLst>
            <pc:docMk/>
            <pc:sldMk cId="2394862934" sldId="678"/>
            <ac:spMk id="61" creationId="{2A869865-5533-428E-8223-3BF4A1AABB70}"/>
          </ac:spMkLst>
        </pc:spChg>
        <pc:spChg chg="mod">
          <ac:chgData name="Falcão Lacerda, Rafael" userId="40181ff7-4694-4c53-a944-7b7d63582359" providerId="ADAL" clId="{3B4D5F63-EA56-4616-8A78-0C43AB7049E7}" dt="2025-12-08T00:26:36.638" v="4430" actId="947"/>
          <ac:spMkLst>
            <pc:docMk/>
            <pc:sldMk cId="2394862934" sldId="678"/>
            <ac:spMk id="62" creationId="{3212DBA3-02D6-4CD3-BDF3-9B1C2BC6D96C}"/>
          </ac:spMkLst>
        </pc:spChg>
        <pc:spChg chg="mod">
          <ac:chgData name="Falcão Lacerda, Rafael" userId="40181ff7-4694-4c53-a944-7b7d63582359" providerId="ADAL" clId="{3B4D5F63-EA56-4616-8A78-0C43AB7049E7}" dt="2025-12-08T00:26:36.638" v="4428" actId="947"/>
          <ac:spMkLst>
            <pc:docMk/>
            <pc:sldMk cId="2394862934" sldId="678"/>
            <ac:spMk id="63" creationId="{B74D0E4E-C115-4748-8851-404ACDA844D6}"/>
          </ac:spMkLst>
        </pc:spChg>
        <pc:spChg chg="mod">
          <ac:chgData name="Falcão Lacerda, Rafael" userId="40181ff7-4694-4c53-a944-7b7d63582359" providerId="ADAL" clId="{3B4D5F63-EA56-4616-8A78-0C43AB7049E7}" dt="2025-12-08T00:26:36.653" v="4448" actId="947"/>
          <ac:spMkLst>
            <pc:docMk/>
            <pc:sldMk cId="2394862934" sldId="678"/>
            <ac:spMk id="65" creationId="{2FD1ABD6-1905-4BD2-B122-6A99271B2DFF}"/>
          </ac:spMkLst>
        </pc:spChg>
        <pc:spChg chg="mod">
          <ac:chgData name="Falcão Lacerda, Rafael" userId="40181ff7-4694-4c53-a944-7b7d63582359" providerId="ADAL" clId="{3B4D5F63-EA56-4616-8A78-0C43AB7049E7}" dt="2025-12-08T00:26:36.653" v="4446" actId="947"/>
          <ac:spMkLst>
            <pc:docMk/>
            <pc:sldMk cId="2394862934" sldId="678"/>
            <ac:spMk id="66" creationId="{1571D76C-79AD-4C02-9EDE-E3DF41BF7B4B}"/>
          </ac:spMkLst>
        </pc:spChg>
        <pc:spChg chg="mod">
          <ac:chgData name="Falcão Lacerda, Rafael" userId="40181ff7-4694-4c53-a944-7b7d63582359" providerId="ADAL" clId="{3B4D5F63-EA56-4616-8A78-0C43AB7049E7}" dt="2025-12-08T00:26:36.653" v="4444" actId="947"/>
          <ac:spMkLst>
            <pc:docMk/>
            <pc:sldMk cId="2394862934" sldId="678"/>
            <ac:spMk id="67" creationId="{D6F424B0-F58D-427C-AAF9-0BC20C60B264}"/>
          </ac:spMkLst>
        </pc:spChg>
        <pc:spChg chg="mod">
          <ac:chgData name="Falcão Lacerda, Rafael" userId="40181ff7-4694-4c53-a944-7b7d63582359" providerId="ADAL" clId="{3B4D5F63-EA56-4616-8A78-0C43AB7049E7}" dt="2025-12-08T00:26:36.653" v="4442" actId="947"/>
          <ac:spMkLst>
            <pc:docMk/>
            <pc:sldMk cId="2394862934" sldId="678"/>
            <ac:spMk id="68" creationId="{0990BD36-F168-4640-B01B-BD14DF9EC800}"/>
          </ac:spMkLst>
        </pc:spChg>
        <pc:spChg chg="mod">
          <ac:chgData name="Falcão Lacerda, Rafael" userId="40181ff7-4694-4c53-a944-7b7d63582359" providerId="ADAL" clId="{3B4D5F63-EA56-4616-8A78-0C43AB7049E7}" dt="2025-12-08T00:26:36.638" v="4440" actId="947"/>
          <ac:spMkLst>
            <pc:docMk/>
            <pc:sldMk cId="2394862934" sldId="678"/>
            <ac:spMk id="69" creationId="{17EBDFEB-8C9A-4ECD-AA83-28AB41353207}"/>
          </ac:spMkLst>
        </pc:spChg>
        <pc:spChg chg="mod">
          <ac:chgData name="Falcão Lacerda, Rafael" userId="40181ff7-4694-4c53-a944-7b7d63582359" providerId="ADAL" clId="{3B4D5F63-EA56-4616-8A78-0C43AB7049E7}" dt="2025-12-08T00:26:36.592" v="4392" actId="947"/>
          <ac:spMkLst>
            <pc:docMk/>
            <pc:sldMk cId="2394862934" sldId="678"/>
            <ac:spMk id="71" creationId="{88911F13-7281-488F-838C-AC38A1B43D23}"/>
          </ac:spMkLst>
        </pc:spChg>
        <pc:spChg chg="mod">
          <ac:chgData name="Falcão Lacerda, Rafael" userId="40181ff7-4694-4c53-a944-7b7d63582359" providerId="ADAL" clId="{3B4D5F63-EA56-4616-8A78-0C43AB7049E7}" dt="2025-12-08T00:26:36.592" v="4390" actId="947"/>
          <ac:spMkLst>
            <pc:docMk/>
            <pc:sldMk cId="2394862934" sldId="678"/>
            <ac:spMk id="72" creationId="{3BD16CBA-3FC5-4782-878B-9EED7698A561}"/>
          </ac:spMkLst>
        </pc:spChg>
        <pc:spChg chg="mod">
          <ac:chgData name="Falcão Lacerda, Rafael" userId="40181ff7-4694-4c53-a944-7b7d63582359" providerId="ADAL" clId="{3B4D5F63-EA56-4616-8A78-0C43AB7049E7}" dt="2025-12-08T00:26:36.592" v="4388" actId="947"/>
          <ac:spMkLst>
            <pc:docMk/>
            <pc:sldMk cId="2394862934" sldId="678"/>
            <ac:spMk id="73" creationId="{DC8E5DC5-D647-4A23-B418-91F0824049AE}"/>
          </ac:spMkLst>
        </pc:spChg>
        <pc:spChg chg="mod">
          <ac:chgData name="Falcão Lacerda, Rafael" userId="40181ff7-4694-4c53-a944-7b7d63582359" providerId="ADAL" clId="{3B4D5F63-EA56-4616-8A78-0C43AB7049E7}" dt="2025-12-08T00:26:36.589" v="4386" actId="947"/>
          <ac:spMkLst>
            <pc:docMk/>
            <pc:sldMk cId="2394862934" sldId="678"/>
            <ac:spMk id="74" creationId="{ED38E6DF-191E-40B3-8121-7A13A578D43F}"/>
          </ac:spMkLst>
        </pc:spChg>
        <pc:spChg chg="mod">
          <ac:chgData name="Falcão Lacerda, Rafael" userId="40181ff7-4694-4c53-a944-7b7d63582359" providerId="ADAL" clId="{3B4D5F63-EA56-4616-8A78-0C43AB7049E7}" dt="2025-12-08T00:26:36.579" v="4384" actId="947"/>
          <ac:spMkLst>
            <pc:docMk/>
            <pc:sldMk cId="2394862934" sldId="678"/>
            <ac:spMk id="75" creationId="{2A075A53-723C-43FC-8FCD-3CAFE9CA882E}"/>
          </ac:spMkLst>
        </pc:spChg>
        <pc:spChg chg="mod">
          <ac:chgData name="Falcão Lacerda, Rafael" userId="40181ff7-4694-4c53-a944-7b7d63582359" providerId="ADAL" clId="{3B4D5F63-EA56-4616-8A78-0C43AB7049E7}" dt="2025-12-08T00:26:36.557" v="4366" actId="947"/>
          <ac:spMkLst>
            <pc:docMk/>
            <pc:sldMk cId="2394862934" sldId="678"/>
            <ac:spMk id="77" creationId="{7A7445B7-17AF-4972-BD86-41ABCCDFF525}"/>
          </ac:spMkLst>
        </pc:spChg>
        <pc:spChg chg="mod">
          <ac:chgData name="Falcão Lacerda, Rafael" userId="40181ff7-4694-4c53-a944-7b7d63582359" providerId="ADAL" clId="{3B4D5F63-EA56-4616-8A78-0C43AB7049E7}" dt="2025-12-08T00:26:36.557" v="4364" actId="947"/>
          <ac:spMkLst>
            <pc:docMk/>
            <pc:sldMk cId="2394862934" sldId="678"/>
            <ac:spMk id="78" creationId="{58B02209-1706-4F6E-ACFC-38376DB54059}"/>
          </ac:spMkLst>
        </pc:spChg>
        <pc:spChg chg="mod">
          <ac:chgData name="Falcão Lacerda, Rafael" userId="40181ff7-4694-4c53-a944-7b7d63582359" providerId="ADAL" clId="{3B4D5F63-EA56-4616-8A78-0C43AB7049E7}" dt="2025-12-08T00:26:36.557" v="4362" actId="947"/>
          <ac:spMkLst>
            <pc:docMk/>
            <pc:sldMk cId="2394862934" sldId="678"/>
            <ac:spMk id="79" creationId="{15E907A9-4079-4E8C-B3D7-3B5290387DF9}"/>
          </ac:spMkLst>
        </pc:spChg>
        <pc:spChg chg="mod">
          <ac:chgData name="Falcão Lacerda, Rafael" userId="40181ff7-4694-4c53-a944-7b7d63582359" providerId="ADAL" clId="{3B4D5F63-EA56-4616-8A78-0C43AB7049E7}" dt="2025-12-08T00:26:36.557" v="4360" actId="947"/>
          <ac:spMkLst>
            <pc:docMk/>
            <pc:sldMk cId="2394862934" sldId="678"/>
            <ac:spMk id="80" creationId="{7B955C72-C0AF-4B65-94AE-673445F996F4}"/>
          </ac:spMkLst>
        </pc:spChg>
        <pc:spChg chg="mod">
          <ac:chgData name="Falcão Lacerda, Rafael" userId="40181ff7-4694-4c53-a944-7b7d63582359" providerId="ADAL" clId="{3B4D5F63-EA56-4616-8A78-0C43AB7049E7}" dt="2025-12-08T00:26:36.557" v="4358" actId="947"/>
          <ac:spMkLst>
            <pc:docMk/>
            <pc:sldMk cId="2394862934" sldId="678"/>
            <ac:spMk id="81" creationId="{7682E358-9C84-4966-B20D-4913C11FC353}"/>
          </ac:spMkLst>
        </pc:spChg>
        <pc:spChg chg="mod">
          <ac:chgData name="Falcão Lacerda, Rafael" userId="40181ff7-4694-4c53-a944-7b7d63582359" providerId="ADAL" clId="{3B4D5F63-EA56-4616-8A78-0C43AB7049E7}" dt="2025-12-08T00:26:36.557" v="4356" actId="947"/>
          <ac:spMkLst>
            <pc:docMk/>
            <pc:sldMk cId="2394862934" sldId="678"/>
            <ac:spMk id="83" creationId="{2AAE3AA3-F13F-4293-8D1C-98CF7B7D2581}"/>
          </ac:spMkLst>
        </pc:spChg>
        <pc:spChg chg="mod">
          <ac:chgData name="Falcão Lacerda, Rafael" userId="40181ff7-4694-4c53-a944-7b7d63582359" providerId="ADAL" clId="{3B4D5F63-EA56-4616-8A78-0C43AB7049E7}" dt="2025-12-08T00:26:36.542" v="4354" actId="947"/>
          <ac:spMkLst>
            <pc:docMk/>
            <pc:sldMk cId="2394862934" sldId="678"/>
            <ac:spMk id="84" creationId="{0AE48D56-C510-4ABA-A2A8-0A64BB5815F9}"/>
          </ac:spMkLst>
        </pc:spChg>
        <pc:spChg chg="mod">
          <ac:chgData name="Falcão Lacerda, Rafael" userId="40181ff7-4694-4c53-a944-7b7d63582359" providerId="ADAL" clId="{3B4D5F63-EA56-4616-8A78-0C43AB7049E7}" dt="2025-12-08T00:26:36.542" v="4352" actId="947"/>
          <ac:spMkLst>
            <pc:docMk/>
            <pc:sldMk cId="2394862934" sldId="678"/>
            <ac:spMk id="85" creationId="{EFB41C55-1531-49C1-99C2-47B13DCB35C4}"/>
          </ac:spMkLst>
        </pc:spChg>
        <pc:spChg chg="mod">
          <ac:chgData name="Falcão Lacerda, Rafael" userId="40181ff7-4694-4c53-a944-7b7d63582359" providerId="ADAL" clId="{3B4D5F63-EA56-4616-8A78-0C43AB7049E7}" dt="2025-12-08T00:26:36.542" v="4350" actId="947"/>
          <ac:spMkLst>
            <pc:docMk/>
            <pc:sldMk cId="2394862934" sldId="678"/>
            <ac:spMk id="86" creationId="{A1498E74-3A92-40A7-81C9-08BB1CB83236}"/>
          </ac:spMkLst>
        </pc:spChg>
        <pc:spChg chg="mod">
          <ac:chgData name="Falcão Lacerda, Rafael" userId="40181ff7-4694-4c53-a944-7b7d63582359" providerId="ADAL" clId="{3B4D5F63-EA56-4616-8A78-0C43AB7049E7}" dt="2025-12-08T00:26:36.542" v="4348" actId="947"/>
          <ac:spMkLst>
            <pc:docMk/>
            <pc:sldMk cId="2394862934" sldId="678"/>
            <ac:spMk id="87" creationId="{39355489-0D3E-4CD3-8A71-603970702023}"/>
          </ac:spMkLst>
        </pc:spChg>
        <pc:spChg chg="mod">
          <ac:chgData name="Falcão Lacerda, Rafael" userId="40181ff7-4694-4c53-a944-7b7d63582359" providerId="ADAL" clId="{3B4D5F63-EA56-4616-8A78-0C43AB7049E7}" dt="2025-12-08T00:26:36.512" v="4314" actId="947"/>
          <ac:spMkLst>
            <pc:docMk/>
            <pc:sldMk cId="2394862934" sldId="678"/>
            <ac:spMk id="89" creationId="{3C2C6A62-46DA-4A9A-967F-085041A857F8}"/>
          </ac:spMkLst>
        </pc:spChg>
        <pc:spChg chg="mod">
          <ac:chgData name="Falcão Lacerda, Rafael" userId="40181ff7-4694-4c53-a944-7b7d63582359" providerId="ADAL" clId="{3B4D5F63-EA56-4616-8A78-0C43AB7049E7}" dt="2025-12-08T00:26:36.509" v="4312" actId="947"/>
          <ac:spMkLst>
            <pc:docMk/>
            <pc:sldMk cId="2394862934" sldId="678"/>
            <ac:spMk id="90" creationId="{7EE7D523-4F24-4FD6-B2E1-0205FD6FC9BA}"/>
          </ac:spMkLst>
        </pc:spChg>
        <pc:spChg chg="mod">
          <ac:chgData name="Falcão Lacerda, Rafael" userId="40181ff7-4694-4c53-a944-7b7d63582359" providerId="ADAL" clId="{3B4D5F63-EA56-4616-8A78-0C43AB7049E7}" dt="2025-12-08T00:26:36.493" v="4310" actId="947"/>
          <ac:spMkLst>
            <pc:docMk/>
            <pc:sldMk cId="2394862934" sldId="678"/>
            <ac:spMk id="91" creationId="{BE239B8C-6AFE-4F88-98BF-45DE507D2D9D}"/>
          </ac:spMkLst>
        </pc:spChg>
        <pc:spChg chg="mod">
          <ac:chgData name="Falcão Lacerda, Rafael" userId="40181ff7-4694-4c53-a944-7b7d63582359" providerId="ADAL" clId="{3B4D5F63-EA56-4616-8A78-0C43AB7049E7}" dt="2025-12-08T00:26:36.493" v="4308" actId="947"/>
          <ac:spMkLst>
            <pc:docMk/>
            <pc:sldMk cId="2394862934" sldId="678"/>
            <ac:spMk id="92" creationId="{2A4C450A-7435-4A9A-BA4C-8EACA616C501}"/>
          </ac:spMkLst>
        </pc:spChg>
        <pc:spChg chg="mod">
          <ac:chgData name="Falcão Lacerda, Rafael" userId="40181ff7-4694-4c53-a944-7b7d63582359" providerId="ADAL" clId="{3B4D5F63-EA56-4616-8A78-0C43AB7049E7}" dt="2025-12-08T00:26:36.493" v="4306" actId="947"/>
          <ac:spMkLst>
            <pc:docMk/>
            <pc:sldMk cId="2394862934" sldId="678"/>
            <ac:spMk id="93" creationId="{E4E15104-061A-4C3D-9FD0-75A39C2F356D}"/>
          </ac:spMkLst>
        </pc:spChg>
        <pc:spChg chg="mod">
          <ac:chgData name="Falcão Lacerda, Rafael" userId="40181ff7-4694-4c53-a944-7b7d63582359" providerId="ADAL" clId="{3B4D5F63-EA56-4616-8A78-0C43AB7049E7}" dt="2025-12-08T00:26:36.579" v="4382" actId="947"/>
          <ac:spMkLst>
            <pc:docMk/>
            <pc:sldMk cId="2394862934" sldId="678"/>
            <ac:spMk id="95" creationId="{F1C32A82-6358-409C-8780-1D70CF3A0C60}"/>
          </ac:spMkLst>
        </pc:spChg>
        <pc:spChg chg="mod">
          <ac:chgData name="Falcão Lacerda, Rafael" userId="40181ff7-4694-4c53-a944-7b7d63582359" providerId="ADAL" clId="{3B4D5F63-EA56-4616-8A78-0C43AB7049E7}" dt="2025-12-08T00:26:36.579" v="4380" actId="947"/>
          <ac:spMkLst>
            <pc:docMk/>
            <pc:sldMk cId="2394862934" sldId="678"/>
            <ac:spMk id="96" creationId="{83DCDEFF-A412-4BAB-96FF-7968109D8CBE}"/>
          </ac:spMkLst>
        </pc:spChg>
        <pc:spChg chg="mod">
          <ac:chgData name="Falcão Lacerda, Rafael" userId="40181ff7-4694-4c53-a944-7b7d63582359" providerId="ADAL" clId="{3B4D5F63-EA56-4616-8A78-0C43AB7049E7}" dt="2025-12-08T00:26:41.841" v="6329" actId="790"/>
          <ac:spMkLst>
            <pc:docMk/>
            <pc:sldMk cId="2394862934" sldId="678"/>
            <ac:spMk id="97" creationId="{A58C5E18-DBAE-4BA9-BA7B-148294BFF24A}"/>
          </ac:spMkLst>
        </pc:spChg>
        <pc:spChg chg="mod">
          <ac:chgData name="Falcão Lacerda, Rafael" userId="40181ff7-4694-4c53-a944-7b7d63582359" providerId="ADAL" clId="{3B4D5F63-EA56-4616-8A78-0C43AB7049E7}" dt="2025-12-08T00:26:36.579" v="4376" actId="947"/>
          <ac:spMkLst>
            <pc:docMk/>
            <pc:sldMk cId="2394862934" sldId="678"/>
            <ac:spMk id="98" creationId="{3863431B-8CCD-493F-B55A-7EBDB9ECB978}"/>
          </ac:spMkLst>
        </pc:spChg>
        <pc:spChg chg="mod">
          <ac:chgData name="Falcão Lacerda, Rafael" userId="40181ff7-4694-4c53-a944-7b7d63582359" providerId="ADAL" clId="{3B4D5F63-EA56-4616-8A78-0C43AB7049E7}" dt="2025-12-08T00:26:36.579" v="4374" actId="947"/>
          <ac:spMkLst>
            <pc:docMk/>
            <pc:sldMk cId="2394862934" sldId="678"/>
            <ac:spMk id="99" creationId="{BB7E293A-B06D-499A-95E2-641BF5486A95}"/>
          </ac:spMkLst>
        </pc:spChg>
        <pc:spChg chg="mod">
          <ac:chgData name="Falcão Lacerda, Rafael" userId="40181ff7-4694-4c53-a944-7b7d63582359" providerId="ADAL" clId="{3B4D5F63-EA56-4616-8A78-0C43AB7049E7}" dt="2025-12-08T00:26:36.526" v="4340" actId="947"/>
          <ac:spMkLst>
            <pc:docMk/>
            <pc:sldMk cId="2394862934" sldId="678"/>
            <ac:spMk id="101" creationId="{75ACDB5C-705D-4B45-8DA1-EB20F29431C4}"/>
          </ac:spMkLst>
        </pc:spChg>
        <pc:spChg chg="mod">
          <ac:chgData name="Falcão Lacerda, Rafael" userId="40181ff7-4694-4c53-a944-7b7d63582359" providerId="ADAL" clId="{3B4D5F63-EA56-4616-8A78-0C43AB7049E7}" dt="2025-12-08T00:26:36.526" v="4338" actId="947"/>
          <ac:spMkLst>
            <pc:docMk/>
            <pc:sldMk cId="2394862934" sldId="678"/>
            <ac:spMk id="102" creationId="{CE820290-B8C2-4C1E-BBD7-9A5B40ED1C6E}"/>
          </ac:spMkLst>
        </pc:spChg>
        <pc:spChg chg="mod">
          <ac:chgData name="Falcão Lacerda, Rafael" userId="40181ff7-4694-4c53-a944-7b7d63582359" providerId="ADAL" clId="{3B4D5F63-EA56-4616-8A78-0C43AB7049E7}" dt="2025-12-08T00:26:36.526" v="4336" actId="947"/>
          <ac:spMkLst>
            <pc:docMk/>
            <pc:sldMk cId="2394862934" sldId="678"/>
            <ac:spMk id="103" creationId="{998CCE86-2892-4327-B749-CB4FD4025537}"/>
          </ac:spMkLst>
        </pc:spChg>
        <pc:spChg chg="mod">
          <ac:chgData name="Falcão Lacerda, Rafael" userId="40181ff7-4694-4c53-a944-7b7d63582359" providerId="ADAL" clId="{3B4D5F63-EA56-4616-8A78-0C43AB7049E7}" dt="2025-12-08T00:26:36.526" v="4334" actId="947"/>
          <ac:spMkLst>
            <pc:docMk/>
            <pc:sldMk cId="2394862934" sldId="678"/>
            <ac:spMk id="104" creationId="{634438B2-3D7E-4C8D-A98B-10A5AB5C11C7}"/>
          </ac:spMkLst>
        </pc:spChg>
        <pc:spChg chg="mod">
          <ac:chgData name="Falcão Lacerda, Rafael" userId="40181ff7-4694-4c53-a944-7b7d63582359" providerId="ADAL" clId="{3B4D5F63-EA56-4616-8A78-0C43AB7049E7}" dt="2025-12-08T00:26:36.526" v="4332" actId="947"/>
          <ac:spMkLst>
            <pc:docMk/>
            <pc:sldMk cId="2394862934" sldId="678"/>
            <ac:spMk id="105" creationId="{876E94D4-5C45-48CB-9FF6-B04C606DD4AD}"/>
          </ac:spMkLst>
        </pc:spChg>
        <pc:spChg chg="mod">
          <ac:chgData name="Falcão Lacerda, Rafael" userId="40181ff7-4694-4c53-a944-7b7d63582359" providerId="ADAL" clId="{3B4D5F63-EA56-4616-8A78-0C43AB7049E7}" dt="2025-12-08T00:26:36.526" v="4330" actId="947"/>
          <ac:spMkLst>
            <pc:docMk/>
            <pc:sldMk cId="2394862934" sldId="678"/>
            <ac:spMk id="107" creationId="{E665A882-94C7-4E5D-B82E-4A999CA4CFC6}"/>
          </ac:spMkLst>
        </pc:spChg>
        <pc:spChg chg="mod">
          <ac:chgData name="Falcão Lacerda, Rafael" userId="40181ff7-4694-4c53-a944-7b7d63582359" providerId="ADAL" clId="{3B4D5F63-EA56-4616-8A78-0C43AB7049E7}" dt="2025-12-08T00:26:36.526" v="4328" actId="947"/>
          <ac:spMkLst>
            <pc:docMk/>
            <pc:sldMk cId="2394862934" sldId="678"/>
            <ac:spMk id="108" creationId="{5F468306-B20D-48C1-A673-CE320F9724B2}"/>
          </ac:spMkLst>
        </pc:spChg>
        <pc:spChg chg="mod">
          <ac:chgData name="Falcão Lacerda, Rafael" userId="40181ff7-4694-4c53-a944-7b7d63582359" providerId="ADAL" clId="{3B4D5F63-EA56-4616-8A78-0C43AB7049E7}" dt="2025-12-08T00:26:36.512" v="4326" actId="947"/>
          <ac:spMkLst>
            <pc:docMk/>
            <pc:sldMk cId="2394862934" sldId="678"/>
            <ac:spMk id="109" creationId="{D7B8BF7E-F95E-4AF0-A52F-9AEF1FBAA9EA}"/>
          </ac:spMkLst>
        </pc:spChg>
        <pc:spChg chg="mod">
          <ac:chgData name="Falcão Lacerda, Rafael" userId="40181ff7-4694-4c53-a944-7b7d63582359" providerId="ADAL" clId="{3B4D5F63-EA56-4616-8A78-0C43AB7049E7}" dt="2025-12-08T00:26:36.512" v="4324" actId="947"/>
          <ac:spMkLst>
            <pc:docMk/>
            <pc:sldMk cId="2394862934" sldId="678"/>
            <ac:spMk id="110" creationId="{421F1277-12B6-48A8-BBC9-E10DD0E5655A}"/>
          </ac:spMkLst>
        </pc:spChg>
        <pc:spChg chg="mod">
          <ac:chgData name="Falcão Lacerda, Rafael" userId="40181ff7-4694-4c53-a944-7b7d63582359" providerId="ADAL" clId="{3B4D5F63-EA56-4616-8A78-0C43AB7049E7}" dt="2025-12-08T00:26:36.512" v="4322" actId="947"/>
          <ac:spMkLst>
            <pc:docMk/>
            <pc:sldMk cId="2394862934" sldId="678"/>
            <ac:spMk id="111" creationId="{EFA39718-7A0B-4CE0-BD57-D60C4583C32C}"/>
          </ac:spMkLst>
        </pc:spChg>
        <pc:spChg chg="mod">
          <ac:chgData name="Falcão Lacerda, Rafael" userId="40181ff7-4694-4c53-a944-7b7d63582359" providerId="ADAL" clId="{3B4D5F63-EA56-4616-8A78-0C43AB7049E7}" dt="2025-12-08T00:26:36.493" v="4304" actId="947"/>
          <ac:spMkLst>
            <pc:docMk/>
            <pc:sldMk cId="2394862934" sldId="678"/>
            <ac:spMk id="113" creationId="{80FF1CF5-8CF4-4304-AD75-37C559BCD8D7}"/>
          </ac:spMkLst>
        </pc:spChg>
        <pc:spChg chg="mod">
          <ac:chgData name="Falcão Lacerda, Rafael" userId="40181ff7-4694-4c53-a944-7b7d63582359" providerId="ADAL" clId="{3B4D5F63-EA56-4616-8A78-0C43AB7049E7}" dt="2025-12-08T00:26:36.493" v="4302" actId="947"/>
          <ac:spMkLst>
            <pc:docMk/>
            <pc:sldMk cId="2394862934" sldId="678"/>
            <ac:spMk id="114" creationId="{7FBF2A04-B28C-4277-B34B-BABA4D098789}"/>
          </ac:spMkLst>
        </pc:spChg>
        <pc:spChg chg="mod">
          <ac:chgData name="Falcão Lacerda, Rafael" userId="40181ff7-4694-4c53-a944-7b7d63582359" providerId="ADAL" clId="{3B4D5F63-EA56-4616-8A78-0C43AB7049E7}" dt="2025-12-08T00:26:36.493" v="4300" actId="947"/>
          <ac:spMkLst>
            <pc:docMk/>
            <pc:sldMk cId="2394862934" sldId="678"/>
            <ac:spMk id="115" creationId="{D12F1A01-632C-4FD1-A093-8F73AE157996}"/>
          </ac:spMkLst>
        </pc:spChg>
        <pc:spChg chg="mod">
          <ac:chgData name="Falcão Lacerda, Rafael" userId="40181ff7-4694-4c53-a944-7b7d63582359" providerId="ADAL" clId="{3B4D5F63-EA56-4616-8A78-0C43AB7049E7}" dt="2025-12-08T00:26:36.493" v="4298" actId="947"/>
          <ac:spMkLst>
            <pc:docMk/>
            <pc:sldMk cId="2394862934" sldId="678"/>
            <ac:spMk id="116" creationId="{1719BCF3-1B00-40AF-BFAE-F9616B62069F}"/>
          </ac:spMkLst>
        </pc:spChg>
        <pc:spChg chg="mod">
          <ac:chgData name="Falcão Lacerda, Rafael" userId="40181ff7-4694-4c53-a944-7b7d63582359" providerId="ADAL" clId="{3B4D5F63-EA56-4616-8A78-0C43AB7049E7}" dt="2025-12-08T00:26:36.493" v="4296" actId="947"/>
          <ac:spMkLst>
            <pc:docMk/>
            <pc:sldMk cId="2394862934" sldId="678"/>
            <ac:spMk id="117" creationId="{68FB2532-0D5A-4B06-8712-CE1F8A847E16}"/>
          </ac:spMkLst>
        </pc:spChg>
        <pc:spChg chg="mod">
          <ac:chgData name="Falcão Lacerda, Rafael" userId="40181ff7-4694-4c53-a944-7b7d63582359" providerId="ADAL" clId="{3B4D5F63-EA56-4616-8A78-0C43AB7049E7}" dt="2025-12-08T00:26:36.463" v="4282" actId="947"/>
          <ac:spMkLst>
            <pc:docMk/>
            <pc:sldMk cId="2394862934" sldId="678"/>
            <ac:spMk id="119" creationId="{900FC672-946B-469B-A4CC-C66C3D4F2688}"/>
          </ac:spMkLst>
        </pc:spChg>
        <pc:spChg chg="mod">
          <ac:chgData name="Falcão Lacerda, Rafael" userId="40181ff7-4694-4c53-a944-7b7d63582359" providerId="ADAL" clId="{3B4D5F63-EA56-4616-8A78-0C43AB7049E7}" dt="2025-12-08T00:26:36.463" v="4280" actId="947"/>
          <ac:spMkLst>
            <pc:docMk/>
            <pc:sldMk cId="2394862934" sldId="678"/>
            <ac:spMk id="120" creationId="{64F6307B-D1ED-4F45-9E83-B39E74A68D69}"/>
          </ac:spMkLst>
        </pc:spChg>
        <pc:spChg chg="mod">
          <ac:chgData name="Falcão Lacerda, Rafael" userId="40181ff7-4694-4c53-a944-7b7d63582359" providerId="ADAL" clId="{3B4D5F63-EA56-4616-8A78-0C43AB7049E7}" dt="2025-12-08T00:26:36.463" v="4278" actId="947"/>
          <ac:spMkLst>
            <pc:docMk/>
            <pc:sldMk cId="2394862934" sldId="678"/>
            <ac:spMk id="121" creationId="{8486AA4E-68D1-4515-BC43-76EA67957D9E}"/>
          </ac:spMkLst>
        </pc:spChg>
        <pc:spChg chg="mod">
          <ac:chgData name="Falcão Lacerda, Rafael" userId="40181ff7-4694-4c53-a944-7b7d63582359" providerId="ADAL" clId="{3B4D5F63-EA56-4616-8A78-0C43AB7049E7}" dt="2025-12-08T00:26:36.463" v="4276" actId="947"/>
          <ac:spMkLst>
            <pc:docMk/>
            <pc:sldMk cId="2394862934" sldId="678"/>
            <ac:spMk id="122" creationId="{7418F68C-2BB3-4B7B-BBE6-A6FC1E889456}"/>
          </ac:spMkLst>
        </pc:spChg>
        <pc:spChg chg="mod">
          <ac:chgData name="Falcão Lacerda, Rafael" userId="40181ff7-4694-4c53-a944-7b7d63582359" providerId="ADAL" clId="{3B4D5F63-EA56-4616-8A78-0C43AB7049E7}" dt="2025-12-08T00:26:36.463" v="4274" actId="947"/>
          <ac:spMkLst>
            <pc:docMk/>
            <pc:sldMk cId="2394862934" sldId="678"/>
            <ac:spMk id="123" creationId="{66D45AEC-1317-4E96-95C6-599C234CD96A}"/>
          </ac:spMkLst>
        </pc:spChg>
        <pc:spChg chg="mod">
          <ac:chgData name="Falcão Lacerda, Rafael" userId="40181ff7-4694-4c53-a944-7b7d63582359" providerId="ADAL" clId="{3B4D5F63-EA56-4616-8A78-0C43AB7049E7}" dt="2025-12-08T00:26:36.431" v="4256" actId="947"/>
          <ac:spMkLst>
            <pc:docMk/>
            <pc:sldMk cId="2394862934" sldId="678"/>
            <ac:spMk id="125" creationId="{7770A580-83EF-4FCD-BB23-88F2E17BADD3}"/>
          </ac:spMkLst>
        </pc:spChg>
        <pc:spChg chg="mod">
          <ac:chgData name="Falcão Lacerda, Rafael" userId="40181ff7-4694-4c53-a944-7b7d63582359" providerId="ADAL" clId="{3B4D5F63-EA56-4616-8A78-0C43AB7049E7}" dt="2025-12-08T00:26:36.431" v="4254" actId="947"/>
          <ac:spMkLst>
            <pc:docMk/>
            <pc:sldMk cId="2394862934" sldId="678"/>
            <ac:spMk id="126" creationId="{0F62552B-6B00-4BCE-8718-F95BCB0CBE79}"/>
          </ac:spMkLst>
        </pc:spChg>
        <pc:spChg chg="mod">
          <ac:chgData name="Falcão Lacerda, Rafael" userId="40181ff7-4694-4c53-a944-7b7d63582359" providerId="ADAL" clId="{3B4D5F63-EA56-4616-8A78-0C43AB7049E7}" dt="2025-12-08T00:26:41.841" v="6329" actId="790"/>
          <ac:spMkLst>
            <pc:docMk/>
            <pc:sldMk cId="2394862934" sldId="678"/>
            <ac:spMk id="127" creationId="{3C6D5FAF-2FF2-4728-AAF1-593A1F4C9CDF}"/>
          </ac:spMkLst>
        </pc:spChg>
        <pc:spChg chg="mod">
          <ac:chgData name="Falcão Lacerda, Rafael" userId="40181ff7-4694-4c53-a944-7b7d63582359" providerId="ADAL" clId="{3B4D5F63-EA56-4616-8A78-0C43AB7049E7}" dt="2025-12-08T00:26:36.431" v="4250" actId="947"/>
          <ac:spMkLst>
            <pc:docMk/>
            <pc:sldMk cId="2394862934" sldId="678"/>
            <ac:spMk id="128" creationId="{4A691FC4-332A-4DA2-A17C-37228E570DF8}"/>
          </ac:spMkLst>
        </pc:spChg>
        <pc:spChg chg="mod">
          <ac:chgData name="Falcão Lacerda, Rafael" userId="40181ff7-4694-4c53-a944-7b7d63582359" providerId="ADAL" clId="{3B4D5F63-EA56-4616-8A78-0C43AB7049E7}" dt="2025-12-08T00:26:36.431" v="4248" actId="947"/>
          <ac:spMkLst>
            <pc:docMk/>
            <pc:sldMk cId="2394862934" sldId="678"/>
            <ac:spMk id="129" creationId="{771E233B-0263-41F3-99AF-8ADE7E50D4FE}"/>
          </ac:spMkLst>
        </pc:spChg>
        <pc:spChg chg="mod">
          <ac:chgData name="Falcão Lacerda, Rafael" userId="40181ff7-4694-4c53-a944-7b7d63582359" providerId="ADAL" clId="{3B4D5F63-EA56-4616-8A78-0C43AB7049E7}" dt="2025-12-08T00:26:36.415" v="4246" actId="947"/>
          <ac:spMkLst>
            <pc:docMk/>
            <pc:sldMk cId="2394862934" sldId="678"/>
            <ac:spMk id="131" creationId="{727D2526-403A-4F33-B191-0D37EFFC1899}"/>
          </ac:spMkLst>
        </pc:spChg>
        <pc:spChg chg="mod">
          <ac:chgData name="Falcão Lacerda, Rafael" userId="40181ff7-4694-4c53-a944-7b7d63582359" providerId="ADAL" clId="{3B4D5F63-EA56-4616-8A78-0C43AB7049E7}" dt="2025-12-08T00:26:36.415" v="4244" actId="947"/>
          <ac:spMkLst>
            <pc:docMk/>
            <pc:sldMk cId="2394862934" sldId="678"/>
            <ac:spMk id="132" creationId="{DAB93122-5964-4CC8-8373-B63E1505F429}"/>
          </ac:spMkLst>
        </pc:spChg>
        <pc:spChg chg="mod">
          <ac:chgData name="Falcão Lacerda, Rafael" userId="40181ff7-4694-4c53-a944-7b7d63582359" providerId="ADAL" clId="{3B4D5F63-EA56-4616-8A78-0C43AB7049E7}" dt="2025-12-08T00:26:36.415" v="4242" actId="947"/>
          <ac:spMkLst>
            <pc:docMk/>
            <pc:sldMk cId="2394862934" sldId="678"/>
            <ac:spMk id="133" creationId="{7536E15A-9E72-495C-8A50-0103042F02DC}"/>
          </ac:spMkLst>
        </pc:spChg>
        <pc:spChg chg="mod">
          <ac:chgData name="Falcão Lacerda, Rafael" userId="40181ff7-4694-4c53-a944-7b7d63582359" providerId="ADAL" clId="{3B4D5F63-EA56-4616-8A78-0C43AB7049E7}" dt="2025-12-08T00:26:41.841" v="6329" actId="790"/>
          <ac:spMkLst>
            <pc:docMk/>
            <pc:sldMk cId="2394862934" sldId="678"/>
            <ac:spMk id="137" creationId="{62607573-6D2A-4EBA-8C69-D9FD91E932D1}"/>
          </ac:spMkLst>
        </pc:spChg>
        <pc:spChg chg="mod">
          <ac:chgData name="Falcão Lacerda, Rafael" userId="40181ff7-4694-4c53-a944-7b7d63582359" providerId="ADAL" clId="{3B4D5F63-EA56-4616-8A78-0C43AB7049E7}" dt="2025-12-08T00:26:36.367" v="4202" actId="947"/>
          <ac:spMkLst>
            <pc:docMk/>
            <pc:sldMk cId="2394862934" sldId="678"/>
            <ac:spMk id="138" creationId="{CA91904C-613F-4905-96A9-B10091057DCE}"/>
          </ac:spMkLst>
        </pc:spChg>
        <pc:spChg chg="mod">
          <ac:chgData name="Falcão Lacerda, Rafael" userId="40181ff7-4694-4c53-a944-7b7d63582359" providerId="ADAL" clId="{3B4D5F63-EA56-4616-8A78-0C43AB7049E7}" dt="2025-12-08T00:26:36.367" v="4200" actId="947"/>
          <ac:spMkLst>
            <pc:docMk/>
            <pc:sldMk cId="2394862934" sldId="678"/>
            <ac:spMk id="139" creationId="{81DF9AEF-E7B0-414B-BB46-41EDDB4B4035}"/>
          </ac:spMkLst>
        </pc:spChg>
        <pc:spChg chg="mod">
          <ac:chgData name="Falcão Lacerda, Rafael" userId="40181ff7-4694-4c53-a944-7b7d63582359" providerId="ADAL" clId="{3B4D5F63-EA56-4616-8A78-0C43AB7049E7}" dt="2025-12-08T00:26:36.352" v="4198" actId="947"/>
          <ac:spMkLst>
            <pc:docMk/>
            <pc:sldMk cId="2394862934" sldId="678"/>
            <ac:spMk id="140" creationId="{7FA61E4E-945F-4AFC-84CA-119E75EC95D0}"/>
          </ac:spMkLst>
        </pc:spChg>
        <pc:spChg chg="mod">
          <ac:chgData name="Falcão Lacerda, Rafael" userId="40181ff7-4694-4c53-a944-7b7d63582359" providerId="ADAL" clId="{3B4D5F63-EA56-4616-8A78-0C43AB7049E7}" dt="2025-12-08T00:26:36.352" v="4196" actId="947"/>
          <ac:spMkLst>
            <pc:docMk/>
            <pc:sldMk cId="2394862934" sldId="678"/>
            <ac:spMk id="141" creationId="{D55A5D7E-06AC-4617-8134-8653DC40C67B}"/>
          </ac:spMkLst>
        </pc:spChg>
        <pc:spChg chg="mod">
          <ac:chgData name="Falcão Lacerda, Rafael" userId="40181ff7-4694-4c53-a944-7b7d63582359" providerId="ADAL" clId="{3B4D5F63-EA56-4616-8A78-0C43AB7049E7}" dt="2025-12-08T00:26:41.841" v="6329" actId="790"/>
          <ac:spMkLst>
            <pc:docMk/>
            <pc:sldMk cId="2394862934" sldId="678"/>
            <ac:spMk id="143" creationId="{A18222D9-88D7-4D43-BF3A-3DA25B8A3DBE}"/>
          </ac:spMkLst>
        </pc:spChg>
        <pc:spChg chg="mod">
          <ac:chgData name="Falcão Lacerda, Rafael" userId="40181ff7-4694-4c53-a944-7b7d63582359" providerId="ADAL" clId="{3B4D5F63-EA56-4616-8A78-0C43AB7049E7}" dt="2025-12-08T00:26:36.462" v="4270" actId="947"/>
          <ac:spMkLst>
            <pc:docMk/>
            <pc:sldMk cId="2394862934" sldId="678"/>
            <ac:spMk id="144" creationId="{EA1F508F-0664-42C4-A43B-88F0A302CF13}"/>
          </ac:spMkLst>
        </pc:spChg>
        <pc:spChg chg="mod">
          <ac:chgData name="Falcão Lacerda, Rafael" userId="40181ff7-4694-4c53-a944-7b7d63582359" providerId="ADAL" clId="{3B4D5F63-EA56-4616-8A78-0C43AB7049E7}" dt="2025-12-08T00:26:41.841" v="6329" actId="790"/>
          <ac:spMkLst>
            <pc:docMk/>
            <pc:sldMk cId="2394862934" sldId="678"/>
            <ac:spMk id="145" creationId="{725EA0F7-5CA3-48C0-A6D1-B5CAE1E3CC27}"/>
          </ac:spMkLst>
        </pc:spChg>
        <pc:spChg chg="mod">
          <ac:chgData name="Falcão Lacerda, Rafael" userId="40181ff7-4694-4c53-a944-7b7d63582359" providerId="ADAL" clId="{3B4D5F63-EA56-4616-8A78-0C43AB7049E7}" dt="2025-12-08T00:26:36.446" v="4266" actId="947"/>
          <ac:spMkLst>
            <pc:docMk/>
            <pc:sldMk cId="2394862934" sldId="678"/>
            <ac:spMk id="146" creationId="{231F85B5-0EEF-47BC-9609-9F1B75A57FFA}"/>
          </ac:spMkLst>
        </pc:spChg>
        <pc:spChg chg="mod">
          <ac:chgData name="Falcão Lacerda, Rafael" userId="40181ff7-4694-4c53-a944-7b7d63582359" providerId="ADAL" clId="{3B4D5F63-EA56-4616-8A78-0C43AB7049E7}" dt="2025-12-08T00:26:36.446" v="4264" actId="947"/>
          <ac:spMkLst>
            <pc:docMk/>
            <pc:sldMk cId="2394862934" sldId="678"/>
            <ac:spMk id="147" creationId="{DD1782A1-58E0-41FE-9D8C-49FD90D7C655}"/>
          </ac:spMkLst>
        </pc:spChg>
        <pc:spChg chg="mod">
          <ac:chgData name="Falcão Lacerda, Rafael" userId="40181ff7-4694-4c53-a944-7b7d63582359" providerId="ADAL" clId="{3B4D5F63-EA56-4616-8A78-0C43AB7049E7}" dt="2025-12-08T00:26:36.400" v="4230" actId="947"/>
          <ac:spMkLst>
            <pc:docMk/>
            <pc:sldMk cId="2394862934" sldId="678"/>
            <ac:spMk id="149" creationId="{5DAA56AB-006C-4701-8B24-A882B2E1CAFD}"/>
          </ac:spMkLst>
        </pc:spChg>
        <pc:spChg chg="mod">
          <ac:chgData name="Falcão Lacerda, Rafael" userId="40181ff7-4694-4c53-a944-7b7d63582359" providerId="ADAL" clId="{3B4D5F63-EA56-4616-8A78-0C43AB7049E7}" dt="2025-12-08T00:26:36.400" v="4228" actId="947"/>
          <ac:spMkLst>
            <pc:docMk/>
            <pc:sldMk cId="2394862934" sldId="678"/>
            <ac:spMk id="150" creationId="{971D3652-23C4-4481-B18F-0AFD97505293}"/>
          </ac:spMkLst>
        </pc:spChg>
        <pc:spChg chg="mod">
          <ac:chgData name="Falcão Lacerda, Rafael" userId="40181ff7-4694-4c53-a944-7b7d63582359" providerId="ADAL" clId="{3B4D5F63-EA56-4616-8A78-0C43AB7049E7}" dt="2025-12-08T00:26:36.400" v="4226" actId="947"/>
          <ac:spMkLst>
            <pc:docMk/>
            <pc:sldMk cId="2394862934" sldId="678"/>
            <ac:spMk id="151" creationId="{7E29C959-EE9A-4F11-8541-7AD1D754B6E6}"/>
          </ac:spMkLst>
        </pc:spChg>
        <pc:spChg chg="mod">
          <ac:chgData name="Falcão Lacerda, Rafael" userId="40181ff7-4694-4c53-a944-7b7d63582359" providerId="ADAL" clId="{3B4D5F63-EA56-4616-8A78-0C43AB7049E7}" dt="2025-12-08T00:26:36.399" v="4224" actId="947"/>
          <ac:spMkLst>
            <pc:docMk/>
            <pc:sldMk cId="2394862934" sldId="678"/>
            <ac:spMk id="152" creationId="{C208FA36-384C-4C10-990E-3FCA80974BF0}"/>
          </ac:spMkLst>
        </pc:spChg>
        <pc:spChg chg="mod">
          <ac:chgData name="Falcão Lacerda, Rafael" userId="40181ff7-4694-4c53-a944-7b7d63582359" providerId="ADAL" clId="{3B4D5F63-EA56-4616-8A78-0C43AB7049E7}" dt="2025-12-08T00:26:36.392" v="4222" actId="947"/>
          <ac:spMkLst>
            <pc:docMk/>
            <pc:sldMk cId="2394862934" sldId="678"/>
            <ac:spMk id="153" creationId="{26AF11BC-14D8-4FEC-AA64-5C85072CAB57}"/>
          </ac:spMkLst>
        </pc:spChg>
        <pc:spChg chg="mod">
          <ac:chgData name="Falcão Lacerda, Rafael" userId="40181ff7-4694-4c53-a944-7b7d63582359" providerId="ADAL" clId="{3B4D5F63-EA56-4616-8A78-0C43AB7049E7}" dt="2025-12-08T00:26:36.392" v="4220" actId="947"/>
          <ac:spMkLst>
            <pc:docMk/>
            <pc:sldMk cId="2394862934" sldId="678"/>
            <ac:spMk id="155" creationId="{5D2E60A4-DA76-4905-A412-F1E5C13B1011}"/>
          </ac:spMkLst>
        </pc:spChg>
        <pc:spChg chg="mod">
          <ac:chgData name="Falcão Lacerda, Rafael" userId="40181ff7-4694-4c53-a944-7b7d63582359" providerId="ADAL" clId="{3B4D5F63-EA56-4616-8A78-0C43AB7049E7}" dt="2025-12-08T00:26:36.392" v="4218" actId="947"/>
          <ac:spMkLst>
            <pc:docMk/>
            <pc:sldMk cId="2394862934" sldId="678"/>
            <ac:spMk id="156" creationId="{5630AC40-1225-46B2-A600-F6484FEDB6F4}"/>
          </ac:spMkLst>
        </pc:spChg>
        <pc:spChg chg="mod">
          <ac:chgData name="Falcão Lacerda, Rafael" userId="40181ff7-4694-4c53-a944-7b7d63582359" providerId="ADAL" clId="{3B4D5F63-EA56-4616-8A78-0C43AB7049E7}" dt="2025-12-08T00:26:41.841" v="6329" actId="790"/>
          <ac:spMkLst>
            <pc:docMk/>
            <pc:sldMk cId="2394862934" sldId="678"/>
            <ac:spMk id="157" creationId="{D487BD9E-D0BE-4937-ADB8-F3ED8C6F41F9}"/>
          </ac:spMkLst>
        </pc:spChg>
        <pc:spChg chg="mod">
          <ac:chgData name="Falcão Lacerda, Rafael" userId="40181ff7-4694-4c53-a944-7b7d63582359" providerId="ADAL" clId="{3B4D5F63-EA56-4616-8A78-0C43AB7049E7}" dt="2025-12-08T00:26:36.383" v="4214" actId="947"/>
          <ac:spMkLst>
            <pc:docMk/>
            <pc:sldMk cId="2394862934" sldId="678"/>
            <ac:spMk id="158" creationId="{1FD9787C-CA2E-4D6D-AFF8-1AAE934757C1}"/>
          </ac:spMkLst>
        </pc:spChg>
        <pc:spChg chg="mod">
          <ac:chgData name="Falcão Lacerda, Rafael" userId="40181ff7-4694-4c53-a944-7b7d63582359" providerId="ADAL" clId="{3B4D5F63-EA56-4616-8A78-0C43AB7049E7}" dt="2025-12-08T00:26:36.383" v="4212" actId="947"/>
          <ac:spMkLst>
            <pc:docMk/>
            <pc:sldMk cId="2394862934" sldId="678"/>
            <ac:spMk id="159" creationId="{7CD0C498-5F8D-4378-B992-518AEE5F86F6}"/>
          </ac:spMkLst>
        </pc:spChg>
        <pc:spChg chg="mod">
          <ac:chgData name="Falcão Lacerda, Rafael" userId="40181ff7-4694-4c53-a944-7b7d63582359" providerId="ADAL" clId="{3B4D5F63-EA56-4616-8A78-0C43AB7049E7}" dt="2025-12-08T00:26:36.352" v="4194" actId="947"/>
          <ac:spMkLst>
            <pc:docMk/>
            <pc:sldMk cId="2394862934" sldId="678"/>
            <ac:spMk id="161" creationId="{92E00E90-E95C-45C5-ACB4-4D84E4211F47}"/>
          </ac:spMkLst>
        </pc:spChg>
        <pc:spChg chg="mod">
          <ac:chgData name="Falcão Lacerda, Rafael" userId="40181ff7-4694-4c53-a944-7b7d63582359" providerId="ADAL" clId="{3B4D5F63-EA56-4616-8A78-0C43AB7049E7}" dt="2025-12-08T00:26:36.352" v="4192" actId="947"/>
          <ac:spMkLst>
            <pc:docMk/>
            <pc:sldMk cId="2394862934" sldId="678"/>
            <ac:spMk id="162" creationId="{91FADC3D-BE56-4A4C-A43A-226123F17AF2}"/>
          </ac:spMkLst>
        </pc:spChg>
        <pc:spChg chg="mod">
          <ac:chgData name="Falcão Lacerda, Rafael" userId="40181ff7-4694-4c53-a944-7b7d63582359" providerId="ADAL" clId="{3B4D5F63-EA56-4616-8A78-0C43AB7049E7}" dt="2025-12-08T00:26:36.352" v="4190" actId="947"/>
          <ac:spMkLst>
            <pc:docMk/>
            <pc:sldMk cId="2394862934" sldId="678"/>
            <ac:spMk id="163" creationId="{9C89EAE9-19C1-49D4-8D3D-EEDD249D47AA}"/>
          </ac:spMkLst>
        </pc:spChg>
        <pc:spChg chg="mod">
          <ac:chgData name="Falcão Lacerda, Rafael" userId="40181ff7-4694-4c53-a944-7b7d63582359" providerId="ADAL" clId="{3B4D5F63-EA56-4616-8A78-0C43AB7049E7}" dt="2025-12-08T00:26:36.352" v="4188" actId="947"/>
          <ac:spMkLst>
            <pc:docMk/>
            <pc:sldMk cId="2394862934" sldId="678"/>
            <ac:spMk id="164" creationId="{4B0967B3-62B0-49CA-88BF-1988B5744EDD}"/>
          </ac:spMkLst>
        </pc:spChg>
        <pc:spChg chg="mod">
          <ac:chgData name="Falcão Lacerda, Rafael" userId="40181ff7-4694-4c53-a944-7b7d63582359" providerId="ADAL" clId="{3B4D5F63-EA56-4616-8A78-0C43AB7049E7}" dt="2025-12-08T00:26:36.336" v="4186" actId="947"/>
          <ac:spMkLst>
            <pc:docMk/>
            <pc:sldMk cId="2394862934" sldId="678"/>
            <ac:spMk id="165" creationId="{6D939935-CAD8-471F-9F63-5DDBB48A09C3}"/>
          </ac:spMkLst>
        </pc:spChg>
        <pc:spChg chg="mod">
          <ac:chgData name="Falcão Lacerda, Rafael" userId="40181ff7-4694-4c53-a944-7b7d63582359" providerId="ADAL" clId="{3B4D5F63-EA56-4616-8A78-0C43AB7049E7}" dt="2025-12-08T00:26:36.477" v="4294" actId="947"/>
          <ac:spMkLst>
            <pc:docMk/>
            <pc:sldMk cId="2394862934" sldId="678"/>
            <ac:spMk id="167" creationId="{834EE302-F301-472D-A760-A805F4D13D9B}"/>
          </ac:spMkLst>
        </pc:spChg>
        <pc:spChg chg="mod">
          <ac:chgData name="Falcão Lacerda, Rafael" userId="40181ff7-4694-4c53-a944-7b7d63582359" providerId="ADAL" clId="{3B4D5F63-EA56-4616-8A78-0C43AB7049E7}" dt="2025-12-08T00:26:36.336" v="4184" actId="947"/>
          <ac:spMkLst>
            <pc:docMk/>
            <pc:sldMk cId="2394862934" sldId="678"/>
            <ac:spMk id="169" creationId="{B4EE9576-4018-43E2-9301-D2BB0961C790}"/>
          </ac:spMkLst>
        </pc:spChg>
        <pc:spChg chg="mod">
          <ac:chgData name="Falcão Lacerda, Rafael" userId="40181ff7-4694-4c53-a944-7b7d63582359" providerId="ADAL" clId="{3B4D5F63-EA56-4616-8A78-0C43AB7049E7}" dt="2025-12-08T00:26:36.512" v="4320" actId="947"/>
          <ac:spMkLst>
            <pc:docMk/>
            <pc:sldMk cId="2394862934" sldId="678"/>
            <ac:spMk id="171" creationId="{DD67D942-B7DE-4E0E-8CEF-913465DC680F}"/>
          </ac:spMkLst>
        </pc:spChg>
        <pc:spChg chg="mod">
          <ac:chgData name="Falcão Lacerda, Rafael" userId="40181ff7-4694-4c53-a944-7b7d63582359" providerId="ADAL" clId="{3B4D5F63-EA56-4616-8A78-0C43AB7049E7}" dt="2025-12-08T00:26:36.376" v="4210" actId="947"/>
          <ac:spMkLst>
            <pc:docMk/>
            <pc:sldMk cId="2394862934" sldId="678"/>
            <ac:spMk id="173" creationId="{D39653E9-5554-4406-B3FB-A5C411B09597}"/>
          </ac:spMkLst>
        </pc:spChg>
        <pc:spChg chg="mod">
          <ac:chgData name="Falcão Lacerda, Rafael" userId="40181ff7-4694-4c53-a944-7b7d63582359" providerId="ADAL" clId="{3B4D5F63-EA56-4616-8A78-0C43AB7049E7}" dt="2025-12-08T00:26:36.542" v="4346" actId="947"/>
          <ac:spMkLst>
            <pc:docMk/>
            <pc:sldMk cId="2394862934" sldId="678"/>
            <ac:spMk id="175" creationId="{5C8BE007-ABF7-45BC-8E23-AB3A0542B722}"/>
          </ac:spMkLst>
        </pc:spChg>
        <pc:spChg chg="mod">
          <ac:chgData name="Falcão Lacerda, Rafael" userId="40181ff7-4694-4c53-a944-7b7d63582359" providerId="ADAL" clId="{3B4D5F63-EA56-4616-8A78-0C43AB7049E7}" dt="2025-12-08T00:26:36.415" v="4240" actId="947"/>
          <ac:spMkLst>
            <pc:docMk/>
            <pc:sldMk cId="2394862934" sldId="678"/>
            <ac:spMk id="177" creationId="{E80F4484-4A44-40EA-AA87-EFCD2E5CA733}"/>
          </ac:spMkLst>
        </pc:spChg>
        <pc:spChg chg="mod">
          <ac:chgData name="Falcão Lacerda, Rafael" userId="40181ff7-4694-4c53-a944-7b7d63582359" providerId="ADAL" clId="{3B4D5F63-EA56-4616-8A78-0C43AB7049E7}" dt="2025-12-08T00:26:36.573" v="4372" actId="947"/>
          <ac:spMkLst>
            <pc:docMk/>
            <pc:sldMk cId="2394862934" sldId="678"/>
            <ac:spMk id="179" creationId="{ACCF39CD-7E62-464A-82FB-3ADAFF4794DE}"/>
          </ac:spMkLst>
        </pc:spChg>
        <pc:spChg chg="mod">
          <ac:chgData name="Falcão Lacerda, Rafael" userId="40181ff7-4694-4c53-a944-7b7d63582359" providerId="ADAL" clId="{3B4D5F63-EA56-4616-8A78-0C43AB7049E7}" dt="2025-12-08T00:26:36.446" v="4262" actId="947"/>
          <ac:spMkLst>
            <pc:docMk/>
            <pc:sldMk cId="2394862934" sldId="678"/>
            <ac:spMk id="181" creationId="{CA4E285A-DBF7-4B98-A089-019CA899DC6C}"/>
          </ac:spMkLst>
        </pc:spChg>
        <pc:spChg chg="mod">
          <ac:chgData name="Falcão Lacerda, Rafael" userId="40181ff7-4694-4c53-a944-7b7d63582359" providerId="ADAL" clId="{3B4D5F63-EA56-4616-8A78-0C43AB7049E7}" dt="2025-12-08T00:26:36.592" v="4398" actId="947"/>
          <ac:spMkLst>
            <pc:docMk/>
            <pc:sldMk cId="2394862934" sldId="678"/>
            <ac:spMk id="183" creationId="{056D1FD5-39AC-487C-9C97-0637DBBE732D}"/>
          </ac:spMkLst>
        </pc:spChg>
        <pc:spChg chg="mod">
          <ac:chgData name="Falcão Lacerda, Rafael" userId="40181ff7-4694-4c53-a944-7b7d63582359" providerId="ADAL" clId="{3B4D5F63-EA56-4616-8A78-0C43AB7049E7}" dt="2025-12-08T00:26:36.477" v="4288" actId="947"/>
          <ac:spMkLst>
            <pc:docMk/>
            <pc:sldMk cId="2394862934" sldId="678"/>
            <ac:spMk id="185" creationId="{DBC87270-3B4D-4973-987D-F0A8492C2199}"/>
          </ac:spMkLst>
        </pc:spChg>
        <pc:spChg chg="mod">
          <ac:chgData name="Falcão Lacerda, Rafael" userId="40181ff7-4694-4c53-a944-7b7d63582359" providerId="ADAL" clId="{3B4D5F63-EA56-4616-8A78-0C43AB7049E7}" dt="2025-12-08T00:26:36.415" v="4238" actId="947"/>
          <ac:spMkLst>
            <pc:docMk/>
            <pc:sldMk cId="2394862934" sldId="678"/>
            <ac:spMk id="187" creationId="{A6C749F8-9A51-4EB8-AEC7-B2FBBA3ACA12}"/>
          </ac:spMkLst>
        </pc:spChg>
        <pc:spChg chg="mod">
          <ac:chgData name="Falcão Lacerda, Rafael" userId="40181ff7-4694-4c53-a944-7b7d63582359" providerId="ADAL" clId="{3B4D5F63-EA56-4616-8A78-0C43AB7049E7}" dt="2025-12-08T00:26:36.415" v="4236" actId="947"/>
          <ac:spMkLst>
            <pc:docMk/>
            <pc:sldMk cId="2394862934" sldId="678"/>
            <ac:spMk id="188" creationId="{BB2B6A05-26CC-4A65-80DD-5DE056486C6E}"/>
          </ac:spMkLst>
        </pc:spChg>
        <pc:graphicFrameChg chg="add mod ord modVis">
          <ac:chgData name="Falcão Lacerda, Rafael" userId="40181ff7-4694-4c53-a944-7b7d63582359" providerId="ADAL" clId="{3B4D5F63-EA56-4616-8A78-0C43AB7049E7}" dt="2025-12-08T00:26:52.485" v="10131"/>
          <ac:graphicFrameMkLst>
            <pc:docMk/>
            <pc:sldMk cId="2394862934" sldId="678"/>
            <ac:graphicFrameMk id="10" creationId="{E751B896-2A51-B4D8-4138-CAE4C173B4A4}"/>
          </ac:graphicFrameMkLst>
        </pc:graphicFrameChg>
      </pc:sldChg>
      <pc:sldChg chg="addSp modSp mod modShow modNotes">
        <pc:chgData name="Falcão Lacerda, Rafael" userId="40181ff7-4694-4c53-a944-7b7d63582359" providerId="ADAL" clId="{3B4D5F63-EA56-4616-8A78-0C43AB7049E7}" dt="2025-12-08T17:18:13.731" v="34035" actId="729"/>
        <pc:sldMkLst>
          <pc:docMk/>
          <pc:sldMk cId="2950670021" sldId="680"/>
        </pc:sldMkLst>
        <pc:spChg chg="mod">
          <ac:chgData name="Falcão Lacerda, Rafael" userId="40181ff7-4694-4c53-a944-7b7d63582359" providerId="ADAL" clId="{3B4D5F63-EA56-4616-8A78-0C43AB7049E7}" dt="2025-12-08T00:26:45.532" v="7516" actId="948"/>
          <ac:spMkLst>
            <pc:docMk/>
            <pc:sldMk cId="2950670021" sldId="680"/>
            <ac:spMk id="2" creationId="{4A56D9CB-5F67-45AE-8FBF-00D78E537DAA}"/>
          </ac:spMkLst>
        </pc:spChg>
        <pc:spChg chg="mod">
          <ac:chgData name="Falcão Lacerda, Rafael" userId="40181ff7-4694-4c53-a944-7b7d63582359" providerId="ADAL" clId="{3B4D5F63-EA56-4616-8A78-0C43AB7049E7}" dt="2025-12-08T00:26:41.841" v="6329" actId="790"/>
          <ac:spMkLst>
            <pc:docMk/>
            <pc:sldMk cId="2950670021" sldId="680"/>
            <ac:spMk id="106" creationId="{939628A0-FC0B-432B-AA14-6AC77A81FEA2}"/>
          </ac:spMkLst>
        </pc:spChg>
        <pc:spChg chg="mod">
          <ac:chgData name="Falcão Lacerda, Rafael" userId="40181ff7-4694-4c53-a944-7b7d63582359" providerId="ADAL" clId="{3B4D5F63-EA56-4616-8A78-0C43AB7049E7}" dt="2025-12-08T00:26:35.908" v="3854" actId="947"/>
          <ac:spMkLst>
            <pc:docMk/>
            <pc:sldMk cId="2950670021" sldId="680"/>
            <ac:spMk id="107" creationId="{B11CF8EA-EC22-4361-8D8C-0DFF6780B18C}"/>
          </ac:spMkLst>
        </pc:spChg>
        <pc:spChg chg="mod">
          <ac:chgData name="Falcão Lacerda, Rafael" userId="40181ff7-4694-4c53-a944-7b7d63582359" providerId="ADAL" clId="{3B4D5F63-EA56-4616-8A78-0C43AB7049E7}" dt="2025-12-08T00:26:35.908" v="3852" actId="947"/>
          <ac:spMkLst>
            <pc:docMk/>
            <pc:sldMk cId="2950670021" sldId="680"/>
            <ac:spMk id="108" creationId="{29C59A0F-3D58-409C-82E9-A5218A8A6294}"/>
          </ac:spMkLst>
        </pc:spChg>
        <pc:spChg chg="mod">
          <ac:chgData name="Falcão Lacerda, Rafael" userId="40181ff7-4694-4c53-a944-7b7d63582359" providerId="ADAL" clId="{3B4D5F63-EA56-4616-8A78-0C43AB7049E7}" dt="2025-12-08T00:26:35.827" v="3794" actId="947"/>
          <ac:spMkLst>
            <pc:docMk/>
            <pc:sldMk cId="2950670021" sldId="680"/>
            <ac:spMk id="109" creationId="{1C2F1960-1A16-47B3-B60F-54F29B01F8F0}"/>
          </ac:spMkLst>
        </pc:spChg>
        <pc:spChg chg="mod">
          <ac:chgData name="Falcão Lacerda, Rafael" userId="40181ff7-4694-4c53-a944-7b7d63582359" providerId="ADAL" clId="{3B4D5F63-EA56-4616-8A78-0C43AB7049E7}" dt="2025-12-08T00:26:35.827" v="3792" actId="947"/>
          <ac:spMkLst>
            <pc:docMk/>
            <pc:sldMk cId="2950670021" sldId="680"/>
            <ac:spMk id="110" creationId="{CBD0AFBE-9758-471C-B31F-27F11F5F23E4}"/>
          </ac:spMkLst>
        </pc:spChg>
        <pc:spChg chg="mod">
          <ac:chgData name="Falcão Lacerda, Rafael" userId="40181ff7-4694-4c53-a944-7b7d63582359" providerId="ADAL" clId="{3B4D5F63-EA56-4616-8A78-0C43AB7049E7}" dt="2025-12-08T00:26:41.841" v="6329" actId="790"/>
          <ac:spMkLst>
            <pc:docMk/>
            <pc:sldMk cId="2950670021" sldId="680"/>
            <ac:spMk id="111" creationId="{E719509B-8C28-4217-A14B-6B31DF1C2EC4}"/>
          </ac:spMkLst>
        </pc:spChg>
        <pc:spChg chg="mod">
          <ac:chgData name="Falcão Lacerda, Rafael" userId="40181ff7-4694-4c53-a944-7b7d63582359" providerId="ADAL" clId="{3B4D5F63-EA56-4616-8A78-0C43AB7049E7}" dt="2025-12-08T00:26:35.938" v="3870" actId="947"/>
          <ac:spMkLst>
            <pc:docMk/>
            <pc:sldMk cId="2950670021" sldId="680"/>
            <ac:spMk id="112" creationId="{A1E2320C-D657-41B2-A3A5-0D8F2ED21345}"/>
          </ac:spMkLst>
        </pc:spChg>
        <pc:spChg chg="mod">
          <ac:chgData name="Falcão Lacerda, Rafael" userId="40181ff7-4694-4c53-a944-7b7d63582359" providerId="ADAL" clId="{3B4D5F63-EA56-4616-8A78-0C43AB7049E7}" dt="2025-12-08T00:26:35.923" v="3868" actId="947"/>
          <ac:spMkLst>
            <pc:docMk/>
            <pc:sldMk cId="2950670021" sldId="680"/>
            <ac:spMk id="113" creationId="{37527245-06E5-48E6-BFE5-BBBC09DC5394}"/>
          </ac:spMkLst>
        </pc:spChg>
        <pc:spChg chg="mod">
          <ac:chgData name="Falcão Lacerda, Rafael" userId="40181ff7-4694-4c53-a944-7b7d63582359" providerId="ADAL" clId="{3B4D5F63-EA56-4616-8A78-0C43AB7049E7}" dt="2025-12-08T00:26:35.923" v="3866" actId="947"/>
          <ac:spMkLst>
            <pc:docMk/>
            <pc:sldMk cId="2950670021" sldId="680"/>
            <ac:spMk id="114" creationId="{12C07D3A-8B63-470F-82E0-C5B1C156E005}"/>
          </ac:spMkLst>
        </pc:spChg>
        <pc:spChg chg="mod">
          <ac:chgData name="Falcão Lacerda, Rafael" userId="40181ff7-4694-4c53-a944-7b7d63582359" providerId="ADAL" clId="{3B4D5F63-EA56-4616-8A78-0C43AB7049E7}" dt="2025-12-08T00:26:35.859" v="3808" actId="947"/>
          <ac:spMkLst>
            <pc:docMk/>
            <pc:sldMk cId="2950670021" sldId="680"/>
            <ac:spMk id="115" creationId="{EA44A921-A595-4AC8-B8EE-097B764B6F38}"/>
          </ac:spMkLst>
        </pc:spChg>
        <pc:spChg chg="mod">
          <ac:chgData name="Falcão Lacerda, Rafael" userId="40181ff7-4694-4c53-a944-7b7d63582359" providerId="ADAL" clId="{3B4D5F63-EA56-4616-8A78-0C43AB7049E7}" dt="2025-12-08T00:26:35.844" v="3806" actId="947"/>
          <ac:spMkLst>
            <pc:docMk/>
            <pc:sldMk cId="2950670021" sldId="680"/>
            <ac:spMk id="116" creationId="{1F311E0F-F37E-4A57-9EB9-D88089D01C41}"/>
          </ac:spMkLst>
        </pc:spChg>
        <pc:spChg chg="mod">
          <ac:chgData name="Falcão Lacerda, Rafael" userId="40181ff7-4694-4c53-a944-7b7d63582359" providerId="ADAL" clId="{3B4D5F63-EA56-4616-8A78-0C43AB7049E7}" dt="2025-12-08T00:26:35.844" v="3804" actId="947"/>
          <ac:spMkLst>
            <pc:docMk/>
            <pc:sldMk cId="2950670021" sldId="680"/>
            <ac:spMk id="117" creationId="{E54896B0-D8FC-4D72-808F-2BAD0DE3ABFE}"/>
          </ac:spMkLst>
        </pc:spChg>
        <pc:spChg chg="mod">
          <ac:chgData name="Falcão Lacerda, Rafael" userId="40181ff7-4694-4c53-a944-7b7d63582359" providerId="ADAL" clId="{3B4D5F63-EA56-4616-8A78-0C43AB7049E7}" dt="2025-12-08T00:26:41.841" v="6329" actId="790"/>
          <ac:spMkLst>
            <pc:docMk/>
            <pc:sldMk cId="2950670021" sldId="680"/>
            <ac:spMk id="118" creationId="{BCEA5465-4F4C-4BAE-BED3-B11A9D79DB92}"/>
          </ac:spMkLst>
        </pc:spChg>
        <pc:spChg chg="mod">
          <ac:chgData name="Falcão Lacerda, Rafael" userId="40181ff7-4694-4c53-a944-7b7d63582359" providerId="ADAL" clId="{3B4D5F63-EA56-4616-8A78-0C43AB7049E7}" dt="2025-12-08T00:26:35.955" v="3882" actId="947"/>
          <ac:spMkLst>
            <pc:docMk/>
            <pc:sldMk cId="2950670021" sldId="680"/>
            <ac:spMk id="119" creationId="{8D3A17AD-6628-493C-B760-B4D09791C0DD}"/>
          </ac:spMkLst>
        </pc:spChg>
        <pc:spChg chg="mod">
          <ac:chgData name="Falcão Lacerda, Rafael" userId="40181ff7-4694-4c53-a944-7b7d63582359" providerId="ADAL" clId="{3B4D5F63-EA56-4616-8A78-0C43AB7049E7}" dt="2025-12-08T00:26:35.955" v="3880" actId="947"/>
          <ac:spMkLst>
            <pc:docMk/>
            <pc:sldMk cId="2950670021" sldId="680"/>
            <ac:spMk id="120" creationId="{EAF100D6-1017-4FF4-A7D6-A3C373B8E8BE}"/>
          </ac:spMkLst>
        </pc:spChg>
        <pc:spChg chg="mod">
          <ac:chgData name="Falcão Lacerda, Rafael" userId="40181ff7-4694-4c53-a944-7b7d63582359" providerId="ADAL" clId="{3B4D5F63-EA56-4616-8A78-0C43AB7049E7}" dt="2025-12-08T00:26:35.875" v="3822" actId="947"/>
          <ac:spMkLst>
            <pc:docMk/>
            <pc:sldMk cId="2950670021" sldId="680"/>
            <ac:spMk id="121" creationId="{96A2F4A6-D918-4DB2-9091-F92B30B46D65}"/>
          </ac:spMkLst>
        </pc:spChg>
        <pc:spChg chg="mod">
          <ac:chgData name="Falcão Lacerda, Rafael" userId="40181ff7-4694-4c53-a944-7b7d63582359" providerId="ADAL" clId="{3B4D5F63-EA56-4616-8A78-0C43AB7049E7}" dt="2025-12-08T00:26:35.859" v="3820" actId="947"/>
          <ac:spMkLst>
            <pc:docMk/>
            <pc:sldMk cId="2950670021" sldId="680"/>
            <ac:spMk id="122" creationId="{2E357912-9350-46AE-9991-DADAE3EA0904}"/>
          </ac:spMkLst>
        </pc:spChg>
        <pc:spChg chg="mod">
          <ac:chgData name="Falcão Lacerda, Rafael" userId="40181ff7-4694-4c53-a944-7b7d63582359" providerId="ADAL" clId="{3B4D5F63-EA56-4616-8A78-0C43AB7049E7}" dt="2025-12-08T00:26:35.859" v="3818" actId="947"/>
          <ac:spMkLst>
            <pc:docMk/>
            <pc:sldMk cId="2950670021" sldId="680"/>
            <ac:spMk id="123" creationId="{A5F8387A-C971-4F28-A39B-1A24465CF91F}"/>
          </ac:spMkLst>
        </pc:spChg>
        <pc:spChg chg="mod">
          <ac:chgData name="Falcão Lacerda, Rafael" userId="40181ff7-4694-4c53-a944-7b7d63582359" providerId="ADAL" clId="{3B4D5F63-EA56-4616-8A78-0C43AB7049E7}" dt="2025-12-08T00:26:35.971" v="3898" actId="947"/>
          <ac:spMkLst>
            <pc:docMk/>
            <pc:sldMk cId="2950670021" sldId="680"/>
            <ac:spMk id="124" creationId="{637BE6E7-0034-460D-8A39-649CEC68B8A3}"/>
          </ac:spMkLst>
        </pc:spChg>
        <pc:spChg chg="mod">
          <ac:chgData name="Falcão Lacerda, Rafael" userId="40181ff7-4694-4c53-a944-7b7d63582359" providerId="ADAL" clId="{3B4D5F63-EA56-4616-8A78-0C43AB7049E7}" dt="2025-12-08T00:26:35.971" v="3896" actId="947"/>
          <ac:spMkLst>
            <pc:docMk/>
            <pc:sldMk cId="2950670021" sldId="680"/>
            <ac:spMk id="125" creationId="{D9603747-B123-49A9-93CB-847ADC489A69}"/>
          </ac:spMkLst>
        </pc:spChg>
        <pc:spChg chg="mod">
          <ac:chgData name="Falcão Lacerda, Rafael" userId="40181ff7-4694-4c53-a944-7b7d63582359" providerId="ADAL" clId="{3B4D5F63-EA56-4616-8A78-0C43AB7049E7}" dt="2025-12-08T00:26:35.971" v="3894" actId="947"/>
          <ac:spMkLst>
            <pc:docMk/>
            <pc:sldMk cId="2950670021" sldId="680"/>
            <ac:spMk id="126" creationId="{250EDA71-C321-45E5-BAAD-DC76C10975B0}"/>
          </ac:spMkLst>
        </pc:spChg>
        <pc:spChg chg="mod">
          <ac:chgData name="Falcão Lacerda, Rafael" userId="40181ff7-4694-4c53-a944-7b7d63582359" providerId="ADAL" clId="{3B4D5F63-EA56-4616-8A78-0C43AB7049E7}" dt="2025-12-08T00:26:35.891" v="3836" actId="947"/>
          <ac:spMkLst>
            <pc:docMk/>
            <pc:sldMk cId="2950670021" sldId="680"/>
            <ac:spMk id="127" creationId="{F0755349-9BC4-43BB-8084-67338EF9DAC8}"/>
          </ac:spMkLst>
        </pc:spChg>
        <pc:spChg chg="mod">
          <ac:chgData name="Falcão Lacerda, Rafael" userId="40181ff7-4694-4c53-a944-7b7d63582359" providerId="ADAL" clId="{3B4D5F63-EA56-4616-8A78-0C43AB7049E7}" dt="2025-12-08T00:26:35.891" v="3834" actId="947"/>
          <ac:spMkLst>
            <pc:docMk/>
            <pc:sldMk cId="2950670021" sldId="680"/>
            <ac:spMk id="128" creationId="{A5FC1693-47F7-4F74-9C28-E6EF340A173E}"/>
          </ac:spMkLst>
        </pc:spChg>
        <pc:spChg chg="mod">
          <ac:chgData name="Falcão Lacerda, Rafael" userId="40181ff7-4694-4c53-a944-7b7d63582359" providerId="ADAL" clId="{3B4D5F63-EA56-4616-8A78-0C43AB7049E7}" dt="2025-12-08T00:26:35.875" v="3832" actId="947"/>
          <ac:spMkLst>
            <pc:docMk/>
            <pc:sldMk cId="2950670021" sldId="680"/>
            <ac:spMk id="129" creationId="{F226D147-6C0D-4E0C-987B-93A920407596}"/>
          </ac:spMkLst>
        </pc:spChg>
        <pc:spChg chg="mod">
          <ac:chgData name="Falcão Lacerda, Rafael" userId="40181ff7-4694-4c53-a944-7b7d63582359" providerId="ADAL" clId="{3B4D5F63-EA56-4616-8A78-0C43AB7049E7}" dt="2025-12-08T00:26:35.987" v="3902" actId="947"/>
          <ac:spMkLst>
            <pc:docMk/>
            <pc:sldMk cId="2950670021" sldId="680"/>
            <ac:spMk id="130" creationId="{7DBAA2FF-59E0-4CD7-A060-B8D3E9D54C6D}"/>
          </ac:spMkLst>
        </pc:spChg>
        <pc:spChg chg="mod">
          <ac:chgData name="Falcão Lacerda, Rafael" userId="40181ff7-4694-4c53-a944-7b7d63582359" providerId="ADAL" clId="{3B4D5F63-EA56-4616-8A78-0C43AB7049E7}" dt="2025-12-08T00:26:35.987" v="3900" actId="947"/>
          <ac:spMkLst>
            <pc:docMk/>
            <pc:sldMk cId="2950670021" sldId="680"/>
            <ac:spMk id="131" creationId="{2B248F0E-5076-4F34-991C-E3E4B69A2E88}"/>
          </ac:spMkLst>
        </pc:spChg>
        <pc:spChg chg="mod">
          <ac:chgData name="Falcão Lacerda, Rafael" userId="40181ff7-4694-4c53-a944-7b7d63582359" providerId="ADAL" clId="{3B4D5F63-EA56-4616-8A78-0C43AB7049E7}" dt="2025-12-08T00:26:35.991" v="3904" actId="947"/>
          <ac:spMkLst>
            <pc:docMk/>
            <pc:sldMk cId="2950670021" sldId="680"/>
            <ac:spMk id="132" creationId="{FC60E29A-DE9B-48E3-9912-FE0D7B8CB6AC}"/>
          </ac:spMkLst>
        </pc:spChg>
        <pc:spChg chg="mod">
          <ac:chgData name="Falcão Lacerda, Rafael" userId="40181ff7-4694-4c53-a944-7b7d63582359" providerId="ADAL" clId="{3B4D5F63-EA56-4616-8A78-0C43AB7049E7}" dt="2025-12-08T00:26:35.891" v="3842" actId="947"/>
          <ac:spMkLst>
            <pc:docMk/>
            <pc:sldMk cId="2950670021" sldId="680"/>
            <ac:spMk id="133" creationId="{67D502E3-0509-4724-8124-919975965091}"/>
          </ac:spMkLst>
        </pc:spChg>
        <pc:spChg chg="mod">
          <ac:chgData name="Falcão Lacerda, Rafael" userId="40181ff7-4694-4c53-a944-7b7d63582359" providerId="ADAL" clId="{3B4D5F63-EA56-4616-8A78-0C43AB7049E7}" dt="2025-12-08T00:26:35.891" v="3840" actId="947"/>
          <ac:spMkLst>
            <pc:docMk/>
            <pc:sldMk cId="2950670021" sldId="680"/>
            <ac:spMk id="134" creationId="{C5FCCFF8-B330-4A32-A2A1-C494038193B4}"/>
          </ac:spMkLst>
        </pc:spChg>
        <pc:spChg chg="mod">
          <ac:chgData name="Falcão Lacerda, Rafael" userId="40181ff7-4694-4c53-a944-7b7d63582359" providerId="ADAL" clId="{3B4D5F63-EA56-4616-8A78-0C43AB7049E7}" dt="2025-12-08T00:26:35.891" v="3838" actId="947"/>
          <ac:spMkLst>
            <pc:docMk/>
            <pc:sldMk cId="2950670021" sldId="680"/>
            <ac:spMk id="135" creationId="{FF35B9FB-7FA3-4A24-A1F9-0B91636ACDB5}"/>
          </ac:spMkLst>
        </pc:spChg>
        <pc:spChg chg="mod">
          <ac:chgData name="Falcão Lacerda, Rafael" userId="40181ff7-4694-4c53-a944-7b7d63582359" providerId="ADAL" clId="{3B4D5F63-EA56-4616-8A78-0C43AB7049E7}" dt="2025-12-08T00:26:35.812" v="3780" actId="947"/>
          <ac:spMkLst>
            <pc:docMk/>
            <pc:sldMk cId="2950670021" sldId="680"/>
            <ac:spMk id="137" creationId="{19CA594C-CE1D-4332-9CFD-4CCFF72AC73C}"/>
          </ac:spMkLst>
        </pc:spChg>
        <pc:spChg chg="mod">
          <ac:chgData name="Falcão Lacerda, Rafael" userId="40181ff7-4694-4c53-a944-7b7d63582359" providerId="ADAL" clId="{3B4D5F63-EA56-4616-8A78-0C43AB7049E7}" dt="2025-12-08T00:26:35.812" v="3778" actId="947"/>
          <ac:spMkLst>
            <pc:docMk/>
            <pc:sldMk cId="2950670021" sldId="680"/>
            <ac:spMk id="139" creationId="{EEEF3F4D-5426-47B9-B75D-B7440BCDC2A8}"/>
          </ac:spMkLst>
        </pc:spChg>
        <pc:spChg chg="mod">
          <ac:chgData name="Falcão Lacerda, Rafael" userId="40181ff7-4694-4c53-a944-7b7d63582359" providerId="ADAL" clId="{3B4D5F63-EA56-4616-8A78-0C43AB7049E7}" dt="2025-12-08T00:26:41.841" v="6329" actId="790"/>
          <ac:spMkLst>
            <pc:docMk/>
            <pc:sldMk cId="2950670021" sldId="680"/>
            <ac:spMk id="140" creationId="{3CF7DF2A-6E9A-44C0-AB09-A083C14C0D27}"/>
          </ac:spMkLst>
        </pc:spChg>
        <pc:spChg chg="mod">
          <ac:chgData name="Falcão Lacerda, Rafael" userId="40181ff7-4694-4c53-a944-7b7d63582359" providerId="ADAL" clId="{3B4D5F63-EA56-4616-8A78-0C43AB7049E7}" dt="2025-12-08T00:26:35.796" v="3770" actId="947"/>
          <ac:spMkLst>
            <pc:docMk/>
            <pc:sldMk cId="2950670021" sldId="680"/>
            <ac:spMk id="142" creationId="{EFA6DA67-1542-43BC-A22A-1862C98C4762}"/>
          </ac:spMkLst>
        </pc:spChg>
        <pc:spChg chg="mod">
          <ac:chgData name="Falcão Lacerda, Rafael" userId="40181ff7-4694-4c53-a944-7b7d63582359" providerId="ADAL" clId="{3B4D5F63-EA56-4616-8A78-0C43AB7049E7}" dt="2025-12-08T00:26:35.765" v="3756" actId="947"/>
          <ac:spMkLst>
            <pc:docMk/>
            <pc:sldMk cId="2950670021" sldId="680"/>
            <ac:spMk id="143" creationId="{A7EBF1C8-D3FD-40DA-9D4E-4DE3F9D68525}"/>
          </ac:spMkLst>
        </pc:spChg>
        <pc:spChg chg="mod">
          <ac:chgData name="Falcão Lacerda, Rafael" userId="40181ff7-4694-4c53-a944-7b7d63582359" providerId="ADAL" clId="{3B4D5F63-EA56-4616-8A78-0C43AB7049E7}" dt="2025-12-08T00:26:35.765" v="3754" actId="947"/>
          <ac:spMkLst>
            <pc:docMk/>
            <pc:sldMk cId="2950670021" sldId="680"/>
            <ac:spMk id="145" creationId="{423DF92F-E5FC-45AB-8A3A-AA65CEEA4EA2}"/>
          </ac:spMkLst>
        </pc:spChg>
        <pc:spChg chg="mod">
          <ac:chgData name="Falcão Lacerda, Rafael" userId="40181ff7-4694-4c53-a944-7b7d63582359" providerId="ADAL" clId="{3B4D5F63-EA56-4616-8A78-0C43AB7049E7}" dt="2025-12-08T00:26:35.780" v="3764" actId="947"/>
          <ac:spMkLst>
            <pc:docMk/>
            <pc:sldMk cId="2950670021" sldId="680"/>
            <ac:spMk id="146" creationId="{674128CB-0F3F-4CDF-B75C-79BCEE9522F8}"/>
          </ac:spMkLst>
        </pc:spChg>
        <pc:spChg chg="mod">
          <ac:chgData name="Falcão Lacerda, Rafael" userId="40181ff7-4694-4c53-a944-7b7d63582359" providerId="ADAL" clId="{3B4D5F63-EA56-4616-8A78-0C43AB7049E7}" dt="2025-12-08T00:26:35.780" v="3762" actId="947"/>
          <ac:spMkLst>
            <pc:docMk/>
            <pc:sldMk cId="2950670021" sldId="680"/>
            <ac:spMk id="148" creationId="{EC2F074A-60AE-4325-A8C6-75D690B8B749}"/>
          </ac:spMkLst>
        </pc:spChg>
        <pc:spChg chg="mod">
          <ac:chgData name="Falcão Lacerda, Rafael" userId="40181ff7-4694-4c53-a944-7b7d63582359" providerId="ADAL" clId="{3B4D5F63-EA56-4616-8A78-0C43AB7049E7}" dt="2025-12-08T00:26:35.749" v="3748" actId="947"/>
          <ac:spMkLst>
            <pc:docMk/>
            <pc:sldMk cId="2950670021" sldId="680"/>
            <ac:spMk id="150" creationId="{B3754EE3-791D-4688-AA7D-736F92D2019B}"/>
          </ac:spMkLst>
        </pc:spChg>
        <pc:spChg chg="mod">
          <ac:chgData name="Falcão Lacerda, Rafael" userId="40181ff7-4694-4c53-a944-7b7d63582359" providerId="ADAL" clId="{3B4D5F63-EA56-4616-8A78-0C43AB7049E7}" dt="2025-12-08T00:26:35.749" v="3746" actId="947"/>
          <ac:spMkLst>
            <pc:docMk/>
            <pc:sldMk cId="2950670021" sldId="680"/>
            <ac:spMk id="151" creationId="{A057E81D-9BBC-445E-8C97-EDEA684B2514}"/>
          </ac:spMkLst>
        </pc:spChg>
        <pc:spChg chg="mod">
          <ac:chgData name="Falcão Lacerda, Rafael" userId="40181ff7-4694-4c53-a944-7b7d63582359" providerId="ADAL" clId="{3B4D5F63-EA56-4616-8A78-0C43AB7049E7}" dt="2025-12-08T00:26:35.971" v="3892" actId="947"/>
          <ac:spMkLst>
            <pc:docMk/>
            <pc:sldMk cId="2950670021" sldId="680"/>
            <ac:spMk id="159" creationId="{7B5641EA-2716-4304-8CD9-C16FAFBBD59C}"/>
          </ac:spMkLst>
        </pc:spChg>
        <pc:spChg chg="mod">
          <ac:chgData name="Falcão Lacerda, Rafael" userId="40181ff7-4694-4c53-a944-7b7d63582359" providerId="ADAL" clId="{3B4D5F63-EA56-4616-8A78-0C43AB7049E7}" dt="2025-12-08T00:26:35.971" v="3890" actId="947"/>
          <ac:spMkLst>
            <pc:docMk/>
            <pc:sldMk cId="2950670021" sldId="680"/>
            <ac:spMk id="160" creationId="{CBB0DA26-4C54-4912-8622-DA9D68F67AA6}"/>
          </ac:spMkLst>
        </pc:spChg>
        <pc:spChg chg="mod">
          <ac:chgData name="Falcão Lacerda, Rafael" userId="40181ff7-4694-4c53-a944-7b7d63582359" providerId="ADAL" clId="{3B4D5F63-EA56-4616-8A78-0C43AB7049E7}" dt="2025-12-08T00:26:35.938" v="3878" actId="947"/>
          <ac:spMkLst>
            <pc:docMk/>
            <pc:sldMk cId="2950670021" sldId="680"/>
            <ac:spMk id="162" creationId="{792FA480-A7FA-4534-9EB7-6906ECB34251}"/>
          </ac:spMkLst>
        </pc:spChg>
        <pc:spChg chg="mod">
          <ac:chgData name="Falcão Lacerda, Rafael" userId="40181ff7-4694-4c53-a944-7b7d63582359" providerId="ADAL" clId="{3B4D5F63-EA56-4616-8A78-0C43AB7049E7}" dt="2025-12-08T00:26:35.938" v="3876" actId="947"/>
          <ac:spMkLst>
            <pc:docMk/>
            <pc:sldMk cId="2950670021" sldId="680"/>
            <ac:spMk id="163" creationId="{295F762C-3FEE-4BE5-8F9D-8ED457AE58AB}"/>
          </ac:spMkLst>
        </pc:spChg>
        <pc:spChg chg="mod">
          <ac:chgData name="Falcão Lacerda, Rafael" userId="40181ff7-4694-4c53-a944-7b7d63582359" providerId="ADAL" clId="{3B4D5F63-EA56-4616-8A78-0C43AB7049E7}" dt="2025-12-08T00:26:35.908" v="3850" actId="947"/>
          <ac:spMkLst>
            <pc:docMk/>
            <pc:sldMk cId="2950670021" sldId="680"/>
            <ac:spMk id="165" creationId="{623E338B-8668-4695-9C3B-16F39441DBE2}"/>
          </ac:spMkLst>
        </pc:spChg>
        <pc:spChg chg="mod">
          <ac:chgData name="Falcão Lacerda, Rafael" userId="40181ff7-4694-4c53-a944-7b7d63582359" providerId="ADAL" clId="{3B4D5F63-EA56-4616-8A78-0C43AB7049E7}" dt="2025-12-08T00:26:41.841" v="6329" actId="790"/>
          <ac:spMkLst>
            <pc:docMk/>
            <pc:sldMk cId="2950670021" sldId="680"/>
            <ac:spMk id="166" creationId="{028BD4BF-989D-4836-A65C-AFBFF74DC2A5}"/>
          </ac:spMkLst>
        </pc:spChg>
        <pc:spChg chg="mod">
          <ac:chgData name="Falcão Lacerda, Rafael" userId="40181ff7-4694-4c53-a944-7b7d63582359" providerId="ADAL" clId="{3B4D5F63-EA56-4616-8A78-0C43AB7049E7}" dt="2025-12-08T00:26:35.955" v="3888" actId="947"/>
          <ac:spMkLst>
            <pc:docMk/>
            <pc:sldMk cId="2950670021" sldId="680"/>
            <ac:spMk id="168" creationId="{0BD2C2A4-9722-4ECC-8587-71D18470B57F}"/>
          </ac:spMkLst>
        </pc:spChg>
        <pc:spChg chg="mod">
          <ac:chgData name="Falcão Lacerda, Rafael" userId="40181ff7-4694-4c53-a944-7b7d63582359" providerId="ADAL" clId="{3B4D5F63-EA56-4616-8A78-0C43AB7049E7}" dt="2025-12-08T00:26:35.955" v="3886" actId="947"/>
          <ac:spMkLst>
            <pc:docMk/>
            <pc:sldMk cId="2950670021" sldId="680"/>
            <ac:spMk id="169" creationId="{10C935C9-A28A-43B2-ABB9-A925EAE25B09}"/>
          </ac:spMkLst>
        </pc:spChg>
        <pc:spChg chg="mod">
          <ac:chgData name="Falcão Lacerda, Rafael" userId="40181ff7-4694-4c53-a944-7b7d63582359" providerId="ADAL" clId="{3B4D5F63-EA56-4616-8A78-0C43AB7049E7}" dt="2025-12-08T00:26:35.923" v="3864" actId="947"/>
          <ac:spMkLst>
            <pc:docMk/>
            <pc:sldMk cId="2950670021" sldId="680"/>
            <ac:spMk id="171" creationId="{62520134-A1A0-486E-88B6-5D1D38FBC596}"/>
          </ac:spMkLst>
        </pc:spChg>
        <pc:spChg chg="mod">
          <ac:chgData name="Falcão Lacerda, Rafael" userId="40181ff7-4694-4c53-a944-7b7d63582359" providerId="ADAL" clId="{3B4D5F63-EA56-4616-8A78-0C43AB7049E7}" dt="2025-12-08T00:26:35.923" v="3862" actId="947"/>
          <ac:spMkLst>
            <pc:docMk/>
            <pc:sldMk cId="2950670021" sldId="680"/>
            <ac:spMk id="172" creationId="{5187016E-6E85-4EE3-82B4-9537660CFD68}"/>
          </ac:spMkLst>
        </pc:spChg>
        <pc:spChg chg="mod">
          <ac:chgData name="Falcão Lacerda, Rafael" userId="40181ff7-4694-4c53-a944-7b7d63582359" providerId="ADAL" clId="{3B4D5F63-EA56-4616-8A78-0C43AB7049E7}" dt="2025-12-08T00:26:35.923" v="3860" actId="947"/>
          <ac:spMkLst>
            <pc:docMk/>
            <pc:sldMk cId="2950670021" sldId="680"/>
            <ac:spMk id="174" creationId="{F2D281B7-AE68-4907-AEAC-CD0D4AF6DBAC}"/>
          </ac:spMkLst>
        </pc:spChg>
        <pc:spChg chg="mod">
          <ac:chgData name="Falcão Lacerda, Rafael" userId="40181ff7-4694-4c53-a944-7b7d63582359" providerId="ADAL" clId="{3B4D5F63-EA56-4616-8A78-0C43AB7049E7}" dt="2025-12-08T00:26:35.923" v="3858" actId="947"/>
          <ac:spMkLst>
            <pc:docMk/>
            <pc:sldMk cId="2950670021" sldId="680"/>
            <ac:spMk id="175" creationId="{BB848CA4-6D5A-4167-9355-AE85B3945008}"/>
          </ac:spMkLst>
        </pc:spChg>
        <pc:spChg chg="mod">
          <ac:chgData name="Falcão Lacerda, Rafael" userId="40181ff7-4694-4c53-a944-7b7d63582359" providerId="ADAL" clId="{3B4D5F63-EA56-4616-8A78-0C43AB7049E7}" dt="2025-12-08T00:26:35.938" v="3874" actId="947"/>
          <ac:spMkLst>
            <pc:docMk/>
            <pc:sldMk cId="2950670021" sldId="680"/>
            <ac:spMk id="177" creationId="{B55F534A-C3CF-4C1A-AA4A-EEAFA7691DDA}"/>
          </ac:spMkLst>
        </pc:spChg>
        <pc:spChg chg="mod">
          <ac:chgData name="Falcão Lacerda, Rafael" userId="40181ff7-4694-4c53-a944-7b7d63582359" providerId="ADAL" clId="{3B4D5F63-EA56-4616-8A78-0C43AB7049E7}" dt="2025-12-08T00:26:35.938" v="3872" actId="947"/>
          <ac:spMkLst>
            <pc:docMk/>
            <pc:sldMk cId="2950670021" sldId="680"/>
            <ac:spMk id="178" creationId="{C50FE775-C47C-464B-A63C-A70220FAE967}"/>
          </ac:spMkLst>
        </pc:spChg>
        <pc:spChg chg="mod">
          <ac:chgData name="Falcão Lacerda, Rafael" userId="40181ff7-4694-4c53-a944-7b7d63582359" providerId="ADAL" clId="{3B4D5F63-EA56-4616-8A78-0C43AB7049E7}" dt="2025-12-08T00:26:35.891" v="3846" actId="947"/>
          <ac:spMkLst>
            <pc:docMk/>
            <pc:sldMk cId="2950670021" sldId="680"/>
            <ac:spMk id="180" creationId="{74C8503F-A2A6-4511-8346-2F0B155F98B9}"/>
          </ac:spMkLst>
        </pc:spChg>
        <pc:spChg chg="mod">
          <ac:chgData name="Falcão Lacerda, Rafael" userId="40181ff7-4694-4c53-a944-7b7d63582359" providerId="ADAL" clId="{3B4D5F63-EA56-4616-8A78-0C43AB7049E7}" dt="2025-12-08T00:26:41.841" v="6329" actId="790"/>
          <ac:spMkLst>
            <pc:docMk/>
            <pc:sldMk cId="2950670021" sldId="680"/>
            <ac:spMk id="181" creationId="{619F371B-B068-487C-8B1C-CE10CE8DE71D}"/>
          </ac:spMkLst>
        </pc:spChg>
        <pc:spChg chg="mod">
          <ac:chgData name="Falcão Lacerda, Rafael" userId="40181ff7-4694-4c53-a944-7b7d63582359" providerId="ADAL" clId="{3B4D5F63-EA56-4616-8A78-0C43AB7049E7}" dt="2025-12-08T00:26:35.875" v="3830" actId="947"/>
          <ac:spMkLst>
            <pc:docMk/>
            <pc:sldMk cId="2950670021" sldId="680"/>
            <ac:spMk id="183" creationId="{702318F9-982F-440C-A616-9EEE329950A7}"/>
          </ac:spMkLst>
        </pc:spChg>
        <pc:spChg chg="mod">
          <ac:chgData name="Falcão Lacerda, Rafael" userId="40181ff7-4694-4c53-a944-7b7d63582359" providerId="ADAL" clId="{3B4D5F63-EA56-4616-8A78-0C43AB7049E7}" dt="2025-12-08T00:26:35.875" v="3828" actId="947"/>
          <ac:spMkLst>
            <pc:docMk/>
            <pc:sldMk cId="2950670021" sldId="680"/>
            <ac:spMk id="184" creationId="{DD3A2E4A-BE15-4619-8FB7-A6D2B3CD7DB9}"/>
          </ac:spMkLst>
        </pc:spChg>
        <pc:spChg chg="mod">
          <ac:chgData name="Falcão Lacerda, Rafael" userId="40181ff7-4694-4c53-a944-7b7d63582359" providerId="ADAL" clId="{3B4D5F63-EA56-4616-8A78-0C43AB7049E7}" dt="2025-12-08T00:26:41.841" v="6329" actId="790"/>
          <ac:spMkLst>
            <pc:docMk/>
            <pc:sldMk cId="2950670021" sldId="680"/>
            <ac:spMk id="186" creationId="{B9F7E287-B483-4A81-BA29-F34A9386C702}"/>
          </ac:spMkLst>
        </pc:spChg>
        <pc:spChg chg="mod">
          <ac:chgData name="Falcão Lacerda, Rafael" userId="40181ff7-4694-4c53-a944-7b7d63582359" providerId="ADAL" clId="{3B4D5F63-EA56-4616-8A78-0C43AB7049E7}" dt="2025-12-08T00:26:35.859" v="3814" actId="947"/>
          <ac:spMkLst>
            <pc:docMk/>
            <pc:sldMk cId="2950670021" sldId="680"/>
            <ac:spMk id="187" creationId="{6B27C89F-5307-4EEC-8CFD-205BDD6FD067}"/>
          </ac:spMkLst>
        </pc:spChg>
        <pc:spChg chg="mod">
          <ac:chgData name="Falcão Lacerda, Rafael" userId="40181ff7-4694-4c53-a944-7b7d63582359" providerId="ADAL" clId="{3B4D5F63-EA56-4616-8A78-0C43AB7049E7}" dt="2025-12-08T00:26:35.827" v="3788" actId="947"/>
          <ac:spMkLst>
            <pc:docMk/>
            <pc:sldMk cId="2950670021" sldId="680"/>
            <ac:spMk id="189" creationId="{757F597F-1A19-4D83-A082-ED14C6905050}"/>
          </ac:spMkLst>
        </pc:spChg>
        <pc:spChg chg="mod">
          <ac:chgData name="Falcão Lacerda, Rafael" userId="40181ff7-4694-4c53-a944-7b7d63582359" providerId="ADAL" clId="{3B4D5F63-EA56-4616-8A78-0C43AB7049E7}" dt="2025-12-08T00:26:35.812" v="3786" actId="947"/>
          <ac:spMkLst>
            <pc:docMk/>
            <pc:sldMk cId="2950670021" sldId="680"/>
            <ac:spMk id="190" creationId="{DD1EFF6A-7674-4E18-AA59-FE0CA905F202}"/>
          </ac:spMkLst>
        </pc:spChg>
        <pc:spChg chg="mod">
          <ac:chgData name="Falcão Lacerda, Rafael" userId="40181ff7-4694-4c53-a944-7b7d63582359" providerId="ADAL" clId="{3B4D5F63-EA56-4616-8A78-0C43AB7049E7}" dt="2025-12-08T00:26:35.875" v="3826" actId="947"/>
          <ac:spMkLst>
            <pc:docMk/>
            <pc:sldMk cId="2950670021" sldId="680"/>
            <ac:spMk id="192" creationId="{D4C909C8-6A97-4D1E-B1F1-D4DF8437E6D8}"/>
          </ac:spMkLst>
        </pc:spChg>
        <pc:spChg chg="mod">
          <ac:chgData name="Falcão Lacerda, Rafael" userId="40181ff7-4694-4c53-a944-7b7d63582359" providerId="ADAL" clId="{3B4D5F63-EA56-4616-8A78-0C43AB7049E7}" dt="2025-12-08T00:26:35.875" v="3824" actId="947"/>
          <ac:spMkLst>
            <pc:docMk/>
            <pc:sldMk cId="2950670021" sldId="680"/>
            <ac:spMk id="193" creationId="{C84FBE4C-C5E7-43F0-BC01-22ED5184AA2F}"/>
          </ac:spMkLst>
        </pc:spChg>
        <pc:spChg chg="mod">
          <ac:chgData name="Falcão Lacerda, Rafael" userId="40181ff7-4694-4c53-a944-7b7d63582359" providerId="ADAL" clId="{3B4D5F63-EA56-4616-8A78-0C43AB7049E7}" dt="2025-12-08T00:26:35.844" v="3802" actId="947"/>
          <ac:spMkLst>
            <pc:docMk/>
            <pc:sldMk cId="2950670021" sldId="680"/>
            <ac:spMk id="195" creationId="{5561C27C-30A8-48BA-8354-A6E99F9184B2}"/>
          </ac:spMkLst>
        </pc:spChg>
        <pc:spChg chg="mod">
          <ac:chgData name="Falcão Lacerda, Rafael" userId="40181ff7-4694-4c53-a944-7b7d63582359" providerId="ADAL" clId="{3B4D5F63-EA56-4616-8A78-0C43AB7049E7}" dt="2025-12-08T00:26:41.841" v="6329" actId="790"/>
          <ac:spMkLst>
            <pc:docMk/>
            <pc:sldMk cId="2950670021" sldId="680"/>
            <ac:spMk id="196" creationId="{2053CF27-EE55-4CF4-A78A-8898AF627387}"/>
          </ac:spMkLst>
        </pc:spChg>
        <pc:spChg chg="mod">
          <ac:chgData name="Falcão Lacerda, Rafael" userId="40181ff7-4694-4c53-a944-7b7d63582359" providerId="ADAL" clId="{3B4D5F63-EA56-4616-8A78-0C43AB7049E7}" dt="2025-12-08T00:26:35.844" v="3798" actId="947"/>
          <ac:spMkLst>
            <pc:docMk/>
            <pc:sldMk cId="2950670021" sldId="680"/>
            <ac:spMk id="198" creationId="{D4A35A4D-2D67-498F-AFEA-541AF5F14411}"/>
          </ac:spMkLst>
        </pc:spChg>
        <pc:spChg chg="mod">
          <ac:chgData name="Falcão Lacerda, Rafael" userId="40181ff7-4694-4c53-a944-7b7d63582359" providerId="ADAL" clId="{3B4D5F63-EA56-4616-8A78-0C43AB7049E7}" dt="2025-12-08T00:26:35.827" v="3796" actId="947"/>
          <ac:spMkLst>
            <pc:docMk/>
            <pc:sldMk cId="2950670021" sldId="680"/>
            <ac:spMk id="199" creationId="{6CE6B81E-FB75-42DF-8D05-10A5F51E8700}"/>
          </ac:spMkLst>
        </pc:spChg>
        <pc:spChg chg="mod">
          <ac:chgData name="Falcão Lacerda, Rafael" userId="40181ff7-4694-4c53-a944-7b7d63582359" providerId="ADAL" clId="{3B4D5F63-EA56-4616-8A78-0C43AB7049E7}" dt="2025-12-08T00:26:35.859" v="3812" actId="947"/>
          <ac:spMkLst>
            <pc:docMk/>
            <pc:sldMk cId="2950670021" sldId="680"/>
            <ac:spMk id="201" creationId="{CA55CDF1-83AF-44D6-B3DD-3E48AA70572C}"/>
          </ac:spMkLst>
        </pc:spChg>
        <pc:spChg chg="mod">
          <ac:chgData name="Falcão Lacerda, Rafael" userId="40181ff7-4694-4c53-a944-7b7d63582359" providerId="ADAL" clId="{3B4D5F63-EA56-4616-8A78-0C43AB7049E7}" dt="2025-12-08T00:26:35.859" v="3810" actId="947"/>
          <ac:spMkLst>
            <pc:docMk/>
            <pc:sldMk cId="2950670021" sldId="680"/>
            <ac:spMk id="202" creationId="{F46013A7-6980-483F-81B1-AD0F0C284934}"/>
          </ac:spMkLst>
        </pc:spChg>
        <pc:spChg chg="mod">
          <ac:chgData name="Falcão Lacerda, Rafael" userId="40181ff7-4694-4c53-a944-7b7d63582359" providerId="ADAL" clId="{3B4D5F63-EA56-4616-8A78-0C43AB7049E7}" dt="2025-12-08T00:26:35.812" v="3784" actId="947"/>
          <ac:spMkLst>
            <pc:docMk/>
            <pc:sldMk cId="2950670021" sldId="680"/>
            <ac:spMk id="204" creationId="{9D932998-08A7-4BE1-933B-4CF796C6BF11}"/>
          </ac:spMkLst>
        </pc:spChg>
        <pc:spChg chg="mod">
          <ac:chgData name="Falcão Lacerda, Rafael" userId="40181ff7-4694-4c53-a944-7b7d63582359" providerId="ADAL" clId="{3B4D5F63-EA56-4616-8A78-0C43AB7049E7}" dt="2025-12-08T00:26:35.812" v="3782" actId="947"/>
          <ac:spMkLst>
            <pc:docMk/>
            <pc:sldMk cId="2950670021" sldId="680"/>
            <ac:spMk id="205" creationId="{D534997A-82E5-4DDF-B905-3BB7DF1A4E14}"/>
          </ac:spMkLst>
        </pc:spChg>
        <pc:spChg chg="mod">
          <ac:chgData name="Falcão Lacerda, Rafael" userId="40181ff7-4694-4c53-a944-7b7d63582359" providerId="ADAL" clId="{3B4D5F63-EA56-4616-8A78-0C43AB7049E7}" dt="2025-12-08T00:26:35.749" v="3744" actId="947"/>
          <ac:spMkLst>
            <pc:docMk/>
            <pc:sldMk cId="2950670021" sldId="680"/>
            <ac:spMk id="207" creationId="{3D531D3C-925C-644D-93C0-005E1999FA38}"/>
          </ac:spMkLst>
        </pc:spChg>
        <pc:spChg chg="mod">
          <ac:chgData name="Falcão Lacerda, Rafael" userId="40181ff7-4694-4c53-a944-7b7d63582359" providerId="ADAL" clId="{3B4D5F63-EA56-4616-8A78-0C43AB7049E7}" dt="2025-12-08T00:26:35.732" v="3742" actId="947"/>
          <ac:spMkLst>
            <pc:docMk/>
            <pc:sldMk cId="2950670021" sldId="680"/>
            <ac:spMk id="208" creationId="{0962826C-9712-864D-A4CA-3A604EFAC769}"/>
          </ac:spMkLst>
        </pc:spChg>
        <pc:spChg chg="mod">
          <ac:chgData name="Falcão Lacerda, Rafael" userId="40181ff7-4694-4c53-a944-7b7d63582359" providerId="ADAL" clId="{3B4D5F63-EA56-4616-8A78-0C43AB7049E7}" dt="2025-12-08T00:26:35.796" v="3776" actId="947"/>
          <ac:spMkLst>
            <pc:docMk/>
            <pc:sldMk cId="2950670021" sldId="680"/>
            <ac:spMk id="210" creationId="{F61DDB11-2BA8-3D44-8F39-19B6CDD100F4}"/>
          </ac:spMkLst>
        </pc:spChg>
        <pc:spChg chg="mod">
          <ac:chgData name="Falcão Lacerda, Rafael" userId="40181ff7-4694-4c53-a944-7b7d63582359" providerId="ADAL" clId="{3B4D5F63-EA56-4616-8A78-0C43AB7049E7}" dt="2025-12-08T00:26:35.796" v="3774" actId="947"/>
          <ac:spMkLst>
            <pc:docMk/>
            <pc:sldMk cId="2950670021" sldId="680"/>
            <ac:spMk id="211" creationId="{2B892D3B-43E3-4743-89A5-0F658AEA28B4}"/>
          </ac:spMkLst>
        </pc:spChg>
        <pc:spChg chg="mod">
          <ac:chgData name="Falcão Lacerda, Rafael" userId="40181ff7-4694-4c53-a944-7b7d63582359" providerId="ADAL" clId="{3B4D5F63-EA56-4616-8A78-0C43AB7049E7}" dt="2025-12-08T00:26:35.791" v="3768" actId="947"/>
          <ac:spMkLst>
            <pc:docMk/>
            <pc:sldMk cId="2950670021" sldId="680"/>
            <ac:spMk id="213" creationId="{127E031E-EDB8-354A-81FA-30710A312DE7}"/>
          </ac:spMkLst>
        </pc:spChg>
        <pc:spChg chg="mod">
          <ac:chgData name="Falcão Lacerda, Rafael" userId="40181ff7-4694-4c53-a944-7b7d63582359" providerId="ADAL" clId="{3B4D5F63-EA56-4616-8A78-0C43AB7049E7}" dt="2025-12-08T00:26:35.791" v="3766" actId="947"/>
          <ac:spMkLst>
            <pc:docMk/>
            <pc:sldMk cId="2950670021" sldId="680"/>
            <ac:spMk id="214" creationId="{CADEAFBB-4BA9-AB49-8F40-3A4C4E33E7D0}"/>
          </ac:spMkLst>
        </pc:spChg>
        <pc:spChg chg="mod">
          <ac:chgData name="Falcão Lacerda, Rafael" userId="40181ff7-4694-4c53-a944-7b7d63582359" providerId="ADAL" clId="{3B4D5F63-EA56-4616-8A78-0C43AB7049E7}" dt="2025-12-08T00:26:41.841" v="6329" actId="790"/>
          <ac:spMkLst>
            <pc:docMk/>
            <pc:sldMk cId="2950670021" sldId="680"/>
            <ac:spMk id="216" creationId="{BE14195E-F754-6546-B27F-C9F25DCDBCD7}"/>
          </ac:spMkLst>
        </pc:spChg>
        <pc:spChg chg="mod">
          <ac:chgData name="Falcão Lacerda, Rafael" userId="40181ff7-4694-4c53-a944-7b7d63582359" providerId="ADAL" clId="{3B4D5F63-EA56-4616-8A78-0C43AB7049E7}" dt="2025-12-08T00:26:35.765" v="3758" actId="947"/>
          <ac:spMkLst>
            <pc:docMk/>
            <pc:sldMk cId="2950670021" sldId="680"/>
            <ac:spMk id="217" creationId="{FE05A54D-584C-D94F-B636-A3E66F712FAA}"/>
          </ac:spMkLst>
        </pc:spChg>
        <pc:spChg chg="mod">
          <ac:chgData name="Falcão Lacerda, Rafael" userId="40181ff7-4694-4c53-a944-7b7d63582359" providerId="ADAL" clId="{3B4D5F63-EA56-4616-8A78-0C43AB7049E7}" dt="2025-12-08T00:26:35.765" v="3752" actId="947"/>
          <ac:spMkLst>
            <pc:docMk/>
            <pc:sldMk cId="2950670021" sldId="680"/>
            <ac:spMk id="219" creationId="{AE7364AF-22F7-EA47-A382-4A0907353663}"/>
          </ac:spMkLst>
        </pc:spChg>
        <pc:spChg chg="mod">
          <ac:chgData name="Falcão Lacerda, Rafael" userId="40181ff7-4694-4c53-a944-7b7d63582359" providerId="ADAL" clId="{3B4D5F63-EA56-4616-8A78-0C43AB7049E7}" dt="2025-12-08T00:26:35.749" v="3750" actId="947"/>
          <ac:spMkLst>
            <pc:docMk/>
            <pc:sldMk cId="2950670021" sldId="680"/>
            <ac:spMk id="220" creationId="{5E4329C7-821C-0544-854F-036B3AB11DAE}"/>
          </ac:spMkLst>
        </pc:spChg>
        <pc:graphicFrameChg chg="add mod ord modVis">
          <ac:chgData name="Falcão Lacerda, Rafael" userId="40181ff7-4694-4c53-a944-7b7d63582359" providerId="ADAL" clId="{3B4D5F63-EA56-4616-8A78-0C43AB7049E7}" dt="2025-12-08T00:26:52.271" v="10067"/>
          <ac:graphicFrameMkLst>
            <pc:docMk/>
            <pc:sldMk cId="2950670021" sldId="680"/>
            <ac:graphicFrameMk id="3" creationId="{6CCD5032-F4B5-B73D-7A5F-E0174D9C4C08}"/>
          </ac:graphicFrameMkLst>
        </pc:graphicFrameChg>
      </pc:sldChg>
      <pc:sldChg chg="addSp delSp modSp mod modShow modNotes">
        <pc:chgData name="Falcão Lacerda, Rafael" userId="40181ff7-4694-4c53-a944-7b7d63582359" providerId="ADAL" clId="{3B4D5F63-EA56-4616-8A78-0C43AB7049E7}" dt="2025-12-08T17:18:13.731" v="34035" actId="729"/>
        <pc:sldMkLst>
          <pc:docMk/>
          <pc:sldMk cId="2185998129" sldId="685"/>
        </pc:sldMkLst>
        <pc:spChg chg="mod">
          <ac:chgData name="Falcão Lacerda, Rafael" userId="40181ff7-4694-4c53-a944-7b7d63582359" providerId="ADAL" clId="{3B4D5F63-EA56-4616-8A78-0C43AB7049E7}" dt="2025-12-08T00:26:46.034" v="7737" actId="948"/>
          <ac:spMkLst>
            <pc:docMk/>
            <pc:sldMk cId="2185998129" sldId="685"/>
            <ac:spMk id="2" creationId="{4A56D9CB-5F67-45AE-8FBF-00D78E537DAA}"/>
          </ac:spMkLst>
        </pc:spChg>
        <pc:spChg chg="add del mod modVis">
          <ac:chgData name="Falcão Lacerda, Rafael" userId="40181ff7-4694-4c53-a944-7b7d63582359" providerId="ADAL" clId="{3B4D5F63-EA56-4616-8A78-0C43AB7049E7}" dt="2025-12-08T00:26:52.823" v="10245"/>
          <ac:spMkLst>
            <pc:docMk/>
            <pc:sldMk cId="2185998129" sldId="685"/>
            <ac:spMk id="4" creationId="{A965C84F-9F51-BF18-5723-519CEBEA8922}"/>
          </ac:spMkLst>
        </pc:spChg>
        <pc:spChg chg="mod">
          <ac:chgData name="Falcão Lacerda, Rafael" userId="40181ff7-4694-4c53-a944-7b7d63582359" providerId="ADAL" clId="{3B4D5F63-EA56-4616-8A78-0C43AB7049E7}" dt="2025-12-08T00:26:37.376" v="4800" actId="947"/>
          <ac:spMkLst>
            <pc:docMk/>
            <pc:sldMk cId="2185998129" sldId="685"/>
            <ac:spMk id="5" creationId="{F6B166F0-FE5C-43E3-B857-941CA180F996}"/>
          </ac:spMkLst>
        </pc:spChg>
        <pc:spChg chg="mod">
          <ac:chgData name="Falcão Lacerda, Rafael" userId="40181ff7-4694-4c53-a944-7b7d63582359" providerId="ADAL" clId="{3B4D5F63-EA56-4616-8A78-0C43AB7049E7}" dt="2025-12-08T00:26:41.841" v="6329" actId="790"/>
          <ac:spMkLst>
            <pc:docMk/>
            <pc:sldMk cId="2185998129" sldId="685"/>
            <ac:spMk id="6" creationId="{4281B7D2-8B9E-4395-8546-9561EC80FB70}"/>
          </ac:spMkLst>
        </pc:spChg>
        <pc:spChg chg="mod">
          <ac:chgData name="Falcão Lacerda, Rafael" userId="40181ff7-4694-4c53-a944-7b7d63582359" providerId="ADAL" clId="{3B4D5F63-EA56-4616-8A78-0C43AB7049E7}" dt="2025-12-08T00:26:41.841" v="6329" actId="790"/>
          <ac:spMkLst>
            <pc:docMk/>
            <pc:sldMk cId="2185998129" sldId="685"/>
            <ac:spMk id="7" creationId="{151D0CA0-AEC4-499D-B515-1A88D509F20D}"/>
          </ac:spMkLst>
        </pc:spChg>
        <pc:spChg chg="mod">
          <ac:chgData name="Falcão Lacerda, Rafael" userId="40181ff7-4694-4c53-a944-7b7d63582359" providerId="ADAL" clId="{3B4D5F63-EA56-4616-8A78-0C43AB7049E7}" dt="2025-12-08T00:26:37.386" v="4806" actId="947"/>
          <ac:spMkLst>
            <pc:docMk/>
            <pc:sldMk cId="2185998129" sldId="685"/>
            <ac:spMk id="8" creationId="{17BE1C35-0413-4C9B-AF1F-8C385C2E0946}"/>
          </ac:spMkLst>
        </pc:spChg>
        <pc:spChg chg="mod">
          <ac:chgData name="Falcão Lacerda, Rafael" userId="40181ff7-4694-4c53-a944-7b7d63582359" providerId="ADAL" clId="{3B4D5F63-EA56-4616-8A78-0C43AB7049E7}" dt="2025-12-08T00:26:37.390" v="4808" actId="947"/>
          <ac:spMkLst>
            <pc:docMk/>
            <pc:sldMk cId="2185998129" sldId="685"/>
            <ac:spMk id="9" creationId="{2A7E0094-B1DB-4670-BCD4-88924722FA46}"/>
          </ac:spMkLst>
        </pc:spChg>
        <pc:spChg chg="mod">
          <ac:chgData name="Falcão Lacerda, Rafael" userId="40181ff7-4694-4c53-a944-7b7d63582359" providerId="ADAL" clId="{3B4D5F63-EA56-4616-8A78-0C43AB7049E7}" dt="2025-12-08T00:26:41.841" v="6329" actId="790"/>
          <ac:spMkLst>
            <pc:docMk/>
            <pc:sldMk cId="2185998129" sldId="685"/>
            <ac:spMk id="10" creationId="{7D6E3C62-9037-40D6-A6DA-547CCBF31C8C}"/>
          </ac:spMkLst>
        </pc:spChg>
        <pc:spChg chg="mod">
          <ac:chgData name="Falcão Lacerda, Rafael" userId="40181ff7-4694-4c53-a944-7b7d63582359" providerId="ADAL" clId="{3B4D5F63-EA56-4616-8A78-0C43AB7049E7}" dt="2025-12-08T00:26:37.324" v="4774" actId="947"/>
          <ac:spMkLst>
            <pc:docMk/>
            <pc:sldMk cId="2185998129" sldId="685"/>
            <ac:spMk id="11" creationId="{6B1406ED-69E9-40D2-A1F7-92E32B3D4E4B}"/>
          </ac:spMkLst>
        </pc:spChg>
        <pc:spChg chg="mod">
          <ac:chgData name="Falcão Lacerda, Rafael" userId="40181ff7-4694-4c53-a944-7b7d63582359" providerId="ADAL" clId="{3B4D5F63-EA56-4616-8A78-0C43AB7049E7}" dt="2025-12-08T00:26:41.841" v="6329" actId="790"/>
          <ac:spMkLst>
            <pc:docMk/>
            <pc:sldMk cId="2185998129" sldId="685"/>
            <ac:spMk id="12" creationId="{FE1214C4-9426-4AFC-B15F-3172743719AA}"/>
          </ac:spMkLst>
        </pc:spChg>
        <pc:spChg chg="mod">
          <ac:chgData name="Falcão Lacerda, Rafael" userId="40181ff7-4694-4c53-a944-7b7d63582359" providerId="ADAL" clId="{3B4D5F63-EA56-4616-8A78-0C43AB7049E7}" dt="2025-12-08T00:26:41.841" v="6329" actId="790"/>
          <ac:spMkLst>
            <pc:docMk/>
            <pc:sldMk cId="2185998129" sldId="685"/>
            <ac:spMk id="13" creationId="{3183FA6C-8B84-4258-B459-5A6CA9BE38BA}"/>
          </ac:spMkLst>
        </pc:spChg>
        <pc:spChg chg="mod">
          <ac:chgData name="Falcão Lacerda, Rafael" userId="40181ff7-4694-4c53-a944-7b7d63582359" providerId="ADAL" clId="{3B4D5F63-EA56-4616-8A78-0C43AB7049E7}" dt="2025-12-08T00:26:37.318" v="4770" actId="947"/>
          <ac:spMkLst>
            <pc:docMk/>
            <pc:sldMk cId="2185998129" sldId="685"/>
            <ac:spMk id="14" creationId="{E3DE4870-1383-4119-A719-4D69046B1CEE}"/>
          </ac:spMkLst>
        </pc:spChg>
        <pc:spChg chg="mod">
          <ac:chgData name="Falcão Lacerda, Rafael" userId="40181ff7-4694-4c53-a944-7b7d63582359" providerId="ADAL" clId="{3B4D5F63-EA56-4616-8A78-0C43AB7049E7}" dt="2025-12-08T00:26:37.369" v="4796" actId="947"/>
          <ac:spMkLst>
            <pc:docMk/>
            <pc:sldMk cId="2185998129" sldId="685"/>
            <ac:spMk id="15" creationId="{8FDA90BE-9014-4D47-93C2-C3AD050DED7B}"/>
          </ac:spMkLst>
        </pc:spChg>
        <pc:spChg chg="mod">
          <ac:chgData name="Falcão Lacerda, Rafael" userId="40181ff7-4694-4c53-a944-7b7d63582359" providerId="ADAL" clId="{3B4D5F63-EA56-4616-8A78-0C43AB7049E7}" dt="2025-12-08T00:26:37.335" v="4780" actId="947"/>
          <ac:spMkLst>
            <pc:docMk/>
            <pc:sldMk cId="2185998129" sldId="685"/>
            <ac:spMk id="16" creationId="{02534A76-E437-48F5-B434-5662C0B675DD}"/>
          </ac:spMkLst>
        </pc:spChg>
        <pc:spChg chg="mod">
          <ac:chgData name="Falcão Lacerda, Rafael" userId="40181ff7-4694-4c53-a944-7b7d63582359" providerId="ADAL" clId="{3B4D5F63-EA56-4616-8A78-0C43AB7049E7}" dt="2025-12-08T00:26:37.338" v="4782" actId="947"/>
          <ac:spMkLst>
            <pc:docMk/>
            <pc:sldMk cId="2185998129" sldId="685"/>
            <ac:spMk id="17" creationId="{D74352A4-0393-46AD-AFFF-3E12C3DE0531}"/>
          </ac:spMkLst>
        </pc:spChg>
        <pc:spChg chg="mod">
          <ac:chgData name="Falcão Lacerda, Rafael" userId="40181ff7-4694-4c53-a944-7b7d63582359" providerId="ADAL" clId="{3B4D5F63-EA56-4616-8A78-0C43AB7049E7}" dt="2025-12-08T00:26:41.841" v="6329" actId="790"/>
          <ac:spMkLst>
            <pc:docMk/>
            <pc:sldMk cId="2185998129" sldId="685"/>
            <ac:spMk id="18" creationId="{2D022BFE-B78C-42EE-B8B6-65041D92CABA}"/>
          </ac:spMkLst>
        </pc:spChg>
        <pc:spChg chg="mod">
          <ac:chgData name="Falcão Lacerda, Rafael" userId="40181ff7-4694-4c53-a944-7b7d63582359" providerId="ADAL" clId="{3B4D5F63-EA56-4616-8A78-0C43AB7049E7}" dt="2025-12-08T00:26:41.841" v="6329" actId="790"/>
          <ac:spMkLst>
            <pc:docMk/>
            <pc:sldMk cId="2185998129" sldId="685"/>
            <ac:spMk id="19" creationId="{863A0CE0-7B6B-47B4-A0A6-9C283A303552}"/>
          </ac:spMkLst>
        </pc:spChg>
        <pc:spChg chg="mod">
          <ac:chgData name="Falcão Lacerda, Rafael" userId="40181ff7-4694-4c53-a944-7b7d63582359" providerId="ADAL" clId="{3B4D5F63-EA56-4616-8A78-0C43AB7049E7}" dt="2025-12-08T00:26:37.331" v="4778" actId="947"/>
          <ac:spMkLst>
            <pc:docMk/>
            <pc:sldMk cId="2185998129" sldId="685"/>
            <ac:spMk id="20" creationId="{3B07090C-7840-44CD-BA45-EE9EB3BB609C}"/>
          </ac:spMkLst>
        </pc:spChg>
        <pc:spChg chg="mod">
          <ac:chgData name="Falcão Lacerda, Rafael" userId="40181ff7-4694-4c53-a944-7b7d63582359" providerId="ADAL" clId="{3B4D5F63-EA56-4616-8A78-0C43AB7049E7}" dt="2025-12-08T00:26:37.351" v="4788" actId="947"/>
          <ac:spMkLst>
            <pc:docMk/>
            <pc:sldMk cId="2185998129" sldId="685"/>
            <ac:spMk id="21" creationId="{3B73BFFF-0531-469A-9708-A42BE88BF45D}"/>
          </ac:spMkLst>
        </pc:spChg>
        <pc:spChg chg="mod">
          <ac:chgData name="Falcão Lacerda, Rafael" userId="40181ff7-4694-4c53-a944-7b7d63582359" providerId="ADAL" clId="{3B4D5F63-EA56-4616-8A78-0C43AB7049E7}" dt="2025-12-08T00:26:41.841" v="6329" actId="790"/>
          <ac:spMkLst>
            <pc:docMk/>
            <pc:sldMk cId="2185998129" sldId="685"/>
            <ac:spMk id="22" creationId="{56146CBA-88EF-4C19-9079-B522F3DBEE5E}"/>
          </ac:spMkLst>
        </pc:spChg>
        <pc:spChg chg="mod">
          <ac:chgData name="Falcão Lacerda, Rafael" userId="40181ff7-4694-4c53-a944-7b7d63582359" providerId="ADAL" clId="{3B4D5F63-EA56-4616-8A78-0C43AB7049E7}" dt="2025-12-08T00:26:41.841" v="6329" actId="790"/>
          <ac:spMkLst>
            <pc:docMk/>
            <pc:sldMk cId="2185998129" sldId="685"/>
            <ac:spMk id="23" creationId="{9FBA87D9-B4F7-4900-9D31-74B56BAD92E0}"/>
          </ac:spMkLst>
        </pc:spChg>
        <pc:spChg chg="mod">
          <ac:chgData name="Falcão Lacerda, Rafael" userId="40181ff7-4694-4c53-a944-7b7d63582359" providerId="ADAL" clId="{3B4D5F63-EA56-4616-8A78-0C43AB7049E7}" dt="2025-12-08T00:26:37.361" v="4792" actId="947"/>
          <ac:spMkLst>
            <pc:docMk/>
            <pc:sldMk cId="2185998129" sldId="685"/>
            <ac:spMk id="24" creationId="{63585BF0-8C28-45E7-A502-71F596703B27}"/>
          </ac:spMkLst>
        </pc:spChg>
        <pc:graphicFrameChg chg="add mod ord modVis">
          <ac:chgData name="Falcão Lacerda, Rafael" userId="40181ff7-4694-4c53-a944-7b7d63582359" providerId="ADAL" clId="{3B4D5F63-EA56-4616-8A78-0C43AB7049E7}" dt="2025-12-08T00:26:52.867" v="10259"/>
          <ac:graphicFrameMkLst>
            <pc:docMk/>
            <pc:sldMk cId="2185998129" sldId="685"/>
            <ac:graphicFrameMk id="25" creationId="{E244ED39-24C2-9356-C743-058102839721}"/>
          </ac:graphicFrameMkLst>
        </pc:graphicFrameChg>
      </pc:sldChg>
      <pc:sldChg chg="addSp delSp modSp mod modShow modNotes">
        <pc:chgData name="Falcão Lacerda, Rafael" userId="40181ff7-4694-4c53-a944-7b7d63582359" providerId="ADAL" clId="{3B4D5F63-EA56-4616-8A78-0C43AB7049E7}" dt="2025-12-08T17:18:13.731" v="34035" actId="729"/>
        <pc:sldMkLst>
          <pc:docMk/>
          <pc:sldMk cId="1036894968" sldId="699"/>
        </pc:sldMkLst>
        <pc:spChg chg="mod">
          <ac:chgData name="Falcão Lacerda, Rafael" userId="40181ff7-4694-4c53-a944-7b7d63582359" providerId="ADAL" clId="{3B4D5F63-EA56-4616-8A78-0C43AB7049E7}" dt="2025-12-08T00:26:45.877" v="7677" actId="948"/>
          <ac:spMkLst>
            <pc:docMk/>
            <pc:sldMk cId="1036894968" sldId="699"/>
            <ac:spMk id="2" creationId="{4A56D9CB-5F67-45AE-8FBF-00D78E537DAA}"/>
          </ac:spMkLst>
        </pc:spChg>
        <pc:spChg chg="mod">
          <ac:chgData name="Falcão Lacerda, Rafael" userId="40181ff7-4694-4c53-a944-7b7d63582359" providerId="ADAL" clId="{3B4D5F63-EA56-4616-8A78-0C43AB7049E7}" dt="2025-12-08T00:26:41.841" v="6329" actId="790"/>
          <ac:spMkLst>
            <pc:docMk/>
            <pc:sldMk cId="1036894968" sldId="699"/>
            <ac:spMk id="5" creationId="{B75BFC59-026D-420F-8E77-6BD5E7AFEA2A}"/>
          </ac:spMkLst>
        </pc:spChg>
        <pc:spChg chg="mod">
          <ac:chgData name="Falcão Lacerda, Rafael" userId="40181ff7-4694-4c53-a944-7b7d63582359" providerId="ADAL" clId="{3B4D5F63-EA56-4616-8A78-0C43AB7049E7}" dt="2025-12-08T00:26:37.107" v="4672" actId="947"/>
          <ac:spMkLst>
            <pc:docMk/>
            <pc:sldMk cId="1036894968" sldId="699"/>
            <ac:spMk id="6" creationId="{30534B52-EF7F-441C-9DEC-FB0545BDABA1}"/>
          </ac:spMkLst>
        </pc:spChg>
        <pc:spChg chg="mod">
          <ac:chgData name="Falcão Lacerda, Rafael" userId="40181ff7-4694-4c53-a944-7b7d63582359" providerId="ADAL" clId="{3B4D5F63-EA56-4616-8A78-0C43AB7049E7}" dt="2025-12-08T00:26:41.841" v="6329" actId="790"/>
          <ac:spMkLst>
            <pc:docMk/>
            <pc:sldMk cId="1036894968" sldId="699"/>
            <ac:spMk id="7" creationId="{8925B2E3-F47C-4ED2-8DDF-7181526874C3}"/>
          </ac:spMkLst>
        </pc:spChg>
        <pc:spChg chg="mod">
          <ac:chgData name="Falcão Lacerda, Rafael" userId="40181ff7-4694-4c53-a944-7b7d63582359" providerId="ADAL" clId="{3B4D5F63-EA56-4616-8A78-0C43AB7049E7}" dt="2025-12-08T00:26:41.841" v="6329" actId="790"/>
          <ac:spMkLst>
            <pc:docMk/>
            <pc:sldMk cId="1036894968" sldId="699"/>
            <ac:spMk id="8" creationId="{4FA68FE4-0B00-4350-A85B-E6855DD349D2}"/>
          </ac:spMkLst>
        </pc:spChg>
        <pc:spChg chg="mod">
          <ac:chgData name="Falcão Lacerda, Rafael" userId="40181ff7-4694-4c53-a944-7b7d63582359" providerId="ADAL" clId="{3B4D5F63-EA56-4616-8A78-0C43AB7049E7}" dt="2025-12-08T00:26:41.841" v="6329" actId="790"/>
          <ac:spMkLst>
            <pc:docMk/>
            <pc:sldMk cId="1036894968" sldId="699"/>
            <ac:spMk id="9" creationId="{997CF4BD-EEC3-4329-BE0D-2EC811EFEE9E}"/>
          </ac:spMkLst>
        </pc:spChg>
        <pc:spChg chg="mod">
          <ac:chgData name="Falcão Lacerda, Rafael" userId="40181ff7-4694-4c53-a944-7b7d63582359" providerId="ADAL" clId="{3B4D5F63-EA56-4616-8A78-0C43AB7049E7}" dt="2025-12-08T00:26:37.132" v="4678" actId="947"/>
          <ac:spMkLst>
            <pc:docMk/>
            <pc:sldMk cId="1036894968" sldId="699"/>
            <ac:spMk id="10" creationId="{4165C1B7-8ECB-46C5-BCCB-27E6B8976F56}"/>
          </ac:spMkLst>
        </pc:spChg>
        <pc:spChg chg="mod">
          <ac:chgData name="Falcão Lacerda, Rafael" userId="40181ff7-4694-4c53-a944-7b7d63582359" providerId="ADAL" clId="{3B4D5F63-EA56-4616-8A78-0C43AB7049E7}" dt="2025-12-08T00:26:37.129" v="4676" actId="947"/>
          <ac:spMkLst>
            <pc:docMk/>
            <pc:sldMk cId="1036894968" sldId="699"/>
            <ac:spMk id="11" creationId="{CAAE1680-9664-40DA-A937-E63D479310BA}"/>
          </ac:spMkLst>
        </pc:spChg>
        <pc:spChg chg="mod">
          <ac:chgData name="Falcão Lacerda, Rafael" userId="40181ff7-4694-4c53-a944-7b7d63582359" providerId="ADAL" clId="{3B4D5F63-EA56-4616-8A78-0C43AB7049E7}" dt="2025-12-08T00:26:41.841" v="6329" actId="790"/>
          <ac:spMkLst>
            <pc:docMk/>
            <pc:sldMk cId="1036894968" sldId="699"/>
            <ac:spMk id="12" creationId="{BF35554F-F5D2-4D07-B6B7-3CAADF189C36}"/>
          </ac:spMkLst>
        </pc:spChg>
        <pc:spChg chg="mod">
          <ac:chgData name="Falcão Lacerda, Rafael" userId="40181ff7-4694-4c53-a944-7b7d63582359" providerId="ADAL" clId="{3B4D5F63-EA56-4616-8A78-0C43AB7049E7}" dt="2025-12-08T00:26:37.184" v="4694" actId="947"/>
          <ac:spMkLst>
            <pc:docMk/>
            <pc:sldMk cId="1036894968" sldId="699"/>
            <ac:spMk id="13" creationId="{C3808D3B-5503-4DF8-ABED-F7C7013DC5B1}"/>
          </ac:spMkLst>
        </pc:spChg>
        <pc:spChg chg="mod">
          <ac:chgData name="Falcão Lacerda, Rafael" userId="40181ff7-4694-4c53-a944-7b7d63582359" providerId="ADAL" clId="{3B4D5F63-EA56-4616-8A78-0C43AB7049E7}" dt="2025-12-08T00:26:41.841" v="6329" actId="790"/>
          <ac:spMkLst>
            <pc:docMk/>
            <pc:sldMk cId="1036894968" sldId="699"/>
            <ac:spMk id="14" creationId="{2949DF43-5E4F-45A2-8EE7-6FE7C6E83145}"/>
          </ac:spMkLst>
        </pc:spChg>
        <pc:spChg chg="mod">
          <ac:chgData name="Falcão Lacerda, Rafael" userId="40181ff7-4694-4c53-a944-7b7d63582359" providerId="ADAL" clId="{3B4D5F63-EA56-4616-8A78-0C43AB7049E7}" dt="2025-12-08T00:26:41.841" v="6329" actId="790"/>
          <ac:spMkLst>
            <pc:docMk/>
            <pc:sldMk cId="1036894968" sldId="699"/>
            <ac:spMk id="15" creationId="{AAC3877D-3EAD-47E8-BCC9-9FD39E5863B9}"/>
          </ac:spMkLst>
        </pc:spChg>
        <pc:spChg chg="mod">
          <ac:chgData name="Falcão Lacerda, Rafael" userId="40181ff7-4694-4c53-a944-7b7d63582359" providerId="ADAL" clId="{3B4D5F63-EA56-4616-8A78-0C43AB7049E7}" dt="2025-12-08T00:26:37.107" v="4674" actId="947"/>
          <ac:spMkLst>
            <pc:docMk/>
            <pc:sldMk cId="1036894968" sldId="699"/>
            <ac:spMk id="16" creationId="{6A8ECBCC-3244-4138-8FA1-77ED31307EA7}"/>
          </ac:spMkLst>
        </pc:spChg>
        <pc:spChg chg="mod">
          <ac:chgData name="Falcão Lacerda, Rafael" userId="40181ff7-4694-4c53-a944-7b7d63582359" providerId="ADAL" clId="{3B4D5F63-EA56-4616-8A78-0C43AB7049E7}" dt="2025-12-08T00:26:41.841" v="6329" actId="790"/>
          <ac:spMkLst>
            <pc:docMk/>
            <pc:sldMk cId="1036894968" sldId="699"/>
            <ac:spMk id="17" creationId="{8328C780-CAA7-454F-9FE4-6A1CA22EA3DF}"/>
          </ac:spMkLst>
        </pc:spChg>
        <pc:spChg chg="mod">
          <ac:chgData name="Falcão Lacerda, Rafael" userId="40181ff7-4694-4c53-a944-7b7d63582359" providerId="ADAL" clId="{3B4D5F63-EA56-4616-8A78-0C43AB7049E7}" dt="2025-12-08T00:26:37.099" v="4666" actId="947"/>
          <ac:spMkLst>
            <pc:docMk/>
            <pc:sldMk cId="1036894968" sldId="699"/>
            <ac:spMk id="18" creationId="{4EDDE497-5586-49C5-95D5-D4BF229710C1}"/>
          </ac:spMkLst>
        </pc:spChg>
        <pc:spChg chg="mod">
          <ac:chgData name="Falcão Lacerda, Rafael" userId="40181ff7-4694-4c53-a944-7b7d63582359" providerId="ADAL" clId="{3B4D5F63-EA56-4616-8A78-0C43AB7049E7}" dt="2025-12-08T00:26:41.841" v="6329" actId="790"/>
          <ac:spMkLst>
            <pc:docMk/>
            <pc:sldMk cId="1036894968" sldId="699"/>
            <ac:spMk id="19" creationId="{00EDF099-040D-47B0-85A1-82A598B47A22}"/>
          </ac:spMkLst>
        </pc:spChg>
        <pc:spChg chg="mod">
          <ac:chgData name="Falcão Lacerda, Rafael" userId="40181ff7-4694-4c53-a944-7b7d63582359" providerId="ADAL" clId="{3B4D5F63-EA56-4616-8A78-0C43AB7049E7}" dt="2025-12-08T00:26:37.153" v="4686" actId="947"/>
          <ac:spMkLst>
            <pc:docMk/>
            <pc:sldMk cId="1036894968" sldId="699"/>
            <ac:spMk id="20" creationId="{580410F5-EFC2-4EA7-BF22-4EC3DFE9E2B9}"/>
          </ac:spMkLst>
        </pc:spChg>
        <pc:spChg chg="mod">
          <ac:chgData name="Falcão Lacerda, Rafael" userId="40181ff7-4694-4c53-a944-7b7d63582359" providerId="ADAL" clId="{3B4D5F63-EA56-4616-8A78-0C43AB7049E7}" dt="2025-12-08T00:26:37.137" v="4680" actId="947"/>
          <ac:spMkLst>
            <pc:docMk/>
            <pc:sldMk cId="1036894968" sldId="699"/>
            <ac:spMk id="21" creationId="{E522EE52-5ED9-49DF-BC27-510299D4B8EF}"/>
          </ac:spMkLst>
        </pc:spChg>
        <pc:spChg chg="add del mod modVis">
          <ac:chgData name="Falcão Lacerda, Rafael" userId="40181ff7-4694-4c53-a944-7b7d63582359" providerId="ADAL" clId="{3B4D5F63-EA56-4616-8A78-0C43AB7049E7}" dt="2025-12-08T00:26:52.698" v="10197"/>
          <ac:spMkLst>
            <pc:docMk/>
            <pc:sldMk cId="1036894968" sldId="699"/>
            <ac:spMk id="22" creationId="{C455AC3A-22F4-69A9-A255-77F06DF3A039}"/>
          </ac:spMkLst>
        </pc:spChg>
        <pc:graphicFrameChg chg="add mod ord modVis">
          <ac:chgData name="Falcão Lacerda, Rafael" userId="40181ff7-4694-4c53-a944-7b7d63582359" providerId="ADAL" clId="{3B4D5F63-EA56-4616-8A78-0C43AB7049E7}" dt="2025-12-08T00:26:52.715" v="10211"/>
          <ac:graphicFrameMkLst>
            <pc:docMk/>
            <pc:sldMk cId="1036894968" sldId="699"/>
            <ac:graphicFrameMk id="23" creationId="{0214D9B8-CF58-C655-EB0C-62095179D1B8}"/>
          </ac:graphicFrameMkLst>
        </pc:graphicFrameChg>
      </pc:sldChg>
      <pc:sldChg chg="addSp delSp modSp mod modShow modNotes">
        <pc:chgData name="Falcão Lacerda, Rafael" userId="40181ff7-4694-4c53-a944-7b7d63582359" providerId="ADAL" clId="{3B4D5F63-EA56-4616-8A78-0C43AB7049E7}" dt="2025-12-08T17:18:13.731" v="34035" actId="729"/>
        <pc:sldMkLst>
          <pc:docMk/>
          <pc:sldMk cId="1536404056" sldId="707"/>
        </pc:sldMkLst>
        <pc:spChg chg="mod">
          <ac:chgData name="Falcão Lacerda, Rafael" userId="40181ff7-4694-4c53-a944-7b7d63582359" providerId="ADAL" clId="{3B4D5F63-EA56-4616-8A78-0C43AB7049E7}" dt="2025-12-08T00:26:45.704" v="7597" actId="948"/>
          <ac:spMkLst>
            <pc:docMk/>
            <pc:sldMk cId="1536404056" sldId="707"/>
            <ac:spMk id="2" creationId="{4A56D9CB-5F67-45AE-8FBF-00D78E537DAA}"/>
          </ac:spMkLst>
        </pc:spChg>
        <pc:spChg chg="add del mod modVis">
          <ac:chgData name="Falcão Lacerda, Rafael" userId="40181ff7-4694-4c53-a944-7b7d63582359" providerId="ADAL" clId="{3B4D5F63-EA56-4616-8A78-0C43AB7049E7}" dt="2025-12-08T00:26:52.489" v="10133"/>
          <ac:spMkLst>
            <pc:docMk/>
            <pc:sldMk cId="1536404056" sldId="707"/>
            <ac:spMk id="3" creationId="{38E5DF40-5A2F-2A78-DB56-FCF356F445ED}"/>
          </ac:spMkLst>
        </pc:spChg>
        <pc:spChg chg="mod">
          <ac:chgData name="Falcão Lacerda, Rafael" userId="40181ff7-4694-4c53-a944-7b7d63582359" providerId="ADAL" clId="{3B4D5F63-EA56-4616-8A78-0C43AB7049E7}" dt="2025-12-08T00:26:41.841" v="6329" actId="790"/>
          <ac:spMkLst>
            <pc:docMk/>
            <pc:sldMk cId="1536404056" sldId="707"/>
            <ac:spMk id="5" creationId="{F8FD6ADE-C840-483C-9563-7C620019961A}"/>
          </ac:spMkLst>
        </pc:spChg>
        <pc:spChg chg="mod">
          <ac:chgData name="Falcão Lacerda, Rafael" userId="40181ff7-4694-4c53-a944-7b7d63582359" providerId="ADAL" clId="{3B4D5F63-EA56-4616-8A78-0C43AB7049E7}" dt="2025-12-08T00:26:36.748" v="4512" actId="947"/>
          <ac:spMkLst>
            <pc:docMk/>
            <pc:sldMk cId="1536404056" sldId="707"/>
            <ac:spMk id="7" creationId="{17CDB244-E0F7-4B31-9AF9-9AA45C1ECD7C}"/>
          </ac:spMkLst>
        </pc:spChg>
        <pc:spChg chg="mod">
          <ac:chgData name="Falcão Lacerda, Rafael" userId="40181ff7-4694-4c53-a944-7b7d63582359" providerId="ADAL" clId="{3B4D5F63-EA56-4616-8A78-0C43AB7049E7}" dt="2025-12-08T00:26:36.748" v="4510" actId="947"/>
          <ac:spMkLst>
            <pc:docMk/>
            <pc:sldMk cId="1536404056" sldId="707"/>
            <ac:spMk id="8" creationId="{A5770749-30EE-4FE3-960C-1B5F09BF2B72}"/>
          </ac:spMkLst>
        </pc:spChg>
        <pc:spChg chg="mod">
          <ac:chgData name="Falcão Lacerda, Rafael" userId="40181ff7-4694-4c53-a944-7b7d63582359" providerId="ADAL" clId="{3B4D5F63-EA56-4616-8A78-0C43AB7049E7}" dt="2025-12-08T00:26:41.841" v="6329" actId="790"/>
          <ac:spMkLst>
            <pc:docMk/>
            <pc:sldMk cId="1536404056" sldId="707"/>
            <ac:spMk id="9" creationId="{6950167E-895B-40D4-9E9C-E355DE50791C}"/>
          </ac:spMkLst>
        </pc:spChg>
        <pc:spChg chg="mod">
          <ac:chgData name="Falcão Lacerda, Rafael" userId="40181ff7-4694-4c53-a944-7b7d63582359" providerId="ADAL" clId="{3B4D5F63-EA56-4616-8A78-0C43AB7049E7}" dt="2025-12-08T00:26:36.748" v="4506" actId="947"/>
          <ac:spMkLst>
            <pc:docMk/>
            <pc:sldMk cId="1536404056" sldId="707"/>
            <ac:spMk id="11" creationId="{C2DAE165-1F24-42FE-8C60-84D120740F3D}"/>
          </ac:spMkLst>
        </pc:spChg>
        <pc:spChg chg="mod">
          <ac:chgData name="Falcão Lacerda, Rafael" userId="40181ff7-4694-4c53-a944-7b7d63582359" providerId="ADAL" clId="{3B4D5F63-EA56-4616-8A78-0C43AB7049E7}" dt="2025-12-08T00:26:36.748" v="4504" actId="947"/>
          <ac:spMkLst>
            <pc:docMk/>
            <pc:sldMk cId="1536404056" sldId="707"/>
            <ac:spMk id="12" creationId="{4AABB291-A38A-412A-B495-724D45AE1CE3}"/>
          </ac:spMkLst>
        </pc:spChg>
        <pc:spChg chg="mod">
          <ac:chgData name="Falcão Lacerda, Rafael" userId="40181ff7-4694-4c53-a944-7b7d63582359" providerId="ADAL" clId="{3B4D5F63-EA56-4616-8A78-0C43AB7049E7}" dt="2025-12-08T00:26:36.742" v="4502" actId="947"/>
          <ac:spMkLst>
            <pc:docMk/>
            <pc:sldMk cId="1536404056" sldId="707"/>
            <ac:spMk id="13" creationId="{91794621-179F-4E1D-BB4C-F4AB66B70F3F}"/>
          </ac:spMkLst>
        </pc:spChg>
        <pc:spChg chg="mod">
          <ac:chgData name="Falcão Lacerda, Rafael" userId="40181ff7-4694-4c53-a944-7b7d63582359" providerId="ADAL" clId="{3B4D5F63-EA56-4616-8A78-0C43AB7049E7}" dt="2025-12-08T00:26:36.742" v="4498" actId="947"/>
          <ac:spMkLst>
            <pc:docMk/>
            <pc:sldMk cId="1536404056" sldId="707"/>
            <ac:spMk id="14" creationId="{D3BB85D6-469C-4B7C-B42B-89B746379A8D}"/>
          </ac:spMkLst>
        </pc:spChg>
        <pc:spChg chg="mod">
          <ac:chgData name="Falcão Lacerda, Rafael" userId="40181ff7-4694-4c53-a944-7b7d63582359" providerId="ADAL" clId="{3B4D5F63-EA56-4616-8A78-0C43AB7049E7}" dt="2025-12-08T00:26:36.732" v="4496" actId="947"/>
          <ac:spMkLst>
            <pc:docMk/>
            <pc:sldMk cId="1536404056" sldId="707"/>
            <ac:spMk id="16" creationId="{98F17DEC-574A-42E6-AFFF-AC6F84889F11}"/>
          </ac:spMkLst>
        </pc:spChg>
        <pc:spChg chg="mod">
          <ac:chgData name="Falcão Lacerda, Rafael" userId="40181ff7-4694-4c53-a944-7b7d63582359" providerId="ADAL" clId="{3B4D5F63-EA56-4616-8A78-0C43AB7049E7}" dt="2025-12-08T00:26:41.841" v="6329" actId="790"/>
          <ac:spMkLst>
            <pc:docMk/>
            <pc:sldMk cId="1536404056" sldId="707"/>
            <ac:spMk id="17" creationId="{F94D76A0-A0B0-4BAF-B76D-EC37B25EEA97}"/>
          </ac:spMkLst>
        </pc:spChg>
        <pc:spChg chg="mod">
          <ac:chgData name="Falcão Lacerda, Rafael" userId="40181ff7-4694-4c53-a944-7b7d63582359" providerId="ADAL" clId="{3B4D5F63-EA56-4616-8A78-0C43AB7049E7}" dt="2025-12-08T00:26:36.732" v="4492" actId="947"/>
          <ac:spMkLst>
            <pc:docMk/>
            <pc:sldMk cId="1536404056" sldId="707"/>
            <ac:spMk id="18" creationId="{D4D99F52-E18C-4B59-90F5-A0C01256A54A}"/>
          </ac:spMkLst>
        </pc:spChg>
        <pc:spChg chg="mod">
          <ac:chgData name="Falcão Lacerda, Rafael" userId="40181ff7-4694-4c53-a944-7b7d63582359" providerId="ADAL" clId="{3B4D5F63-EA56-4616-8A78-0C43AB7049E7}" dt="2025-12-08T00:26:36.722" v="4484" actId="947"/>
          <ac:spMkLst>
            <pc:docMk/>
            <pc:sldMk cId="1536404056" sldId="707"/>
            <ac:spMk id="20" creationId="{1AF5AEB1-5C82-4901-8C15-767388E5B7B9}"/>
          </ac:spMkLst>
        </pc:spChg>
        <pc:spChg chg="mod">
          <ac:chgData name="Falcão Lacerda, Rafael" userId="40181ff7-4694-4c53-a944-7b7d63582359" providerId="ADAL" clId="{3B4D5F63-EA56-4616-8A78-0C43AB7049E7}" dt="2025-12-08T00:26:36.719" v="4482" actId="947"/>
          <ac:spMkLst>
            <pc:docMk/>
            <pc:sldMk cId="1536404056" sldId="707"/>
            <ac:spMk id="21" creationId="{B9163689-BE72-4401-B707-8A2D7A9EDFD7}"/>
          </ac:spMkLst>
        </pc:spChg>
        <pc:spChg chg="mod">
          <ac:chgData name="Falcão Lacerda, Rafael" userId="40181ff7-4694-4c53-a944-7b7d63582359" providerId="ADAL" clId="{3B4D5F63-EA56-4616-8A78-0C43AB7049E7}" dt="2025-12-08T00:26:36.700" v="4480" actId="947"/>
          <ac:spMkLst>
            <pc:docMk/>
            <pc:sldMk cId="1536404056" sldId="707"/>
            <ac:spMk id="22" creationId="{4541AE24-D18E-4580-8BD7-3ABD0A7563DA}"/>
          </ac:spMkLst>
        </pc:spChg>
        <pc:spChg chg="mod">
          <ac:chgData name="Falcão Lacerda, Rafael" userId="40181ff7-4694-4c53-a944-7b7d63582359" providerId="ADAL" clId="{3B4D5F63-EA56-4616-8A78-0C43AB7049E7}" dt="2025-12-08T00:26:41.841" v="6329" actId="790"/>
          <ac:spMkLst>
            <pc:docMk/>
            <pc:sldMk cId="1536404056" sldId="707"/>
            <ac:spMk id="23" creationId="{3B3E4034-A99A-4FAB-AB9F-46FC92746840}"/>
          </ac:spMkLst>
        </pc:spChg>
        <pc:spChg chg="mod">
          <ac:chgData name="Falcão Lacerda, Rafael" userId="40181ff7-4694-4c53-a944-7b7d63582359" providerId="ADAL" clId="{3B4D5F63-EA56-4616-8A78-0C43AB7049E7}" dt="2025-12-08T00:26:36.700" v="4476" actId="947"/>
          <ac:spMkLst>
            <pc:docMk/>
            <pc:sldMk cId="1536404056" sldId="707"/>
            <ac:spMk id="25" creationId="{B1D65C59-E41F-406A-93E6-4BF4E5F33508}"/>
          </ac:spMkLst>
        </pc:spChg>
        <pc:spChg chg="mod">
          <ac:chgData name="Falcão Lacerda, Rafael" userId="40181ff7-4694-4c53-a944-7b7d63582359" providerId="ADAL" clId="{3B4D5F63-EA56-4616-8A78-0C43AB7049E7}" dt="2025-12-08T00:26:36.700" v="4474" actId="947"/>
          <ac:spMkLst>
            <pc:docMk/>
            <pc:sldMk cId="1536404056" sldId="707"/>
            <ac:spMk id="26" creationId="{35647525-243A-4C0F-B202-A9256699BC51}"/>
          </ac:spMkLst>
        </pc:spChg>
        <pc:spChg chg="mod">
          <ac:chgData name="Falcão Lacerda, Rafael" userId="40181ff7-4694-4c53-a944-7b7d63582359" providerId="ADAL" clId="{3B4D5F63-EA56-4616-8A78-0C43AB7049E7}" dt="2025-12-08T00:26:41.841" v="6329" actId="790"/>
          <ac:spMkLst>
            <pc:docMk/>
            <pc:sldMk cId="1536404056" sldId="707"/>
            <ac:spMk id="28" creationId="{64755462-AA99-4A1F-B095-0689E85F8D7C}"/>
          </ac:spMkLst>
        </pc:spChg>
        <pc:spChg chg="mod">
          <ac:chgData name="Falcão Lacerda, Rafael" userId="40181ff7-4694-4c53-a944-7b7d63582359" providerId="ADAL" clId="{3B4D5F63-EA56-4616-8A78-0C43AB7049E7}" dt="2025-12-08T00:26:41.841" v="6329" actId="790"/>
          <ac:spMkLst>
            <pc:docMk/>
            <pc:sldMk cId="1536404056" sldId="707"/>
            <ac:spMk id="29" creationId="{F9DA9FF5-9B1F-459F-984F-45DF6CC58D8E}"/>
          </ac:spMkLst>
        </pc:spChg>
        <pc:spChg chg="mod">
          <ac:chgData name="Falcão Lacerda, Rafael" userId="40181ff7-4694-4c53-a944-7b7d63582359" providerId="ADAL" clId="{3B4D5F63-EA56-4616-8A78-0C43AB7049E7}" dt="2025-12-08T00:26:41.841" v="6329" actId="790"/>
          <ac:spMkLst>
            <pc:docMk/>
            <pc:sldMk cId="1536404056" sldId="707"/>
            <ac:spMk id="30" creationId="{EC010467-B1A1-4B55-B3EA-1B4B105E6EB1}"/>
          </ac:spMkLst>
        </pc:spChg>
        <pc:spChg chg="mod">
          <ac:chgData name="Falcão Lacerda, Rafael" userId="40181ff7-4694-4c53-a944-7b7d63582359" providerId="ADAL" clId="{3B4D5F63-EA56-4616-8A78-0C43AB7049E7}" dt="2025-12-08T00:26:41.841" v="6329" actId="790"/>
          <ac:spMkLst>
            <pc:docMk/>
            <pc:sldMk cId="1536404056" sldId="707"/>
            <ac:spMk id="32" creationId="{116C7D2B-A56B-47C2-AD88-2B7DE86A2376}"/>
          </ac:spMkLst>
        </pc:spChg>
        <pc:spChg chg="mod">
          <ac:chgData name="Falcão Lacerda, Rafael" userId="40181ff7-4694-4c53-a944-7b7d63582359" providerId="ADAL" clId="{3B4D5F63-EA56-4616-8A78-0C43AB7049E7}" dt="2025-12-08T00:26:41.841" v="6329" actId="790"/>
          <ac:spMkLst>
            <pc:docMk/>
            <pc:sldMk cId="1536404056" sldId="707"/>
            <ac:spMk id="33" creationId="{52B2CE2F-8A6D-406C-B7BA-EF68C36B8E16}"/>
          </ac:spMkLst>
        </pc:spChg>
        <pc:spChg chg="mod">
          <ac:chgData name="Falcão Lacerda, Rafael" userId="40181ff7-4694-4c53-a944-7b7d63582359" providerId="ADAL" clId="{3B4D5F63-EA56-4616-8A78-0C43AB7049E7}" dt="2025-12-08T00:26:36.722" v="4486" actId="947"/>
          <ac:spMkLst>
            <pc:docMk/>
            <pc:sldMk cId="1536404056" sldId="707"/>
            <ac:spMk id="34" creationId="{C9EE60B0-06DF-4829-A4F4-AE3D08259D12}"/>
          </ac:spMkLst>
        </pc:spChg>
        <pc:spChg chg="mod">
          <ac:chgData name="Falcão Lacerda, Rafael" userId="40181ff7-4694-4c53-a944-7b7d63582359" providerId="ADAL" clId="{3B4D5F63-EA56-4616-8A78-0C43AB7049E7}" dt="2025-12-08T00:26:36.684" v="4466" actId="947"/>
          <ac:spMkLst>
            <pc:docMk/>
            <pc:sldMk cId="1536404056" sldId="707"/>
            <ac:spMk id="39" creationId="{BEC08726-D1B3-B9E6-BD44-138FCE7F937C}"/>
          </ac:spMkLst>
        </pc:spChg>
        <pc:graphicFrameChg chg="add mod ord modVis">
          <ac:chgData name="Falcão Lacerda, Rafael" userId="40181ff7-4694-4c53-a944-7b7d63582359" providerId="ADAL" clId="{3B4D5F63-EA56-4616-8A78-0C43AB7049E7}" dt="2025-12-08T00:26:52.541" v="10147"/>
          <ac:graphicFrameMkLst>
            <pc:docMk/>
            <pc:sldMk cId="1536404056" sldId="707"/>
            <ac:graphicFrameMk id="35" creationId="{050BA2F8-199C-4225-6924-9284A59503AA}"/>
          </ac:graphicFrameMkLst>
        </pc:graphicFrameChg>
      </pc:sldChg>
      <pc:sldChg chg="addSp delSp modSp mod modShow modNotes">
        <pc:chgData name="Falcão Lacerda, Rafael" userId="40181ff7-4694-4c53-a944-7b7d63582359" providerId="ADAL" clId="{3B4D5F63-EA56-4616-8A78-0C43AB7049E7}" dt="2025-12-08T17:18:13.731" v="34035" actId="729"/>
        <pc:sldMkLst>
          <pc:docMk/>
          <pc:sldMk cId="2796007181" sldId="709"/>
        </pc:sldMkLst>
        <pc:spChg chg="mod">
          <ac:chgData name="Falcão Lacerda, Rafael" userId="40181ff7-4694-4c53-a944-7b7d63582359" providerId="ADAL" clId="{3B4D5F63-EA56-4616-8A78-0C43AB7049E7}" dt="2025-12-08T00:26:45.980" v="7717" actId="948"/>
          <ac:spMkLst>
            <pc:docMk/>
            <pc:sldMk cId="2796007181" sldId="709"/>
            <ac:spMk id="2" creationId="{4A56D9CB-5F67-45AE-8FBF-00D78E537DAA}"/>
          </ac:spMkLst>
        </pc:spChg>
        <pc:spChg chg="mod">
          <ac:chgData name="Falcão Lacerda, Rafael" userId="40181ff7-4694-4c53-a944-7b7d63582359" providerId="ADAL" clId="{3B4D5F63-EA56-4616-8A78-0C43AB7049E7}" dt="2025-12-08T00:26:37.200" v="4706" actId="947"/>
          <ac:spMkLst>
            <pc:docMk/>
            <pc:sldMk cId="2796007181" sldId="709"/>
            <ac:spMk id="3" creationId="{3A28C293-5B39-486E-BD09-ABD0BA9EA4E5}"/>
          </ac:spMkLst>
        </pc:spChg>
        <pc:spChg chg="add del mod modVis">
          <ac:chgData name="Falcão Lacerda, Rafael" userId="40181ff7-4694-4c53-a944-7b7d63582359" providerId="ADAL" clId="{3B4D5F63-EA56-4616-8A78-0C43AB7049E7}" dt="2025-12-08T00:26:52.778" v="10229"/>
          <ac:spMkLst>
            <pc:docMk/>
            <pc:sldMk cId="2796007181" sldId="709"/>
            <ac:spMk id="5" creationId="{1B1C3B71-77D0-59A9-7F9C-E539B774F260}"/>
          </ac:spMkLst>
        </pc:spChg>
        <pc:spChg chg="mod">
          <ac:chgData name="Falcão Lacerda, Rafael" userId="40181ff7-4694-4c53-a944-7b7d63582359" providerId="ADAL" clId="{3B4D5F63-EA56-4616-8A78-0C43AB7049E7}" dt="2025-12-08T00:26:37.262" v="4736" actId="947"/>
          <ac:spMkLst>
            <pc:docMk/>
            <pc:sldMk cId="2796007181" sldId="709"/>
            <ac:spMk id="52" creationId="{961536DA-43E3-4AC4-AE42-A33868426FDB}"/>
          </ac:spMkLst>
        </pc:spChg>
        <pc:spChg chg="mod">
          <ac:chgData name="Falcão Lacerda, Rafael" userId="40181ff7-4694-4c53-a944-7b7d63582359" providerId="ADAL" clId="{3B4D5F63-EA56-4616-8A78-0C43AB7049E7}" dt="2025-12-08T00:26:41.841" v="6329" actId="790"/>
          <ac:spMkLst>
            <pc:docMk/>
            <pc:sldMk cId="2796007181" sldId="709"/>
            <ac:spMk id="53" creationId="{2B67412B-17E6-4DD3-9C34-B7C07F6F39C9}"/>
          </ac:spMkLst>
        </pc:spChg>
        <pc:spChg chg="mod">
          <ac:chgData name="Falcão Lacerda, Rafael" userId="40181ff7-4694-4c53-a944-7b7d63582359" providerId="ADAL" clId="{3B4D5F63-EA56-4616-8A78-0C43AB7049E7}" dt="2025-12-08T00:26:37.258" v="4734" actId="947"/>
          <ac:spMkLst>
            <pc:docMk/>
            <pc:sldMk cId="2796007181" sldId="709"/>
            <ac:spMk id="55" creationId="{0370A3CE-2A21-44D6-B510-9660B5ED757B}"/>
          </ac:spMkLst>
        </pc:spChg>
        <pc:spChg chg="mod">
          <ac:chgData name="Falcão Lacerda, Rafael" userId="40181ff7-4694-4c53-a944-7b7d63582359" providerId="ADAL" clId="{3B4D5F63-EA56-4616-8A78-0C43AB7049E7}" dt="2025-12-08T00:26:41.841" v="6329" actId="790"/>
          <ac:spMkLst>
            <pc:docMk/>
            <pc:sldMk cId="2796007181" sldId="709"/>
            <ac:spMk id="57" creationId="{57242F43-2DC5-4043-A3AA-09FB4CBBBD5E}"/>
          </ac:spMkLst>
        </pc:spChg>
        <pc:spChg chg="mod">
          <ac:chgData name="Falcão Lacerda, Rafael" userId="40181ff7-4694-4c53-a944-7b7d63582359" providerId="ADAL" clId="{3B4D5F63-EA56-4616-8A78-0C43AB7049E7}" dt="2025-12-08T00:26:37.252" v="4730" actId="947"/>
          <ac:spMkLst>
            <pc:docMk/>
            <pc:sldMk cId="2796007181" sldId="709"/>
            <ac:spMk id="58" creationId="{32D8EB8C-CEF2-4DC8-86FB-B61C9FABAFC3}"/>
          </ac:spMkLst>
        </pc:spChg>
        <pc:spChg chg="mod">
          <ac:chgData name="Falcão Lacerda, Rafael" userId="40181ff7-4694-4c53-a944-7b7d63582359" providerId="ADAL" clId="{3B4D5F63-EA56-4616-8A78-0C43AB7049E7}" dt="2025-12-08T00:26:37.248" v="4728" actId="947"/>
          <ac:spMkLst>
            <pc:docMk/>
            <pc:sldMk cId="2796007181" sldId="709"/>
            <ac:spMk id="60" creationId="{BA50DE27-15B6-47B8-842E-8F2185A3AB8E}"/>
          </ac:spMkLst>
        </pc:spChg>
        <pc:spChg chg="mod">
          <ac:chgData name="Falcão Lacerda, Rafael" userId="40181ff7-4694-4c53-a944-7b7d63582359" providerId="ADAL" clId="{3B4D5F63-EA56-4616-8A78-0C43AB7049E7}" dt="2025-12-08T00:26:41.841" v="6329" actId="790"/>
          <ac:spMkLst>
            <pc:docMk/>
            <pc:sldMk cId="2796007181" sldId="709"/>
            <ac:spMk id="62" creationId="{8AE18158-33A3-403F-A50B-3A4B71E7164A}"/>
          </ac:spMkLst>
        </pc:spChg>
        <pc:spChg chg="mod">
          <ac:chgData name="Falcão Lacerda, Rafael" userId="40181ff7-4694-4c53-a944-7b7d63582359" providerId="ADAL" clId="{3B4D5F63-EA56-4616-8A78-0C43AB7049E7}" dt="2025-12-08T00:26:37.241" v="4724" actId="947"/>
          <ac:spMkLst>
            <pc:docMk/>
            <pc:sldMk cId="2796007181" sldId="709"/>
            <ac:spMk id="63" creationId="{86A07939-DF29-4E8E-A80A-14DCA512B27E}"/>
          </ac:spMkLst>
        </pc:spChg>
        <pc:spChg chg="mod">
          <ac:chgData name="Falcão Lacerda, Rafael" userId="40181ff7-4694-4c53-a944-7b7d63582359" providerId="ADAL" clId="{3B4D5F63-EA56-4616-8A78-0C43AB7049E7}" dt="2025-12-08T00:26:37.238" v="4722" actId="947"/>
          <ac:spMkLst>
            <pc:docMk/>
            <pc:sldMk cId="2796007181" sldId="709"/>
            <ac:spMk id="65" creationId="{238D27AF-4F48-4D3D-BE8F-EB6DCA470BA0}"/>
          </ac:spMkLst>
        </pc:spChg>
        <pc:spChg chg="mod">
          <ac:chgData name="Falcão Lacerda, Rafael" userId="40181ff7-4694-4c53-a944-7b7d63582359" providerId="ADAL" clId="{3B4D5F63-EA56-4616-8A78-0C43AB7049E7}" dt="2025-12-08T00:26:37.235" v="4720" actId="947"/>
          <ac:spMkLst>
            <pc:docMk/>
            <pc:sldMk cId="2796007181" sldId="709"/>
            <ac:spMk id="67" creationId="{11FA59C1-C76D-4F5C-A14F-0A2EFC60D352}"/>
          </ac:spMkLst>
        </pc:spChg>
        <pc:spChg chg="mod">
          <ac:chgData name="Falcão Lacerda, Rafael" userId="40181ff7-4694-4c53-a944-7b7d63582359" providerId="ADAL" clId="{3B4D5F63-EA56-4616-8A78-0C43AB7049E7}" dt="2025-12-08T00:26:37.231" v="4718" actId="947"/>
          <ac:spMkLst>
            <pc:docMk/>
            <pc:sldMk cId="2796007181" sldId="709"/>
            <ac:spMk id="68" creationId="{7174484B-E0EB-481A-AADA-D3E0A3FAC2D2}"/>
          </ac:spMkLst>
        </pc:spChg>
        <pc:spChg chg="mod">
          <ac:chgData name="Falcão Lacerda, Rafael" userId="40181ff7-4694-4c53-a944-7b7d63582359" providerId="ADAL" clId="{3B4D5F63-EA56-4616-8A78-0C43AB7049E7}" dt="2025-12-08T00:26:41.841" v="6329" actId="790"/>
          <ac:spMkLst>
            <pc:docMk/>
            <pc:sldMk cId="2796007181" sldId="709"/>
            <ac:spMk id="70" creationId="{39CB1574-1968-48A3-8D38-6A4AD3E3AF86}"/>
          </ac:spMkLst>
        </pc:spChg>
        <pc:spChg chg="mod">
          <ac:chgData name="Falcão Lacerda, Rafael" userId="40181ff7-4694-4c53-a944-7b7d63582359" providerId="ADAL" clId="{3B4D5F63-EA56-4616-8A78-0C43AB7049E7}" dt="2025-12-08T00:26:37.216" v="4714" actId="947"/>
          <ac:spMkLst>
            <pc:docMk/>
            <pc:sldMk cId="2796007181" sldId="709"/>
            <ac:spMk id="72" creationId="{4C19CC65-87AF-4277-B37E-842AE34556DE}"/>
          </ac:spMkLst>
        </pc:spChg>
        <pc:spChg chg="mod">
          <ac:chgData name="Falcão Lacerda, Rafael" userId="40181ff7-4694-4c53-a944-7b7d63582359" providerId="ADAL" clId="{3B4D5F63-EA56-4616-8A78-0C43AB7049E7}" dt="2025-12-08T00:26:37.216" v="4712" actId="947"/>
          <ac:spMkLst>
            <pc:docMk/>
            <pc:sldMk cId="2796007181" sldId="709"/>
            <ac:spMk id="73" creationId="{BFE244A7-8D96-40F0-B0BF-65BD0D27B9DF}"/>
          </ac:spMkLst>
        </pc:spChg>
        <pc:spChg chg="mod">
          <ac:chgData name="Falcão Lacerda, Rafael" userId="40181ff7-4694-4c53-a944-7b7d63582359" providerId="ADAL" clId="{3B4D5F63-EA56-4616-8A78-0C43AB7049E7}" dt="2025-12-08T00:26:37.216" v="4710" actId="947"/>
          <ac:spMkLst>
            <pc:docMk/>
            <pc:sldMk cId="2796007181" sldId="709"/>
            <ac:spMk id="75" creationId="{71E6F8C3-2DE7-46EE-BDDA-3742442AFB74}"/>
          </ac:spMkLst>
        </pc:spChg>
        <pc:spChg chg="mod">
          <ac:chgData name="Falcão Lacerda, Rafael" userId="40181ff7-4694-4c53-a944-7b7d63582359" providerId="ADAL" clId="{3B4D5F63-EA56-4616-8A78-0C43AB7049E7}" dt="2025-12-08T00:26:37.216" v="4708" actId="947"/>
          <ac:spMkLst>
            <pc:docMk/>
            <pc:sldMk cId="2796007181" sldId="709"/>
            <ac:spMk id="76" creationId="{403B7AA7-A4DD-4849-B9B6-45222B7AC033}"/>
          </ac:spMkLst>
        </pc:spChg>
        <pc:spChg chg="mod">
          <ac:chgData name="Falcão Lacerda, Rafael" userId="40181ff7-4694-4c53-a944-7b7d63582359" providerId="ADAL" clId="{3B4D5F63-EA56-4616-8A78-0C43AB7049E7}" dt="2025-12-08T00:26:37.306" v="4764" actId="947"/>
          <ac:spMkLst>
            <pc:docMk/>
            <pc:sldMk cId="2796007181" sldId="709"/>
            <ac:spMk id="78" creationId="{6747820A-B871-4B58-A1A7-6F9D44866322}"/>
          </ac:spMkLst>
        </pc:spChg>
        <pc:spChg chg="mod">
          <ac:chgData name="Falcão Lacerda, Rafael" userId="40181ff7-4694-4c53-a944-7b7d63582359" providerId="ADAL" clId="{3B4D5F63-EA56-4616-8A78-0C43AB7049E7}" dt="2025-12-08T00:26:37.303" v="4762" actId="947"/>
          <ac:spMkLst>
            <pc:docMk/>
            <pc:sldMk cId="2796007181" sldId="709"/>
            <ac:spMk id="79" creationId="{17341D36-CAB2-493C-BC14-7090450C2F31}"/>
          </ac:spMkLst>
        </pc:spChg>
        <pc:spChg chg="mod">
          <ac:chgData name="Falcão Lacerda, Rafael" userId="40181ff7-4694-4c53-a944-7b7d63582359" providerId="ADAL" clId="{3B4D5F63-EA56-4616-8A78-0C43AB7049E7}" dt="2025-12-08T00:26:41.841" v="6329" actId="790"/>
          <ac:spMkLst>
            <pc:docMk/>
            <pc:sldMk cId="2796007181" sldId="709"/>
            <ac:spMk id="80" creationId="{26A26068-2566-4443-B1A6-F7C428B0C3A5}"/>
          </ac:spMkLst>
        </pc:spChg>
        <pc:spChg chg="mod">
          <ac:chgData name="Falcão Lacerda, Rafael" userId="40181ff7-4694-4c53-a944-7b7d63582359" providerId="ADAL" clId="{3B4D5F63-EA56-4616-8A78-0C43AB7049E7}" dt="2025-12-08T00:26:37.295" v="4758" actId="947"/>
          <ac:spMkLst>
            <pc:docMk/>
            <pc:sldMk cId="2796007181" sldId="709"/>
            <ac:spMk id="82" creationId="{CB38F09A-72A2-45C7-B921-CA847955A148}"/>
          </ac:spMkLst>
        </pc:spChg>
        <pc:spChg chg="mod">
          <ac:chgData name="Falcão Lacerda, Rafael" userId="40181ff7-4694-4c53-a944-7b7d63582359" providerId="ADAL" clId="{3B4D5F63-EA56-4616-8A78-0C43AB7049E7}" dt="2025-12-08T00:26:37.292" v="4756" actId="947"/>
          <ac:spMkLst>
            <pc:docMk/>
            <pc:sldMk cId="2796007181" sldId="709"/>
            <ac:spMk id="83" creationId="{B73715A7-815D-454F-A2A4-31B76228F460}"/>
          </ac:spMkLst>
        </pc:spChg>
        <pc:spChg chg="mod">
          <ac:chgData name="Falcão Lacerda, Rafael" userId="40181ff7-4694-4c53-a944-7b7d63582359" providerId="ADAL" clId="{3B4D5F63-EA56-4616-8A78-0C43AB7049E7}" dt="2025-12-08T00:26:37.284" v="4754" actId="947"/>
          <ac:spMkLst>
            <pc:docMk/>
            <pc:sldMk cId="2796007181" sldId="709"/>
            <ac:spMk id="85" creationId="{7F994218-D7A7-4E2D-B69A-C0449322F516}"/>
          </ac:spMkLst>
        </pc:spChg>
        <pc:spChg chg="mod">
          <ac:chgData name="Falcão Lacerda, Rafael" userId="40181ff7-4694-4c53-a944-7b7d63582359" providerId="ADAL" clId="{3B4D5F63-EA56-4616-8A78-0C43AB7049E7}" dt="2025-12-08T00:26:41.841" v="6329" actId="790"/>
          <ac:spMkLst>
            <pc:docMk/>
            <pc:sldMk cId="2796007181" sldId="709"/>
            <ac:spMk id="87" creationId="{A7706A92-1669-40A7-AD54-F298CB4BA507}"/>
          </ac:spMkLst>
        </pc:spChg>
        <pc:spChg chg="mod">
          <ac:chgData name="Falcão Lacerda, Rafael" userId="40181ff7-4694-4c53-a944-7b7d63582359" providerId="ADAL" clId="{3B4D5F63-EA56-4616-8A78-0C43AB7049E7}" dt="2025-12-08T00:26:41.841" v="6329" actId="790"/>
          <ac:spMkLst>
            <pc:docMk/>
            <pc:sldMk cId="2796007181" sldId="709"/>
            <ac:spMk id="88" creationId="{0665C66D-01E8-48DD-8467-05030AF7593F}"/>
          </ac:spMkLst>
        </pc:spChg>
        <pc:spChg chg="mod">
          <ac:chgData name="Falcão Lacerda, Rafael" userId="40181ff7-4694-4c53-a944-7b7d63582359" providerId="ADAL" clId="{3B4D5F63-EA56-4616-8A78-0C43AB7049E7}" dt="2025-12-08T00:26:41.841" v="6329" actId="790"/>
          <ac:spMkLst>
            <pc:docMk/>
            <pc:sldMk cId="2796007181" sldId="709"/>
            <ac:spMk id="90" creationId="{1B406DA3-F177-4F74-B3AE-430D30E035F2}"/>
          </ac:spMkLst>
        </pc:spChg>
        <pc:spChg chg="mod">
          <ac:chgData name="Falcão Lacerda, Rafael" userId="40181ff7-4694-4c53-a944-7b7d63582359" providerId="ADAL" clId="{3B4D5F63-EA56-4616-8A78-0C43AB7049E7}" dt="2025-12-08T00:26:37.276" v="4746" actId="947"/>
          <ac:spMkLst>
            <pc:docMk/>
            <pc:sldMk cId="2796007181" sldId="709"/>
            <ac:spMk id="91" creationId="{D06EBBED-B16E-422B-8021-412CF453681C}"/>
          </ac:spMkLst>
        </pc:spChg>
        <pc:spChg chg="mod">
          <ac:chgData name="Falcão Lacerda, Rafael" userId="40181ff7-4694-4c53-a944-7b7d63582359" providerId="ADAL" clId="{3B4D5F63-EA56-4616-8A78-0C43AB7049E7}" dt="2025-12-08T00:26:37.272" v="4744" actId="947"/>
          <ac:spMkLst>
            <pc:docMk/>
            <pc:sldMk cId="2796007181" sldId="709"/>
            <ac:spMk id="92" creationId="{D8DEC7C1-E51D-4A9B-A3D4-8C87041F3B50}"/>
          </ac:spMkLst>
        </pc:spChg>
        <pc:spChg chg="mod">
          <ac:chgData name="Falcão Lacerda, Rafael" userId="40181ff7-4694-4c53-a944-7b7d63582359" providerId="ADAL" clId="{3B4D5F63-EA56-4616-8A78-0C43AB7049E7}" dt="2025-12-08T00:26:41.841" v="6329" actId="790"/>
          <ac:spMkLst>
            <pc:docMk/>
            <pc:sldMk cId="2796007181" sldId="709"/>
            <ac:spMk id="94" creationId="{D42C0615-951E-4A41-9BF5-1D5A380B2DC2}"/>
          </ac:spMkLst>
        </pc:spChg>
        <pc:spChg chg="mod">
          <ac:chgData name="Falcão Lacerda, Rafael" userId="40181ff7-4694-4c53-a944-7b7d63582359" providerId="ADAL" clId="{3B4D5F63-EA56-4616-8A78-0C43AB7049E7}" dt="2025-12-08T00:26:37.266" v="4740" actId="947"/>
          <ac:spMkLst>
            <pc:docMk/>
            <pc:sldMk cId="2796007181" sldId="709"/>
            <ac:spMk id="95" creationId="{D73F8BC1-FD49-46A2-868E-2460A6DEE8F4}"/>
          </ac:spMkLst>
        </pc:spChg>
        <pc:spChg chg="mod">
          <ac:chgData name="Falcão Lacerda, Rafael" userId="40181ff7-4694-4c53-a944-7b7d63582359" providerId="ADAL" clId="{3B4D5F63-EA56-4616-8A78-0C43AB7049E7}" dt="2025-12-08T00:26:41.841" v="6329" actId="790"/>
          <ac:spMkLst>
            <pc:docMk/>
            <pc:sldMk cId="2796007181" sldId="709"/>
            <ac:spMk id="96" creationId="{0648516F-DF46-4768-A3DC-FA78BF2AB330}"/>
          </ac:spMkLst>
        </pc:spChg>
        <pc:graphicFrameChg chg="add mod ord modVis">
          <ac:chgData name="Falcão Lacerda, Rafael" userId="40181ff7-4694-4c53-a944-7b7d63582359" providerId="ADAL" clId="{3B4D5F63-EA56-4616-8A78-0C43AB7049E7}" dt="2025-12-08T00:26:52.818" v="10243"/>
          <ac:graphicFrameMkLst>
            <pc:docMk/>
            <pc:sldMk cId="2796007181" sldId="709"/>
            <ac:graphicFrameMk id="6" creationId="{19C425BE-AD50-64C7-81C2-7AA347B63381}"/>
          </ac:graphicFrameMkLst>
        </pc:graphicFrameChg>
      </pc:sldChg>
      <pc:sldChg chg="del">
        <pc:chgData name="Falcão Lacerda, Rafael" userId="40181ff7-4694-4c53-a944-7b7d63582359" providerId="ADAL" clId="{3B4D5F63-EA56-4616-8A78-0C43AB7049E7}" dt="2025-12-08T00:16:47.266" v="2004" actId="47"/>
        <pc:sldMkLst>
          <pc:docMk/>
          <pc:sldMk cId="4023330536" sldId="717"/>
        </pc:sldMkLst>
      </pc:sldChg>
      <pc:sldChg chg="del">
        <pc:chgData name="Falcão Lacerda, Rafael" userId="40181ff7-4694-4c53-a944-7b7d63582359" providerId="ADAL" clId="{3B4D5F63-EA56-4616-8A78-0C43AB7049E7}" dt="2025-12-08T00:16:47.266" v="2004" actId="47"/>
        <pc:sldMkLst>
          <pc:docMk/>
          <pc:sldMk cId="3989583976" sldId="719"/>
        </pc:sldMkLst>
      </pc:sldChg>
      <pc:sldChg chg="addSp delSp modSp mod modShow modNotes">
        <pc:chgData name="Falcão Lacerda, Rafael" userId="40181ff7-4694-4c53-a944-7b7d63582359" providerId="ADAL" clId="{3B4D5F63-EA56-4616-8A78-0C43AB7049E7}" dt="2025-12-08T17:18:13.731" v="34035" actId="729"/>
        <pc:sldMkLst>
          <pc:docMk/>
          <pc:sldMk cId="1674653788" sldId="802"/>
        </pc:sldMkLst>
        <pc:spChg chg="add del mod modVis">
          <ac:chgData name="Falcão Lacerda, Rafael" userId="40181ff7-4694-4c53-a944-7b7d63582359" providerId="ADAL" clId="{3B4D5F63-EA56-4616-8A78-0C43AB7049E7}" dt="2025-12-08T00:26:52.610" v="10165"/>
          <ac:spMkLst>
            <pc:docMk/>
            <pc:sldMk cId="1674653788" sldId="802"/>
            <ac:spMk id="2" creationId="{09E6DB90-B15E-5FB9-AE65-B371561D1F86}"/>
          </ac:spMkLst>
        </pc:spChg>
        <pc:spChg chg="mod">
          <ac:chgData name="Falcão Lacerda, Rafael" userId="40181ff7-4694-4c53-a944-7b7d63582359" providerId="ADAL" clId="{3B4D5F63-EA56-4616-8A78-0C43AB7049E7}" dt="2025-12-08T00:26:41.841" v="6329" actId="790"/>
          <ac:spMkLst>
            <pc:docMk/>
            <pc:sldMk cId="1674653788" sldId="802"/>
            <ac:spMk id="4" creationId="{C6CC7B26-198A-62EA-6A4E-DD5D73A28A0B}"/>
          </ac:spMkLst>
        </pc:spChg>
        <pc:spChg chg="mod">
          <ac:chgData name="Falcão Lacerda, Rafael" userId="40181ff7-4694-4c53-a944-7b7d63582359" providerId="ADAL" clId="{3B4D5F63-EA56-4616-8A78-0C43AB7049E7}" dt="2025-12-08T00:26:41.841" v="6329" actId="790"/>
          <ac:spMkLst>
            <pc:docMk/>
            <pc:sldMk cId="1674653788" sldId="802"/>
            <ac:spMk id="6" creationId="{4AA70F5B-B70B-BB7D-9911-383226157CF3}"/>
          </ac:spMkLst>
        </pc:spChg>
        <pc:spChg chg="mod">
          <ac:chgData name="Falcão Lacerda, Rafael" userId="40181ff7-4694-4c53-a944-7b7d63582359" providerId="ADAL" clId="{3B4D5F63-EA56-4616-8A78-0C43AB7049E7}" dt="2025-12-08T00:26:45.811" v="7637" actId="948"/>
          <ac:spMkLst>
            <pc:docMk/>
            <pc:sldMk cId="1674653788" sldId="802"/>
            <ac:spMk id="7" creationId="{F7C4124B-B9D5-4FB9-AA46-3262DD2B40DB}"/>
          </ac:spMkLst>
        </pc:spChg>
        <pc:graphicFrameChg chg="add mod ord modVis">
          <ac:chgData name="Falcão Lacerda, Rafael" userId="40181ff7-4694-4c53-a944-7b7d63582359" providerId="ADAL" clId="{3B4D5F63-EA56-4616-8A78-0C43AB7049E7}" dt="2025-12-08T00:26:52.644" v="10179"/>
          <ac:graphicFrameMkLst>
            <pc:docMk/>
            <pc:sldMk cId="1674653788" sldId="802"/>
            <ac:graphicFrameMk id="3" creationId="{DF9C73E5-C27D-53EA-E3FF-9342C32D0969}"/>
          </ac:graphicFrameMkLst>
        </pc:graphicFrameChg>
      </pc:sldChg>
      <pc:sldChg chg="addSp delSp modSp mod modShow modNotes">
        <pc:chgData name="Falcão Lacerda, Rafael" userId="40181ff7-4694-4c53-a944-7b7d63582359" providerId="ADAL" clId="{3B4D5F63-EA56-4616-8A78-0C43AB7049E7}" dt="2025-12-08T17:18:13.731" v="34035" actId="729"/>
        <pc:sldMkLst>
          <pc:docMk/>
          <pc:sldMk cId="1953255485" sldId="803"/>
        </pc:sldMkLst>
        <pc:spChg chg="add del mod modVis">
          <ac:chgData name="Falcão Lacerda, Rafael" userId="40181ff7-4694-4c53-a944-7b7d63582359" providerId="ADAL" clId="{3B4D5F63-EA56-4616-8A78-0C43AB7049E7}" dt="2025-12-08T00:26:52.730" v="10213"/>
          <ac:spMkLst>
            <pc:docMk/>
            <pc:sldMk cId="1953255485" sldId="803"/>
            <ac:spMk id="2" creationId="{CCF249F9-A8ED-F6DC-DA37-398E2E986977}"/>
          </ac:spMkLst>
        </pc:spChg>
        <pc:spChg chg="mod">
          <ac:chgData name="Falcão Lacerda, Rafael" userId="40181ff7-4694-4c53-a944-7b7d63582359" providerId="ADAL" clId="{3B4D5F63-EA56-4616-8A78-0C43AB7049E7}" dt="2025-12-08T00:26:45.927" v="7697" actId="948"/>
          <ac:spMkLst>
            <pc:docMk/>
            <pc:sldMk cId="1953255485" sldId="803"/>
            <ac:spMk id="3" creationId="{5ED8ABA2-A23A-535D-E4AC-4309808BC757}"/>
          </ac:spMkLst>
        </pc:spChg>
        <pc:spChg chg="mod">
          <ac:chgData name="Falcão Lacerda, Rafael" userId="40181ff7-4694-4c53-a944-7b7d63582359" providerId="ADAL" clId="{3B4D5F63-EA56-4616-8A78-0C43AB7049E7}" dt="2025-12-08T00:26:41.841" v="6329" actId="790"/>
          <ac:spMkLst>
            <pc:docMk/>
            <pc:sldMk cId="1953255485" sldId="803"/>
            <ac:spMk id="4" creationId="{EC99AC6B-6CDE-53ED-A126-B9ED45F334F7}"/>
          </ac:spMkLst>
        </pc:spChg>
        <pc:spChg chg="mod">
          <ac:chgData name="Falcão Lacerda, Rafael" userId="40181ff7-4694-4c53-a944-7b7d63582359" providerId="ADAL" clId="{3B4D5F63-EA56-4616-8A78-0C43AB7049E7}" dt="2025-12-08T00:26:41.841" v="6329" actId="790"/>
          <ac:spMkLst>
            <pc:docMk/>
            <pc:sldMk cId="1953255485" sldId="803"/>
            <ac:spMk id="7" creationId="{61A420D6-5E09-C212-C31D-AF10514F79E7}"/>
          </ac:spMkLst>
        </pc:spChg>
        <pc:graphicFrameChg chg="add mod ord modVis">
          <ac:chgData name="Falcão Lacerda, Rafael" userId="40181ff7-4694-4c53-a944-7b7d63582359" providerId="ADAL" clId="{3B4D5F63-EA56-4616-8A78-0C43AB7049E7}" dt="2025-12-08T00:26:52.762" v="10227"/>
          <ac:graphicFrameMkLst>
            <pc:docMk/>
            <pc:sldMk cId="1953255485" sldId="803"/>
            <ac:graphicFrameMk id="5" creationId="{0C10D731-54D9-6BEF-1D4C-D09F440BCE12}"/>
          </ac:graphicFrameMkLst>
        </pc:graphicFrameChg>
      </pc:sldChg>
      <pc:sldChg chg="addSp delSp modSp mod modShow modNotes">
        <pc:chgData name="Falcão Lacerda, Rafael" userId="40181ff7-4694-4c53-a944-7b7d63582359" providerId="ADAL" clId="{3B4D5F63-EA56-4616-8A78-0C43AB7049E7}" dt="2025-12-08T17:18:13.731" v="34035" actId="729"/>
        <pc:sldMkLst>
          <pc:docMk/>
          <pc:sldMk cId="2801021876" sldId="804"/>
        </pc:sldMkLst>
        <pc:spChg chg="add del mod modVis">
          <ac:chgData name="Falcão Lacerda, Rafael" userId="40181ff7-4694-4c53-a944-7b7d63582359" providerId="ADAL" clId="{3B4D5F63-EA56-4616-8A78-0C43AB7049E7}" dt="2025-12-08T00:26:51.992" v="9979"/>
          <ac:spMkLst>
            <pc:docMk/>
            <pc:sldMk cId="2801021876" sldId="804"/>
            <ac:spMk id="2" creationId="{07F0244B-BBF3-4DAF-5E36-43BBFBC58FE6}"/>
          </ac:spMkLst>
        </pc:spChg>
        <pc:spChg chg="mod">
          <ac:chgData name="Falcão Lacerda, Rafael" userId="40181ff7-4694-4c53-a944-7b7d63582359" providerId="ADAL" clId="{3B4D5F63-EA56-4616-8A78-0C43AB7049E7}" dt="2025-12-08T00:26:41.841" v="6329" actId="790"/>
          <ac:spMkLst>
            <pc:docMk/>
            <pc:sldMk cId="2801021876" sldId="804"/>
            <ac:spMk id="4" creationId="{5F127760-08D9-DE91-1F54-E00E647766C4}"/>
          </ac:spMkLst>
        </pc:spChg>
        <pc:spChg chg="mod">
          <ac:chgData name="Falcão Lacerda, Rafael" userId="40181ff7-4694-4c53-a944-7b7d63582359" providerId="ADAL" clId="{3B4D5F63-EA56-4616-8A78-0C43AB7049E7}" dt="2025-12-08T00:26:35.336" v="3594" actId="947"/>
          <ac:spMkLst>
            <pc:docMk/>
            <pc:sldMk cId="2801021876" sldId="804"/>
            <ac:spMk id="5" creationId="{4F986348-C97E-8887-4743-4F84090E50E3}"/>
          </ac:spMkLst>
        </pc:spChg>
        <pc:spChg chg="mod">
          <ac:chgData name="Falcão Lacerda, Rafael" userId="40181ff7-4694-4c53-a944-7b7d63582359" providerId="ADAL" clId="{3B4D5F63-EA56-4616-8A78-0C43AB7049E7}" dt="2025-12-08T00:26:41.841" v="6329" actId="790"/>
          <ac:spMkLst>
            <pc:docMk/>
            <pc:sldMk cId="2801021876" sldId="804"/>
            <ac:spMk id="7" creationId="{D7D7C568-6D5E-89D1-1165-64E2BF5966F1}"/>
          </ac:spMkLst>
        </pc:spChg>
        <pc:spChg chg="mod">
          <ac:chgData name="Falcão Lacerda, Rafael" userId="40181ff7-4694-4c53-a944-7b7d63582359" providerId="ADAL" clId="{3B4D5F63-EA56-4616-8A78-0C43AB7049E7}" dt="2025-12-08T00:26:35.375" v="3612" actId="947"/>
          <ac:spMkLst>
            <pc:docMk/>
            <pc:sldMk cId="2801021876" sldId="804"/>
            <ac:spMk id="8" creationId="{16FF2704-2F36-2251-562F-A47148E1058D}"/>
          </ac:spMkLst>
        </pc:spChg>
        <pc:spChg chg="mod">
          <ac:chgData name="Falcão Lacerda, Rafael" userId="40181ff7-4694-4c53-a944-7b7d63582359" providerId="ADAL" clId="{3B4D5F63-EA56-4616-8A78-0C43AB7049E7}" dt="2025-12-08T00:26:41.841" v="6329" actId="790"/>
          <ac:spMkLst>
            <pc:docMk/>
            <pc:sldMk cId="2801021876" sldId="804"/>
            <ac:spMk id="9" creationId="{96D459D2-7E21-F26F-5ABC-7F2E5D3B79FD}"/>
          </ac:spMkLst>
        </pc:spChg>
        <pc:spChg chg="mod">
          <ac:chgData name="Falcão Lacerda, Rafael" userId="40181ff7-4694-4c53-a944-7b7d63582359" providerId="ADAL" clId="{3B4D5F63-EA56-4616-8A78-0C43AB7049E7}" dt="2025-12-08T00:26:35.321" v="3592" actId="947"/>
          <ac:spMkLst>
            <pc:docMk/>
            <pc:sldMk cId="2801021876" sldId="804"/>
            <ac:spMk id="11" creationId="{617B6A9C-0A63-5AFD-D6E0-2BD4B2E29984}"/>
          </ac:spMkLst>
        </pc:spChg>
        <pc:spChg chg="mod">
          <ac:chgData name="Falcão Lacerda, Rafael" userId="40181ff7-4694-4c53-a944-7b7d63582359" providerId="ADAL" clId="{3B4D5F63-EA56-4616-8A78-0C43AB7049E7}" dt="2025-12-08T00:26:35.367" v="3610" actId="947"/>
          <ac:spMkLst>
            <pc:docMk/>
            <pc:sldMk cId="2801021876" sldId="804"/>
            <ac:spMk id="12" creationId="{672BAB6E-3809-C7A7-CF19-05F82071A6B3}"/>
          </ac:spMkLst>
        </pc:spChg>
        <pc:spChg chg="mod">
          <ac:chgData name="Falcão Lacerda, Rafael" userId="40181ff7-4694-4c53-a944-7b7d63582359" providerId="ADAL" clId="{3B4D5F63-EA56-4616-8A78-0C43AB7049E7}" dt="2025-12-08T00:26:41.841" v="6329" actId="790"/>
          <ac:spMkLst>
            <pc:docMk/>
            <pc:sldMk cId="2801021876" sldId="804"/>
            <ac:spMk id="13" creationId="{89E78306-9DAC-ED5F-88DC-4923522DB2E5}"/>
          </ac:spMkLst>
        </pc:spChg>
        <pc:spChg chg="mod">
          <ac:chgData name="Falcão Lacerda, Rafael" userId="40181ff7-4694-4c53-a944-7b7d63582359" providerId="ADAL" clId="{3B4D5F63-EA56-4616-8A78-0C43AB7049E7}" dt="2025-12-08T00:26:35.352" v="3596" actId="947"/>
          <ac:spMkLst>
            <pc:docMk/>
            <pc:sldMk cId="2801021876" sldId="804"/>
            <ac:spMk id="15" creationId="{2BA165CA-B56C-4E98-BE21-0C8D498535A4}"/>
          </ac:spMkLst>
        </pc:spChg>
        <pc:spChg chg="mod">
          <ac:chgData name="Falcão Lacerda, Rafael" userId="40181ff7-4694-4c53-a944-7b7d63582359" providerId="ADAL" clId="{3B4D5F63-EA56-4616-8A78-0C43AB7049E7}" dt="2025-12-08T00:26:45.399" v="7454" actId="948"/>
          <ac:spMkLst>
            <pc:docMk/>
            <pc:sldMk cId="2801021876" sldId="804"/>
            <ac:spMk id="16" creationId="{A2AD61CE-9FDB-4F62-9AD2-A7DEB3E14762}"/>
          </ac:spMkLst>
        </pc:spChg>
        <pc:spChg chg="mod">
          <ac:chgData name="Falcão Lacerda, Rafael" userId="40181ff7-4694-4c53-a944-7b7d63582359" providerId="ADAL" clId="{3B4D5F63-EA56-4616-8A78-0C43AB7049E7}" dt="2025-12-08T00:26:41.841" v="6329" actId="790"/>
          <ac:spMkLst>
            <pc:docMk/>
            <pc:sldMk cId="2801021876" sldId="804"/>
            <ac:spMk id="20" creationId="{427D78C8-81C2-5468-957D-AAF712C8CEBD}"/>
          </ac:spMkLst>
        </pc:spChg>
        <pc:spChg chg="mod">
          <ac:chgData name="Falcão Lacerda, Rafael" userId="40181ff7-4694-4c53-a944-7b7d63582359" providerId="ADAL" clId="{3B4D5F63-EA56-4616-8A78-0C43AB7049E7}" dt="2025-12-08T00:26:35.352" v="3604" actId="947"/>
          <ac:spMkLst>
            <pc:docMk/>
            <pc:sldMk cId="2801021876" sldId="804"/>
            <ac:spMk id="21" creationId="{1FC3FC09-12C5-717B-3811-B990BD32EA15}"/>
          </ac:spMkLst>
        </pc:spChg>
        <pc:spChg chg="mod">
          <ac:chgData name="Falcão Lacerda, Rafael" userId="40181ff7-4694-4c53-a944-7b7d63582359" providerId="ADAL" clId="{3B4D5F63-EA56-4616-8A78-0C43AB7049E7}" dt="2025-12-08T00:26:41.841" v="6329" actId="790"/>
          <ac:spMkLst>
            <pc:docMk/>
            <pc:sldMk cId="2801021876" sldId="804"/>
            <ac:spMk id="22" creationId="{A5C95C49-13D0-6F5E-802D-69B9981934C0}"/>
          </ac:spMkLst>
        </pc:spChg>
        <pc:spChg chg="mod">
          <ac:chgData name="Falcão Lacerda, Rafael" userId="40181ff7-4694-4c53-a944-7b7d63582359" providerId="ADAL" clId="{3B4D5F63-EA56-4616-8A78-0C43AB7049E7}" dt="2025-12-08T00:26:35.352" v="3600" actId="947"/>
          <ac:spMkLst>
            <pc:docMk/>
            <pc:sldMk cId="2801021876" sldId="804"/>
            <ac:spMk id="23" creationId="{16ACBD1D-D164-C0C7-3183-934B0A34D79F}"/>
          </ac:spMkLst>
        </pc:spChg>
        <pc:spChg chg="mod">
          <ac:chgData name="Falcão Lacerda, Rafael" userId="40181ff7-4694-4c53-a944-7b7d63582359" providerId="ADAL" clId="{3B4D5F63-EA56-4616-8A78-0C43AB7049E7}" dt="2025-12-08T00:26:41.841" v="6329" actId="790"/>
          <ac:spMkLst>
            <pc:docMk/>
            <pc:sldMk cId="2801021876" sldId="804"/>
            <ac:spMk id="24" creationId="{14813B7C-45CB-DD52-82DF-8994DFBC9F2A}"/>
          </ac:spMkLst>
        </pc:spChg>
        <pc:spChg chg="mod">
          <ac:chgData name="Falcão Lacerda, Rafael" userId="40181ff7-4694-4c53-a944-7b7d63582359" providerId="ADAL" clId="{3B4D5F63-EA56-4616-8A78-0C43AB7049E7}" dt="2025-12-08T00:26:35.305" v="3584" actId="947"/>
          <ac:spMkLst>
            <pc:docMk/>
            <pc:sldMk cId="2801021876" sldId="804"/>
            <ac:spMk id="31" creationId="{C4E78329-F004-4358-31B8-CED430E8B8B1}"/>
          </ac:spMkLst>
        </pc:spChg>
        <pc:spChg chg="mod">
          <ac:chgData name="Falcão Lacerda, Rafael" userId="40181ff7-4694-4c53-a944-7b7d63582359" providerId="ADAL" clId="{3B4D5F63-EA56-4616-8A78-0C43AB7049E7}" dt="2025-12-08T00:26:41.841" v="6329" actId="790"/>
          <ac:spMkLst>
            <pc:docMk/>
            <pc:sldMk cId="2801021876" sldId="804"/>
            <ac:spMk id="32" creationId="{D1EC052C-8743-7681-BA55-AA7762CE6ACD}"/>
          </ac:spMkLst>
        </pc:spChg>
        <pc:spChg chg="mod">
          <ac:chgData name="Falcão Lacerda, Rafael" userId="40181ff7-4694-4c53-a944-7b7d63582359" providerId="ADAL" clId="{3B4D5F63-EA56-4616-8A78-0C43AB7049E7}" dt="2025-12-08T00:26:35.321" v="3588" actId="947"/>
          <ac:spMkLst>
            <pc:docMk/>
            <pc:sldMk cId="2801021876" sldId="804"/>
            <ac:spMk id="33" creationId="{81EB27E6-9FE8-4995-8FD6-877E81C8651D}"/>
          </ac:spMkLst>
        </pc:spChg>
        <pc:spChg chg="mod">
          <ac:chgData name="Falcão Lacerda, Rafael" userId="40181ff7-4694-4c53-a944-7b7d63582359" providerId="ADAL" clId="{3B4D5F63-EA56-4616-8A78-0C43AB7049E7}" dt="2025-12-08T00:26:41.841" v="6329" actId="790"/>
          <ac:spMkLst>
            <pc:docMk/>
            <pc:sldMk cId="2801021876" sldId="804"/>
            <ac:spMk id="34" creationId="{E8E751CF-E19C-2C02-AFE4-1B79C006CC97}"/>
          </ac:spMkLst>
        </pc:spChg>
        <pc:graphicFrameChg chg="add mod ord modVis">
          <ac:chgData name="Falcão Lacerda, Rafael" userId="40181ff7-4694-4c53-a944-7b7d63582359" providerId="ADAL" clId="{3B4D5F63-EA56-4616-8A78-0C43AB7049E7}" dt="2025-12-08T00:26:52.043" v="9993"/>
          <ac:graphicFrameMkLst>
            <pc:docMk/>
            <pc:sldMk cId="2801021876" sldId="804"/>
            <ac:graphicFrameMk id="3" creationId="{F3BA7207-F4D2-A5BE-D7D7-741C3CF208B3}"/>
          </ac:graphicFrameMkLst>
        </pc:graphicFrameChg>
      </pc:sldChg>
      <pc:sldChg chg="addSp delSp modSp del mod ord modNotes">
        <pc:chgData name="Falcão Lacerda, Rafael" userId="40181ff7-4694-4c53-a944-7b7d63582359" providerId="ADAL" clId="{3B4D5F63-EA56-4616-8A78-0C43AB7049E7}" dt="2025-12-08T00:36:13.705" v="11864" actId="47"/>
        <pc:sldMkLst>
          <pc:docMk/>
          <pc:sldMk cId="1368541299" sldId="805"/>
        </pc:sldMkLst>
        <pc:spChg chg="mod">
          <ac:chgData name="Falcão Lacerda, Rafael" userId="40181ff7-4694-4c53-a944-7b7d63582359" providerId="ADAL" clId="{3B4D5F63-EA56-4616-8A78-0C43AB7049E7}" dt="2025-12-08T00:26:38.631" v="5360" actId="947"/>
          <ac:spMkLst>
            <pc:docMk/>
            <pc:sldMk cId="1368541299" sldId="805"/>
            <ac:spMk id="2" creationId="{0D56783D-2F75-40DC-AF61-234BA5EA06AC}"/>
          </ac:spMkLst>
        </pc:spChg>
        <pc:spChg chg="add del mod modVis">
          <ac:chgData name="Falcão Lacerda, Rafael" userId="40181ff7-4694-4c53-a944-7b7d63582359" providerId="ADAL" clId="{3B4D5F63-EA56-4616-8A78-0C43AB7049E7}" dt="2025-12-08T00:26:54.179" v="10725"/>
          <ac:spMkLst>
            <pc:docMk/>
            <pc:sldMk cId="1368541299" sldId="805"/>
            <ac:spMk id="3" creationId="{D23FD3F3-A1A7-1968-B5A3-2F766DB85249}"/>
          </ac:spMkLst>
        </pc:spChg>
        <pc:spChg chg="mod">
          <ac:chgData name="Falcão Lacerda, Rafael" userId="40181ff7-4694-4c53-a944-7b7d63582359" providerId="ADAL" clId="{3B4D5F63-EA56-4616-8A78-0C43AB7049E7}" dt="2025-12-08T00:26:41.841" v="6329" actId="790"/>
          <ac:spMkLst>
            <pc:docMk/>
            <pc:sldMk cId="1368541299" sldId="805"/>
            <ac:spMk id="5" creationId="{CE422875-EDAA-48FF-A282-26952DB0C58F}"/>
          </ac:spMkLst>
        </pc:spChg>
        <pc:spChg chg="mod">
          <ac:chgData name="Falcão Lacerda, Rafael" userId="40181ff7-4694-4c53-a944-7b7d63582359" providerId="ADAL" clId="{3B4D5F63-EA56-4616-8A78-0C43AB7049E7}" dt="2025-12-08T00:26:38.673" v="5368" actId="947"/>
          <ac:spMkLst>
            <pc:docMk/>
            <pc:sldMk cId="1368541299" sldId="805"/>
            <ac:spMk id="6" creationId="{75C65787-9125-4790-B3F2-CF1B59158F48}"/>
          </ac:spMkLst>
        </pc:spChg>
        <pc:spChg chg="mod">
          <ac:chgData name="Falcão Lacerda, Rafael" userId="40181ff7-4694-4c53-a944-7b7d63582359" providerId="ADAL" clId="{3B4D5F63-EA56-4616-8A78-0C43AB7049E7}" dt="2025-12-08T00:26:41.841" v="6329" actId="790"/>
          <ac:spMkLst>
            <pc:docMk/>
            <pc:sldMk cId="1368541299" sldId="805"/>
            <ac:spMk id="7" creationId="{91845080-64D9-4192-98A6-69D53C705628}"/>
          </ac:spMkLst>
        </pc:spChg>
        <pc:spChg chg="mod">
          <ac:chgData name="Falcão Lacerda, Rafael" userId="40181ff7-4694-4c53-a944-7b7d63582359" providerId="ADAL" clId="{3B4D5F63-EA56-4616-8A78-0C43AB7049E7}" dt="2025-12-08T00:26:41.841" v="6329" actId="790"/>
          <ac:spMkLst>
            <pc:docMk/>
            <pc:sldMk cId="1368541299" sldId="805"/>
            <ac:spMk id="8" creationId="{500B9542-3140-4DAC-81AA-3DECE8BBA013}"/>
          </ac:spMkLst>
        </pc:spChg>
        <pc:spChg chg="mod">
          <ac:chgData name="Falcão Lacerda, Rafael" userId="40181ff7-4694-4c53-a944-7b7d63582359" providerId="ADAL" clId="{3B4D5F63-EA56-4616-8A78-0C43AB7049E7}" dt="2025-12-08T00:26:38.726" v="5380" actId="947"/>
          <ac:spMkLst>
            <pc:docMk/>
            <pc:sldMk cId="1368541299" sldId="805"/>
            <ac:spMk id="9" creationId="{B9C70C9F-B466-4D01-A087-327C9CEBA3EB}"/>
          </ac:spMkLst>
        </pc:spChg>
        <pc:spChg chg="mod">
          <ac:chgData name="Falcão Lacerda, Rafael" userId="40181ff7-4694-4c53-a944-7b7d63582359" providerId="ADAL" clId="{3B4D5F63-EA56-4616-8A78-0C43AB7049E7}" dt="2025-12-08T00:26:38.762" v="5384" actId="947"/>
          <ac:spMkLst>
            <pc:docMk/>
            <pc:sldMk cId="1368541299" sldId="805"/>
            <ac:spMk id="10" creationId="{957E685F-2D7B-47FC-B5C9-F7D7083B14BB}"/>
          </ac:spMkLst>
        </pc:spChg>
        <pc:spChg chg="mod">
          <ac:chgData name="Falcão Lacerda, Rafael" userId="40181ff7-4694-4c53-a944-7b7d63582359" providerId="ADAL" clId="{3B4D5F63-EA56-4616-8A78-0C43AB7049E7}" dt="2025-12-08T00:26:38.778" v="5388" actId="947"/>
          <ac:spMkLst>
            <pc:docMk/>
            <pc:sldMk cId="1368541299" sldId="805"/>
            <ac:spMk id="11" creationId="{DE400299-0FDB-4390-ADDE-CF5AEED5DC62}"/>
          </ac:spMkLst>
        </pc:spChg>
        <pc:spChg chg="mod">
          <ac:chgData name="Falcão Lacerda, Rafael" userId="40181ff7-4694-4c53-a944-7b7d63582359" providerId="ADAL" clId="{3B4D5F63-EA56-4616-8A78-0C43AB7049E7}" dt="2025-12-08T00:26:38.793" v="5392" actId="947"/>
          <ac:spMkLst>
            <pc:docMk/>
            <pc:sldMk cId="1368541299" sldId="805"/>
            <ac:spMk id="12" creationId="{C7F17630-7ADA-42EA-951E-085406AFC143}"/>
          </ac:spMkLst>
        </pc:spChg>
        <pc:spChg chg="mod">
          <ac:chgData name="Falcão Lacerda, Rafael" userId="40181ff7-4694-4c53-a944-7b7d63582359" providerId="ADAL" clId="{3B4D5F63-EA56-4616-8A78-0C43AB7049E7}" dt="2025-12-08T00:26:41.841" v="6329" actId="790"/>
          <ac:spMkLst>
            <pc:docMk/>
            <pc:sldMk cId="1368541299" sldId="805"/>
            <ac:spMk id="13" creationId="{4EECF1EB-FE9A-4395-9803-48D1366F41A2}"/>
          </ac:spMkLst>
        </pc:spChg>
        <pc:spChg chg="mod">
          <ac:chgData name="Falcão Lacerda, Rafael" userId="40181ff7-4694-4c53-a944-7b7d63582359" providerId="ADAL" clId="{3B4D5F63-EA56-4616-8A78-0C43AB7049E7}" dt="2025-12-08T00:26:38.663" v="5366" actId="947"/>
          <ac:spMkLst>
            <pc:docMk/>
            <pc:sldMk cId="1368541299" sldId="805"/>
            <ac:spMk id="14" creationId="{325A2794-9D7F-4F8A-B659-3126A5AE36E3}"/>
          </ac:spMkLst>
        </pc:spChg>
        <pc:spChg chg="mod">
          <ac:chgData name="Falcão Lacerda, Rafael" userId="40181ff7-4694-4c53-a944-7b7d63582359" providerId="ADAL" clId="{3B4D5F63-EA56-4616-8A78-0C43AB7049E7}" dt="2025-12-08T00:26:38.678" v="5370" actId="947"/>
          <ac:spMkLst>
            <pc:docMk/>
            <pc:sldMk cId="1368541299" sldId="805"/>
            <ac:spMk id="15" creationId="{304C0A50-C2E5-47D6-A07E-8078A7EADE10}"/>
          </ac:spMkLst>
        </pc:spChg>
        <pc:spChg chg="mod">
          <ac:chgData name="Falcão Lacerda, Rafael" userId="40181ff7-4694-4c53-a944-7b7d63582359" providerId="ADAL" clId="{3B4D5F63-EA56-4616-8A78-0C43AB7049E7}" dt="2025-12-08T00:26:38.710" v="5374" actId="947"/>
          <ac:spMkLst>
            <pc:docMk/>
            <pc:sldMk cId="1368541299" sldId="805"/>
            <ac:spMk id="16" creationId="{E9921B81-A763-4EA2-AC60-D1AEB3C65E43}"/>
          </ac:spMkLst>
        </pc:spChg>
        <pc:spChg chg="mod">
          <ac:chgData name="Falcão Lacerda, Rafael" userId="40181ff7-4694-4c53-a944-7b7d63582359" providerId="ADAL" clId="{3B4D5F63-EA56-4616-8A78-0C43AB7049E7}" dt="2025-12-08T00:26:38.726" v="5378" actId="947"/>
          <ac:spMkLst>
            <pc:docMk/>
            <pc:sldMk cId="1368541299" sldId="805"/>
            <ac:spMk id="17" creationId="{C4FFBA75-22E6-402C-AEB3-C41D3882CCB5}"/>
          </ac:spMkLst>
        </pc:spChg>
        <pc:spChg chg="mod">
          <ac:chgData name="Falcão Lacerda, Rafael" userId="40181ff7-4694-4c53-a944-7b7d63582359" providerId="ADAL" clId="{3B4D5F63-EA56-4616-8A78-0C43AB7049E7}" dt="2025-12-08T00:26:41.841" v="6329" actId="790"/>
          <ac:spMkLst>
            <pc:docMk/>
            <pc:sldMk cId="1368541299" sldId="805"/>
            <ac:spMk id="18" creationId="{4280AB87-8516-4AC1-804E-704DD95DF304}"/>
          </ac:spMkLst>
        </pc:spChg>
        <pc:spChg chg="mod">
          <ac:chgData name="Falcão Lacerda, Rafael" userId="40181ff7-4694-4c53-a944-7b7d63582359" providerId="ADAL" clId="{3B4D5F63-EA56-4616-8A78-0C43AB7049E7}" dt="2025-12-08T00:26:38.773" v="5386" actId="947"/>
          <ac:spMkLst>
            <pc:docMk/>
            <pc:sldMk cId="1368541299" sldId="805"/>
            <ac:spMk id="19" creationId="{4D3DC6CF-9870-44CD-80AD-B67181908436}"/>
          </ac:spMkLst>
        </pc:spChg>
        <pc:spChg chg="mod">
          <ac:chgData name="Falcão Lacerda, Rafael" userId="40181ff7-4694-4c53-a944-7b7d63582359" providerId="ADAL" clId="{3B4D5F63-EA56-4616-8A78-0C43AB7049E7}" dt="2025-12-08T00:26:38.793" v="5390" actId="947"/>
          <ac:spMkLst>
            <pc:docMk/>
            <pc:sldMk cId="1368541299" sldId="805"/>
            <ac:spMk id="20" creationId="{51CE8229-7B4F-4140-BEAF-4B7A3B2F54B8}"/>
          </ac:spMkLst>
        </pc:spChg>
        <pc:spChg chg="mod">
          <ac:chgData name="Falcão Lacerda, Rafael" userId="40181ff7-4694-4c53-a944-7b7d63582359" providerId="ADAL" clId="{3B4D5F63-EA56-4616-8A78-0C43AB7049E7}" dt="2025-12-08T00:26:41.841" v="6329" actId="790"/>
          <ac:spMkLst>
            <pc:docMk/>
            <pc:sldMk cId="1368541299" sldId="805"/>
            <ac:spMk id="21" creationId="{C0A49B54-BC4A-476F-A603-5BE17A7A85B8}"/>
          </ac:spMkLst>
        </pc:spChg>
        <pc:spChg chg="mod">
          <ac:chgData name="Falcão Lacerda, Rafael" userId="40181ff7-4694-4c53-a944-7b7d63582359" providerId="ADAL" clId="{3B4D5F63-EA56-4616-8A78-0C43AB7049E7}" dt="2025-12-08T00:26:38.860" v="5400" actId="947"/>
          <ac:spMkLst>
            <pc:docMk/>
            <pc:sldMk cId="1368541299" sldId="805"/>
            <ac:spMk id="22" creationId="{A42A74CC-88B3-4A8B-B104-A4EA5745FD2B}"/>
          </ac:spMkLst>
        </pc:spChg>
        <pc:spChg chg="mod">
          <ac:chgData name="Falcão Lacerda, Rafael" userId="40181ff7-4694-4c53-a944-7b7d63582359" providerId="ADAL" clId="{3B4D5F63-EA56-4616-8A78-0C43AB7049E7}" dt="2025-12-08T00:26:38.881" v="5404" actId="947"/>
          <ac:spMkLst>
            <pc:docMk/>
            <pc:sldMk cId="1368541299" sldId="805"/>
            <ac:spMk id="23" creationId="{928379D8-C798-45AB-A6C6-BD4EB9E51A7B}"/>
          </ac:spMkLst>
        </pc:spChg>
        <pc:spChg chg="mod">
          <ac:chgData name="Falcão Lacerda, Rafael" userId="40181ff7-4694-4c53-a944-7b7d63582359" providerId="ADAL" clId="{3B4D5F63-EA56-4616-8A78-0C43AB7049E7}" dt="2025-12-08T00:26:38.906" v="5408" actId="947"/>
          <ac:spMkLst>
            <pc:docMk/>
            <pc:sldMk cId="1368541299" sldId="805"/>
            <ac:spMk id="24" creationId="{EFAA4D69-1078-4AFD-AB1E-0CAAA0E6D1A6}"/>
          </ac:spMkLst>
        </pc:spChg>
        <pc:spChg chg="mod">
          <ac:chgData name="Falcão Lacerda, Rafael" userId="40181ff7-4694-4c53-a944-7b7d63582359" providerId="ADAL" clId="{3B4D5F63-EA56-4616-8A78-0C43AB7049E7}" dt="2025-12-08T00:26:38.935" v="5412" actId="947"/>
          <ac:spMkLst>
            <pc:docMk/>
            <pc:sldMk cId="1368541299" sldId="805"/>
            <ac:spMk id="25" creationId="{11406D80-647D-43BA-B8D4-EBBF1E2104A8}"/>
          </ac:spMkLst>
        </pc:spChg>
        <pc:spChg chg="mod">
          <ac:chgData name="Falcão Lacerda, Rafael" userId="40181ff7-4694-4c53-a944-7b7d63582359" providerId="ADAL" clId="{3B4D5F63-EA56-4616-8A78-0C43AB7049E7}" dt="2025-12-08T00:26:38.963" v="5416" actId="947"/>
          <ac:spMkLst>
            <pc:docMk/>
            <pc:sldMk cId="1368541299" sldId="805"/>
            <ac:spMk id="26" creationId="{F0721294-7AAC-4545-AF24-CDA2E068CFEA}"/>
          </ac:spMkLst>
        </pc:spChg>
        <pc:spChg chg="mod">
          <ac:chgData name="Falcão Lacerda, Rafael" userId="40181ff7-4694-4c53-a944-7b7d63582359" providerId="ADAL" clId="{3B4D5F63-EA56-4616-8A78-0C43AB7049E7}" dt="2025-12-08T00:26:38.987" v="5420" actId="947"/>
          <ac:spMkLst>
            <pc:docMk/>
            <pc:sldMk cId="1368541299" sldId="805"/>
            <ac:spMk id="27" creationId="{FCCA5C5F-D264-41A1-9DFA-031FFCC6ADD9}"/>
          </ac:spMkLst>
        </pc:spChg>
        <pc:spChg chg="mod">
          <ac:chgData name="Falcão Lacerda, Rafael" userId="40181ff7-4694-4c53-a944-7b7d63582359" providerId="ADAL" clId="{3B4D5F63-EA56-4616-8A78-0C43AB7049E7}" dt="2025-12-08T00:26:41.841" v="6329" actId="790"/>
          <ac:spMkLst>
            <pc:docMk/>
            <pc:sldMk cId="1368541299" sldId="805"/>
            <ac:spMk id="28" creationId="{B430BF5D-3648-4FA8-9E82-9C3FFA9DA9B2}"/>
          </ac:spMkLst>
        </pc:spChg>
        <pc:spChg chg="mod">
          <ac:chgData name="Falcão Lacerda, Rafael" userId="40181ff7-4694-4c53-a944-7b7d63582359" providerId="ADAL" clId="{3B4D5F63-EA56-4616-8A78-0C43AB7049E7}" dt="2025-12-08T00:26:38.809" v="5394" actId="947"/>
          <ac:spMkLst>
            <pc:docMk/>
            <pc:sldMk cId="1368541299" sldId="805"/>
            <ac:spMk id="29" creationId="{A4B967A4-9715-47F7-AE1B-2992B282E40C}"/>
          </ac:spMkLst>
        </pc:spChg>
        <pc:spChg chg="mod">
          <ac:chgData name="Falcão Lacerda, Rafael" userId="40181ff7-4694-4c53-a944-7b7d63582359" providerId="ADAL" clId="{3B4D5F63-EA56-4616-8A78-0C43AB7049E7}" dt="2025-12-08T00:26:38.841" v="5398" actId="947"/>
          <ac:spMkLst>
            <pc:docMk/>
            <pc:sldMk cId="1368541299" sldId="805"/>
            <ac:spMk id="30" creationId="{9A0A48D4-B010-41A9-B158-77F3D8729AF1}"/>
          </ac:spMkLst>
        </pc:spChg>
        <pc:spChg chg="mod">
          <ac:chgData name="Falcão Lacerda, Rafael" userId="40181ff7-4694-4c53-a944-7b7d63582359" providerId="ADAL" clId="{3B4D5F63-EA56-4616-8A78-0C43AB7049E7}" dt="2025-12-08T00:26:38.870" v="5402" actId="947"/>
          <ac:spMkLst>
            <pc:docMk/>
            <pc:sldMk cId="1368541299" sldId="805"/>
            <ac:spMk id="31" creationId="{C56C9BF9-D470-42C7-A0E2-AF775B63A297}"/>
          </ac:spMkLst>
        </pc:spChg>
        <pc:spChg chg="mod">
          <ac:chgData name="Falcão Lacerda, Rafael" userId="40181ff7-4694-4c53-a944-7b7d63582359" providerId="ADAL" clId="{3B4D5F63-EA56-4616-8A78-0C43AB7049E7}" dt="2025-12-08T00:26:38.888" v="5406" actId="947"/>
          <ac:spMkLst>
            <pc:docMk/>
            <pc:sldMk cId="1368541299" sldId="805"/>
            <ac:spMk id="32" creationId="{ACBB4BBA-9EA8-48E4-90F1-3AD8B74A5B2B}"/>
          </ac:spMkLst>
        </pc:spChg>
        <pc:spChg chg="mod">
          <ac:chgData name="Falcão Lacerda, Rafael" userId="40181ff7-4694-4c53-a944-7b7d63582359" providerId="ADAL" clId="{3B4D5F63-EA56-4616-8A78-0C43AB7049E7}" dt="2025-12-08T00:26:41.841" v="6329" actId="790"/>
          <ac:spMkLst>
            <pc:docMk/>
            <pc:sldMk cId="1368541299" sldId="805"/>
            <ac:spMk id="33" creationId="{47070DEF-D816-4720-B27C-1B470254E577}"/>
          </ac:spMkLst>
        </pc:spChg>
        <pc:spChg chg="mod">
          <ac:chgData name="Falcão Lacerda, Rafael" userId="40181ff7-4694-4c53-a944-7b7d63582359" providerId="ADAL" clId="{3B4D5F63-EA56-4616-8A78-0C43AB7049E7}" dt="2025-12-08T00:26:41.841" v="6329" actId="790"/>
          <ac:spMkLst>
            <pc:docMk/>
            <pc:sldMk cId="1368541299" sldId="805"/>
            <ac:spMk id="34" creationId="{40753BB6-656E-4480-A7EA-BE625C6D9ACD}"/>
          </ac:spMkLst>
        </pc:spChg>
        <pc:spChg chg="mod">
          <ac:chgData name="Falcão Lacerda, Rafael" userId="40181ff7-4694-4c53-a944-7b7d63582359" providerId="ADAL" clId="{3B4D5F63-EA56-4616-8A78-0C43AB7049E7}" dt="2025-12-08T00:26:38.975" v="5418" actId="947"/>
          <ac:spMkLst>
            <pc:docMk/>
            <pc:sldMk cId="1368541299" sldId="805"/>
            <ac:spMk id="35" creationId="{4DCD9BA7-1119-4462-8F01-3062069AA817}"/>
          </ac:spMkLst>
        </pc:spChg>
        <pc:spChg chg="mod">
          <ac:chgData name="Falcão Lacerda, Rafael" userId="40181ff7-4694-4c53-a944-7b7d63582359" providerId="ADAL" clId="{3B4D5F63-EA56-4616-8A78-0C43AB7049E7}" dt="2025-12-08T00:26:38.998" v="5422" actId="947"/>
          <ac:spMkLst>
            <pc:docMk/>
            <pc:sldMk cId="1368541299" sldId="805"/>
            <ac:spMk id="36" creationId="{7650D558-0B4D-43CE-8B01-51CC4EF6D3C4}"/>
          </ac:spMkLst>
        </pc:spChg>
        <pc:spChg chg="mod">
          <ac:chgData name="Falcão Lacerda, Rafael" userId="40181ff7-4694-4c53-a944-7b7d63582359" providerId="ADAL" clId="{3B4D5F63-EA56-4616-8A78-0C43AB7049E7}" dt="2025-12-08T00:26:47.091" v="8333" actId="948"/>
          <ac:spMkLst>
            <pc:docMk/>
            <pc:sldMk cId="1368541299" sldId="805"/>
            <ac:spMk id="105" creationId="{DD286A9F-F75D-1D5E-1BAB-37E96C2DD7CB}"/>
          </ac:spMkLst>
        </pc:spChg>
        <pc:graphicFrameChg chg="add mod ord modVis">
          <ac:chgData name="Falcão Lacerda, Rafael" userId="40181ff7-4694-4c53-a944-7b7d63582359" providerId="ADAL" clId="{3B4D5F63-EA56-4616-8A78-0C43AB7049E7}" dt="2025-12-08T00:26:54.221" v="10739"/>
          <ac:graphicFrameMkLst>
            <pc:docMk/>
            <pc:sldMk cId="1368541299" sldId="805"/>
            <ac:graphicFrameMk id="4" creationId="{10933A11-0F4B-EB2A-712A-6927EE160234}"/>
          </ac:graphicFrameMkLst>
        </pc:graphicFrameChg>
      </pc:sldChg>
      <pc:sldChg chg="addSp modSp mod modShow modNotes">
        <pc:chgData name="Falcão Lacerda, Rafael" userId="40181ff7-4694-4c53-a944-7b7d63582359" providerId="ADAL" clId="{3B4D5F63-EA56-4616-8A78-0C43AB7049E7}" dt="2025-12-08T17:18:13.731" v="34035" actId="729"/>
        <pc:sldMkLst>
          <pc:docMk/>
          <pc:sldMk cId="3667864208" sldId="806"/>
        </pc:sldMkLst>
        <pc:spChg chg="mod">
          <ac:chgData name="Falcão Lacerda, Rafael" userId="40181ff7-4694-4c53-a944-7b7d63582359" providerId="ADAL" clId="{3B4D5F63-EA56-4616-8A78-0C43AB7049E7}" dt="2025-12-08T00:26:45.387" v="7453" actId="948"/>
          <ac:spMkLst>
            <pc:docMk/>
            <pc:sldMk cId="3667864208" sldId="806"/>
            <ac:spMk id="2" creationId="{9B40DB6F-6774-4642-B634-C94EC271FEED}"/>
          </ac:spMkLst>
        </pc:spChg>
        <pc:spChg chg="mod">
          <ac:chgData name="Falcão Lacerda, Rafael" userId="40181ff7-4694-4c53-a944-7b7d63582359" providerId="ADAL" clId="{3B4D5F63-EA56-4616-8A78-0C43AB7049E7}" dt="2025-12-08T00:26:41.841" v="6329" actId="790"/>
          <ac:spMkLst>
            <pc:docMk/>
            <pc:sldMk cId="3667864208" sldId="806"/>
            <ac:spMk id="6" creationId="{ECC55D40-FB49-0D5D-2F38-913DAD20002F}"/>
          </ac:spMkLst>
        </pc:spChg>
        <pc:spChg chg="mod">
          <ac:chgData name="Falcão Lacerda, Rafael" userId="40181ff7-4694-4c53-a944-7b7d63582359" providerId="ADAL" clId="{3B4D5F63-EA56-4616-8A78-0C43AB7049E7}" dt="2025-12-08T00:26:41.841" v="6329" actId="790"/>
          <ac:spMkLst>
            <pc:docMk/>
            <pc:sldMk cId="3667864208" sldId="806"/>
            <ac:spMk id="7" creationId="{D35D2666-F6CC-F9C9-B296-89F11EE3BF6D}"/>
          </ac:spMkLst>
        </pc:spChg>
        <pc:spChg chg="mod">
          <ac:chgData name="Falcão Lacerda, Rafael" userId="40181ff7-4694-4c53-a944-7b7d63582359" providerId="ADAL" clId="{3B4D5F63-EA56-4616-8A78-0C43AB7049E7}" dt="2025-12-08T00:26:41.841" v="6329" actId="790"/>
          <ac:spMkLst>
            <pc:docMk/>
            <pc:sldMk cId="3667864208" sldId="806"/>
            <ac:spMk id="25" creationId="{F129E932-A172-7098-C327-109636EEC3B2}"/>
          </ac:spMkLst>
        </pc:spChg>
        <pc:spChg chg="mod">
          <ac:chgData name="Falcão Lacerda, Rafael" userId="40181ff7-4694-4c53-a944-7b7d63582359" providerId="ADAL" clId="{3B4D5F63-EA56-4616-8A78-0C43AB7049E7}" dt="2025-12-08T00:26:41.841" v="6329" actId="790"/>
          <ac:spMkLst>
            <pc:docMk/>
            <pc:sldMk cId="3667864208" sldId="806"/>
            <ac:spMk id="26" creationId="{131160B5-B45C-A861-F042-AC029791C4CC}"/>
          </ac:spMkLst>
        </pc:spChg>
        <pc:graphicFrameChg chg="add mod ord modVis">
          <ac:chgData name="Falcão Lacerda, Rafael" userId="40181ff7-4694-4c53-a944-7b7d63582359" providerId="ADAL" clId="{3B4D5F63-EA56-4616-8A78-0C43AB7049E7}" dt="2025-12-08T00:26:51.987" v="9977"/>
          <ac:graphicFrameMkLst>
            <pc:docMk/>
            <pc:sldMk cId="3667864208" sldId="806"/>
            <ac:graphicFrameMk id="3" creationId="{2D31785E-BDB6-6977-7BBB-8852DD832A5C}"/>
          </ac:graphicFrameMkLst>
        </pc:graphicFrameChg>
      </pc:sldChg>
      <pc:sldChg chg="addSp delSp modSp mod modShow modNotes">
        <pc:chgData name="Falcão Lacerda, Rafael" userId="40181ff7-4694-4c53-a944-7b7d63582359" providerId="ADAL" clId="{3B4D5F63-EA56-4616-8A78-0C43AB7049E7}" dt="2025-12-08T17:18:13.731" v="34035" actId="729"/>
        <pc:sldMkLst>
          <pc:docMk/>
          <pc:sldMk cId="3199550703" sldId="808"/>
        </pc:sldMkLst>
        <pc:spChg chg="mod">
          <ac:chgData name="Falcão Lacerda, Rafael" userId="40181ff7-4694-4c53-a944-7b7d63582359" providerId="ADAL" clId="{3B4D5F63-EA56-4616-8A78-0C43AB7049E7}" dt="2025-12-08T00:26:46.764" v="8139" actId="948"/>
          <ac:spMkLst>
            <pc:docMk/>
            <pc:sldMk cId="3199550703" sldId="808"/>
            <ac:spMk id="2" creationId="{EDA556EE-6908-41C2-85C3-0AD308BB87FD}"/>
          </ac:spMkLst>
        </pc:spChg>
        <pc:spChg chg="add del mod modVis">
          <ac:chgData name="Falcão Lacerda, Rafael" userId="40181ff7-4694-4c53-a944-7b7d63582359" providerId="ADAL" clId="{3B4D5F63-EA56-4616-8A78-0C43AB7049E7}" dt="2025-12-08T00:26:53.773" v="10593"/>
          <ac:spMkLst>
            <pc:docMk/>
            <pc:sldMk cId="3199550703" sldId="808"/>
            <ac:spMk id="3" creationId="{A8D049E7-C551-0651-4003-06A34886CDBC}"/>
          </ac:spMkLst>
        </pc:spChg>
        <pc:spChg chg="mod">
          <ac:chgData name="Falcão Lacerda, Rafael" userId="40181ff7-4694-4c53-a944-7b7d63582359" providerId="ADAL" clId="{3B4D5F63-EA56-4616-8A78-0C43AB7049E7}" dt="2025-12-08T00:26:41.841" v="6329" actId="790"/>
          <ac:spMkLst>
            <pc:docMk/>
            <pc:sldMk cId="3199550703" sldId="808"/>
            <ac:spMk id="44" creationId="{DC19A5C4-E312-4C11-BC18-D08E71F300C2}"/>
          </ac:spMkLst>
        </pc:spChg>
        <pc:spChg chg="mod">
          <ac:chgData name="Falcão Lacerda, Rafael" userId="40181ff7-4694-4c53-a944-7b7d63582359" providerId="ADAL" clId="{3B4D5F63-EA56-4616-8A78-0C43AB7049E7}" dt="2025-12-08T00:26:41.841" v="6329" actId="790"/>
          <ac:spMkLst>
            <pc:docMk/>
            <pc:sldMk cId="3199550703" sldId="808"/>
            <ac:spMk id="45" creationId="{B6324501-65BC-4134-BBC9-AF04ECC36B85}"/>
          </ac:spMkLst>
        </pc:spChg>
        <pc:spChg chg="mod">
          <ac:chgData name="Falcão Lacerda, Rafael" userId="40181ff7-4694-4c53-a944-7b7d63582359" providerId="ADAL" clId="{3B4D5F63-EA56-4616-8A78-0C43AB7049E7}" dt="2025-12-08T00:26:41.841" v="6329" actId="790"/>
          <ac:spMkLst>
            <pc:docMk/>
            <pc:sldMk cId="3199550703" sldId="808"/>
            <ac:spMk id="46" creationId="{67DA1EB2-5FC0-4F15-B9A2-9CC0FC3F1BF4}"/>
          </ac:spMkLst>
        </pc:spChg>
        <pc:spChg chg="mod">
          <ac:chgData name="Falcão Lacerda, Rafael" userId="40181ff7-4694-4c53-a944-7b7d63582359" providerId="ADAL" clId="{3B4D5F63-EA56-4616-8A78-0C43AB7049E7}" dt="2025-12-08T00:26:41.841" v="6329" actId="790"/>
          <ac:spMkLst>
            <pc:docMk/>
            <pc:sldMk cId="3199550703" sldId="808"/>
            <ac:spMk id="47" creationId="{C68AEE06-E13B-4750-92CE-D1D994404201}"/>
          </ac:spMkLst>
        </pc:spChg>
        <pc:spChg chg="mod">
          <ac:chgData name="Falcão Lacerda, Rafael" userId="40181ff7-4694-4c53-a944-7b7d63582359" providerId="ADAL" clId="{3B4D5F63-EA56-4616-8A78-0C43AB7049E7}" dt="2025-12-08T00:26:41.841" v="6329" actId="790"/>
          <ac:spMkLst>
            <pc:docMk/>
            <pc:sldMk cId="3199550703" sldId="808"/>
            <ac:spMk id="48" creationId="{9E9A6B87-2AAB-4F3C-9C1D-F094D2F7379E}"/>
          </ac:spMkLst>
        </pc:spChg>
        <pc:graphicFrameChg chg="add mod ord modVis">
          <ac:chgData name="Falcão Lacerda, Rafael" userId="40181ff7-4694-4c53-a944-7b7d63582359" providerId="ADAL" clId="{3B4D5F63-EA56-4616-8A78-0C43AB7049E7}" dt="2025-12-08T00:26:53.806" v="10607"/>
          <ac:graphicFrameMkLst>
            <pc:docMk/>
            <pc:sldMk cId="3199550703" sldId="808"/>
            <ac:graphicFrameMk id="4" creationId="{CD1066CF-B144-EFAB-D1EC-86DB7ECD0645}"/>
          </ac:graphicFrameMkLst>
        </pc:graphicFrameChg>
        <pc:graphicFrameChg chg="modGraphic">
          <ac:chgData name="Falcão Lacerda, Rafael" userId="40181ff7-4694-4c53-a944-7b7d63582359" providerId="ADAL" clId="{3B4D5F63-EA56-4616-8A78-0C43AB7049E7}" dt="2025-12-08T00:26:41.841" v="6329" actId="790"/>
          <ac:graphicFrameMkLst>
            <pc:docMk/>
            <pc:sldMk cId="3199550703" sldId="808"/>
            <ac:graphicFrameMk id="54" creationId="{FB7F491E-D471-47A4-8FC9-08C8E7A2452F}"/>
          </ac:graphicFrameMkLst>
        </pc:graphicFrameChg>
      </pc:sldChg>
      <pc:sldChg chg="addSp modSp mod modShow modNotes">
        <pc:chgData name="Falcão Lacerda, Rafael" userId="40181ff7-4694-4c53-a944-7b7d63582359" providerId="ADAL" clId="{3B4D5F63-EA56-4616-8A78-0C43AB7049E7}" dt="2025-12-08T17:18:13.731" v="34035" actId="729"/>
        <pc:sldMkLst>
          <pc:docMk/>
          <pc:sldMk cId="4235436555" sldId="812"/>
        </pc:sldMkLst>
        <pc:spChg chg="mod">
          <ac:chgData name="Falcão Lacerda, Rafael" userId="40181ff7-4694-4c53-a944-7b7d63582359" providerId="ADAL" clId="{3B4D5F63-EA56-4616-8A78-0C43AB7049E7}" dt="2025-12-08T00:26:45.516" v="7515" actId="948"/>
          <ac:spMkLst>
            <pc:docMk/>
            <pc:sldMk cId="4235436555" sldId="812"/>
            <ac:spMk id="2" creationId="{9812E719-EB82-0C93-8D6B-17E1FE958190}"/>
          </ac:spMkLst>
        </pc:spChg>
        <pc:spChg chg="mod">
          <ac:chgData name="Falcão Lacerda, Rafael" userId="40181ff7-4694-4c53-a944-7b7d63582359" providerId="ADAL" clId="{3B4D5F63-EA56-4616-8A78-0C43AB7049E7}" dt="2025-12-08T00:26:41.841" v="6329" actId="790"/>
          <ac:spMkLst>
            <pc:docMk/>
            <pc:sldMk cId="4235436555" sldId="812"/>
            <ac:spMk id="5" creationId="{055C60C2-C044-557D-B728-C0C90D09BBEC}"/>
          </ac:spMkLst>
        </pc:spChg>
        <pc:spChg chg="mod">
          <ac:chgData name="Falcão Lacerda, Rafael" userId="40181ff7-4694-4c53-a944-7b7d63582359" providerId="ADAL" clId="{3B4D5F63-EA56-4616-8A78-0C43AB7049E7}" dt="2025-12-08T00:26:41.841" v="6329" actId="790"/>
          <ac:spMkLst>
            <pc:docMk/>
            <pc:sldMk cId="4235436555" sldId="812"/>
            <ac:spMk id="38" creationId="{17E65016-2A9C-C672-30C3-4A5B40D138AF}"/>
          </ac:spMkLst>
        </pc:spChg>
        <pc:spChg chg="mod">
          <ac:chgData name="Falcão Lacerda, Rafael" userId="40181ff7-4694-4c53-a944-7b7d63582359" providerId="ADAL" clId="{3B4D5F63-EA56-4616-8A78-0C43AB7049E7}" dt="2025-12-08T00:26:41.841" v="6329" actId="790"/>
          <ac:spMkLst>
            <pc:docMk/>
            <pc:sldMk cId="4235436555" sldId="812"/>
            <ac:spMk id="41" creationId="{92755061-B346-2CFD-390F-0DDABD6BE013}"/>
          </ac:spMkLst>
        </pc:spChg>
        <pc:graphicFrameChg chg="add mod ord modVis">
          <ac:chgData name="Falcão Lacerda, Rafael" userId="40181ff7-4694-4c53-a944-7b7d63582359" providerId="ADAL" clId="{3B4D5F63-EA56-4616-8A78-0C43AB7049E7}" dt="2025-12-08T00:26:52.225" v="10053"/>
          <ac:graphicFrameMkLst>
            <pc:docMk/>
            <pc:sldMk cId="4235436555" sldId="812"/>
            <ac:graphicFrameMk id="3" creationId="{23315E84-0927-9828-005E-85AC152BCF90}"/>
          </ac:graphicFrameMkLst>
        </pc:graphicFrameChg>
        <pc:graphicFrameChg chg="modGraphic">
          <ac:chgData name="Falcão Lacerda, Rafael" userId="40181ff7-4694-4c53-a944-7b7d63582359" providerId="ADAL" clId="{3B4D5F63-EA56-4616-8A78-0C43AB7049E7}" dt="2025-12-08T00:26:41.841" v="6329" actId="790"/>
          <ac:graphicFrameMkLst>
            <pc:docMk/>
            <pc:sldMk cId="4235436555" sldId="812"/>
            <ac:graphicFrameMk id="33" creationId="{3FACFD2B-5742-2B4F-BB5E-608A77A08E95}"/>
          </ac:graphicFrameMkLst>
        </pc:graphicFrameChg>
      </pc:sldChg>
      <pc:sldChg chg="del">
        <pc:chgData name="Falcão Lacerda, Rafael" userId="40181ff7-4694-4c53-a944-7b7d63582359" providerId="ADAL" clId="{3B4D5F63-EA56-4616-8A78-0C43AB7049E7}" dt="2025-12-07T17:59:59.479" v="0" actId="47"/>
        <pc:sldMkLst>
          <pc:docMk/>
          <pc:sldMk cId="4229161518" sldId="820"/>
        </pc:sldMkLst>
      </pc:sldChg>
      <pc:sldChg chg="addSp delSp modSp mod ord modNotes">
        <pc:chgData name="Falcão Lacerda, Rafael" userId="40181ff7-4694-4c53-a944-7b7d63582359" providerId="ADAL" clId="{3B4D5F63-EA56-4616-8A78-0C43AB7049E7}" dt="2025-12-08T13:05:52.678" v="30158" actId="465"/>
        <pc:sldMkLst>
          <pc:docMk/>
          <pc:sldMk cId="3283943613" sldId="832"/>
        </pc:sldMkLst>
        <pc:spChg chg="mod">
          <ac:chgData name="Falcão Lacerda, Rafael" userId="40181ff7-4694-4c53-a944-7b7d63582359" providerId="ADAL" clId="{3B4D5F63-EA56-4616-8A78-0C43AB7049E7}" dt="2025-12-08T00:32:34.627" v="11705" actId="20577"/>
          <ac:spMkLst>
            <pc:docMk/>
            <pc:sldMk cId="3283943613" sldId="832"/>
            <ac:spMk id="2" creationId="{4D591F20-B9E4-9D89-BE48-2C877F312852}"/>
          </ac:spMkLst>
        </pc:spChg>
        <pc:spChg chg="mod">
          <ac:chgData name="Falcão Lacerda, Rafael" userId="40181ff7-4694-4c53-a944-7b7d63582359" providerId="ADAL" clId="{3B4D5F63-EA56-4616-8A78-0C43AB7049E7}" dt="2025-12-08T00:32:16.748" v="11640" actId="948"/>
          <ac:spMkLst>
            <pc:docMk/>
            <pc:sldMk cId="3283943613" sldId="832"/>
            <ac:spMk id="3" creationId="{CBA63027-21DF-EBDD-BB4F-5B0551774D6E}"/>
          </ac:spMkLst>
        </pc:spChg>
        <pc:spChg chg="add del mod modVis">
          <ac:chgData name="Falcão Lacerda, Rafael" userId="40181ff7-4694-4c53-a944-7b7d63582359" providerId="ADAL" clId="{3B4D5F63-EA56-4616-8A78-0C43AB7049E7}" dt="2025-12-08T00:26:54.363" v="10789"/>
          <ac:spMkLst>
            <pc:docMk/>
            <pc:sldMk cId="3283943613" sldId="832"/>
            <ac:spMk id="4" creationId="{104EDCF2-5FC4-1698-0AEE-0AFA93EC878D}"/>
          </ac:spMkLst>
        </pc:spChg>
        <pc:spChg chg="mod">
          <ac:chgData name="Falcão Lacerda, Rafael" userId="40181ff7-4694-4c53-a944-7b7d63582359" providerId="ADAL" clId="{3B4D5F63-EA56-4616-8A78-0C43AB7049E7}" dt="2025-12-08T00:33:19.409" v="11748" actId="14100"/>
          <ac:spMkLst>
            <pc:docMk/>
            <pc:sldMk cId="3283943613" sldId="832"/>
            <ac:spMk id="5" creationId="{57511DD6-D33E-1414-D0FE-FC679CD0E0A8}"/>
          </ac:spMkLst>
        </pc:spChg>
        <pc:spChg chg="mod">
          <ac:chgData name="Falcão Lacerda, Rafael" userId="40181ff7-4694-4c53-a944-7b7d63582359" providerId="ADAL" clId="{3B4D5F63-EA56-4616-8A78-0C43AB7049E7}" dt="2025-12-08T13:05:52.678" v="30158" actId="465"/>
          <ac:spMkLst>
            <pc:docMk/>
            <pc:sldMk cId="3283943613" sldId="832"/>
            <ac:spMk id="6" creationId="{C01D72D8-FD0A-EEFA-658E-493EB0BE4F18}"/>
          </ac:spMkLst>
        </pc:spChg>
        <pc:spChg chg="mod">
          <ac:chgData name="Falcão Lacerda, Rafael" userId="40181ff7-4694-4c53-a944-7b7d63582359" providerId="ADAL" clId="{3B4D5F63-EA56-4616-8A78-0C43AB7049E7}" dt="2025-12-08T13:05:52.678" v="30158" actId="465"/>
          <ac:spMkLst>
            <pc:docMk/>
            <pc:sldMk cId="3283943613" sldId="832"/>
            <ac:spMk id="7" creationId="{E5CB83A5-6AD1-A54D-374C-4FD48C8CDAFA}"/>
          </ac:spMkLst>
        </pc:spChg>
        <pc:spChg chg="mod">
          <ac:chgData name="Falcão Lacerda, Rafael" userId="40181ff7-4694-4c53-a944-7b7d63582359" providerId="ADAL" clId="{3B4D5F63-EA56-4616-8A78-0C43AB7049E7}" dt="2025-12-08T13:05:52.678" v="30158" actId="465"/>
          <ac:spMkLst>
            <pc:docMk/>
            <pc:sldMk cId="3283943613" sldId="832"/>
            <ac:spMk id="8" creationId="{613952AB-9C26-20D4-0280-74ABF3B4752B}"/>
          </ac:spMkLst>
        </pc:spChg>
        <pc:spChg chg="mod">
          <ac:chgData name="Falcão Lacerda, Rafael" userId="40181ff7-4694-4c53-a944-7b7d63582359" providerId="ADAL" clId="{3B4D5F63-EA56-4616-8A78-0C43AB7049E7}" dt="2025-12-08T13:05:52.678" v="30158" actId="465"/>
          <ac:spMkLst>
            <pc:docMk/>
            <pc:sldMk cId="3283943613" sldId="832"/>
            <ac:spMk id="9" creationId="{C1A61DBB-8DCD-233E-0070-BC1D80A1B4A4}"/>
          </ac:spMkLst>
        </pc:spChg>
        <pc:spChg chg="del mod">
          <ac:chgData name="Falcão Lacerda, Rafael" userId="40181ff7-4694-4c53-a944-7b7d63582359" providerId="ADAL" clId="{3B4D5F63-EA56-4616-8A78-0C43AB7049E7}" dt="2025-12-08T13:05:35.059" v="30154" actId="478"/>
          <ac:spMkLst>
            <pc:docMk/>
            <pc:sldMk cId="3283943613" sldId="832"/>
            <ac:spMk id="10" creationId="{547DD858-D151-CC92-02EF-F6B7C1DCC102}"/>
          </ac:spMkLst>
        </pc:spChg>
        <pc:spChg chg="del mod">
          <ac:chgData name="Falcão Lacerda, Rafael" userId="40181ff7-4694-4c53-a944-7b7d63582359" providerId="ADAL" clId="{3B4D5F63-EA56-4616-8A78-0C43AB7049E7}" dt="2025-12-08T00:35:00.149" v="11858" actId="478"/>
          <ac:spMkLst>
            <pc:docMk/>
            <pc:sldMk cId="3283943613" sldId="832"/>
            <ac:spMk id="11" creationId="{BB8CA63F-A545-13A2-E741-09C4B0FB1BBE}"/>
          </ac:spMkLst>
        </pc:spChg>
        <pc:spChg chg="mod">
          <ac:chgData name="Falcão Lacerda, Rafael" userId="40181ff7-4694-4c53-a944-7b7d63582359" providerId="ADAL" clId="{3B4D5F63-EA56-4616-8A78-0C43AB7049E7}" dt="2025-12-08T00:36:05.192" v="11863" actId="12789"/>
          <ac:spMkLst>
            <pc:docMk/>
            <pc:sldMk cId="3283943613" sldId="832"/>
            <ac:spMk id="12" creationId="{540119FF-BCD1-409B-BED0-F57F9C5C5C59}"/>
          </ac:spMkLst>
        </pc:spChg>
        <pc:spChg chg="mod">
          <ac:chgData name="Falcão Lacerda, Rafael" userId="40181ff7-4694-4c53-a944-7b7d63582359" providerId="ADAL" clId="{3B4D5F63-EA56-4616-8A78-0C43AB7049E7}" dt="2025-12-08T00:32:39.085" v="11707" actId="20577"/>
          <ac:spMkLst>
            <pc:docMk/>
            <pc:sldMk cId="3283943613" sldId="832"/>
            <ac:spMk id="13" creationId="{F621F2B0-E98B-7B36-EDB0-03A532C88BB0}"/>
          </ac:spMkLst>
        </pc:spChg>
        <pc:spChg chg="mod">
          <ac:chgData name="Falcão Lacerda, Rafael" userId="40181ff7-4694-4c53-a944-7b7d63582359" providerId="ADAL" clId="{3B4D5F63-EA56-4616-8A78-0C43AB7049E7}" dt="2025-12-08T13:05:45.419" v="30157" actId="465"/>
          <ac:spMkLst>
            <pc:docMk/>
            <pc:sldMk cId="3283943613" sldId="832"/>
            <ac:spMk id="14" creationId="{3DB774F8-BCD1-08B9-23C7-360230146CBA}"/>
          </ac:spMkLst>
        </pc:spChg>
        <pc:spChg chg="mod">
          <ac:chgData name="Falcão Lacerda, Rafael" userId="40181ff7-4694-4c53-a944-7b7d63582359" providerId="ADAL" clId="{3B4D5F63-EA56-4616-8A78-0C43AB7049E7}" dt="2025-12-08T13:05:45.419" v="30157" actId="465"/>
          <ac:spMkLst>
            <pc:docMk/>
            <pc:sldMk cId="3283943613" sldId="832"/>
            <ac:spMk id="15" creationId="{39F2CCF8-2C7A-5F54-0E44-35F89FCC092A}"/>
          </ac:spMkLst>
        </pc:spChg>
        <pc:spChg chg="mod">
          <ac:chgData name="Falcão Lacerda, Rafael" userId="40181ff7-4694-4c53-a944-7b7d63582359" providerId="ADAL" clId="{3B4D5F63-EA56-4616-8A78-0C43AB7049E7}" dt="2025-12-08T13:05:45.419" v="30157" actId="465"/>
          <ac:spMkLst>
            <pc:docMk/>
            <pc:sldMk cId="3283943613" sldId="832"/>
            <ac:spMk id="16" creationId="{023DD785-FEF6-1AA4-9275-5CCFDE8E2099}"/>
          </ac:spMkLst>
        </pc:spChg>
        <pc:spChg chg="mod">
          <ac:chgData name="Falcão Lacerda, Rafael" userId="40181ff7-4694-4c53-a944-7b7d63582359" providerId="ADAL" clId="{3B4D5F63-EA56-4616-8A78-0C43AB7049E7}" dt="2025-12-08T13:05:45.419" v="30157" actId="465"/>
          <ac:spMkLst>
            <pc:docMk/>
            <pc:sldMk cId="3283943613" sldId="832"/>
            <ac:spMk id="17" creationId="{A4B6399A-37BD-20D4-564C-ACBAEFD2B9E5}"/>
          </ac:spMkLst>
        </pc:spChg>
        <pc:spChg chg="del mod">
          <ac:chgData name="Falcão Lacerda, Rafael" userId="40181ff7-4694-4c53-a944-7b7d63582359" providerId="ADAL" clId="{3B4D5F63-EA56-4616-8A78-0C43AB7049E7}" dt="2025-12-08T13:05:35.059" v="30154" actId="478"/>
          <ac:spMkLst>
            <pc:docMk/>
            <pc:sldMk cId="3283943613" sldId="832"/>
            <ac:spMk id="18" creationId="{C988E828-529F-A576-ED1E-41B9897C87E8}"/>
          </ac:spMkLst>
        </pc:spChg>
        <pc:spChg chg="del mod">
          <ac:chgData name="Falcão Lacerda, Rafael" userId="40181ff7-4694-4c53-a944-7b7d63582359" providerId="ADAL" clId="{3B4D5F63-EA56-4616-8A78-0C43AB7049E7}" dt="2025-12-08T00:35:00.149" v="11858" actId="478"/>
          <ac:spMkLst>
            <pc:docMk/>
            <pc:sldMk cId="3283943613" sldId="832"/>
            <ac:spMk id="19" creationId="{C9A75E31-72E4-136A-EFA5-2B6A5592D7C9}"/>
          </ac:spMkLst>
        </pc:spChg>
        <pc:spChg chg="mod">
          <ac:chgData name="Falcão Lacerda, Rafael" userId="40181ff7-4694-4c53-a944-7b7d63582359" providerId="ADAL" clId="{3B4D5F63-EA56-4616-8A78-0C43AB7049E7}" dt="2025-12-08T13:05:32.082" v="30153" actId="20577"/>
          <ac:spMkLst>
            <pc:docMk/>
            <pc:sldMk cId="3283943613" sldId="832"/>
            <ac:spMk id="20" creationId="{61A81521-A6EE-31D2-9E22-9E7D19904391}"/>
          </ac:spMkLst>
        </pc:spChg>
        <pc:spChg chg="del mod">
          <ac:chgData name="Falcão Lacerda, Rafael" userId="40181ff7-4694-4c53-a944-7b7d63582359" providerId="ADAL" clId="{3B4D5F63-EA56-4616-8A78-0C43AB7049E7}" dt="2025-12-08T00:32:47.697" v="11708" actId="478"/>
          <ac:spMkLst>
            <pc:docMk/>
            <pc:sldMk cId="3283943613" sldId="832"/>
            <ac:spMk id="21" creationId="{C6F33F6C-C2FF-62FE-FCC5-1B8F3B322A71}"/>
          </ac:spMkLst>
        </pc:spChg>
        <pc:spChg chg="mod">
          <ac:chgData name="Falcão Lacerda, Rafael" userId="40181ff7-4694-4c53-a944-7b7d63582359" providerId="ADAL" clId="{3B4D5F63-EA56-4616-8A78-0C43AB7049E7}" dt="2025-12-08T00:26:39.416" v="5520" actId="947"/>
          <ac:spMkLst>
            <pc:docMk/>
            <pc:sldMk cId="3283943613" sldId="832"/>
            <ac:spMk id="22" creationId="{E6FE85AE-FD62-380F-3F2B-7B1F4061BF5E}"/>
          </ac:spMkLst>
        </pc:spChg>
        <pc:spChg chg="del mod">
          <ac:chgData name="Falcão Lacerda, Rafael" userId="40181ff7-4694-4c53-a944-7b7d63582359" providerId="ADAL" clId="{3B4D5F63-EA56-4616-8A78-0C43AB7049E7}" dt="2025-12-08T00:32:47.697" v="11708" actId="478"/>
          <ac:spMkLst>
            <pc:docMk/>
            <pc:sldMk cId="3283943613" sldId="832"/>
            <ac:spMk id="23" creationId="{AEA8FD5F-14EB-EFE3-D055-C959B3CAC9C1}"/>
          </ac:spMkLst>
        </pc:spChg>
        <pc:spChg chg="mod">
          <ac:chgData name="Falcão Lacerda, Rafael" userId="40181ff7-4694-4c53-a944-7b7d63582359" providerId="ADAL" clId="{3B4D5F63-EA56-4616-8A78-0C43AB7049E7}" dt="2025-12-08T00:26:39.461" v="5528" actId="947"/>
          <ac:spMkLst>
            <pc:docMk/>
            <pc:sldMk cId="3283943613" sldId="832"/>
            <ac:spMk id="24" creationId="{6F5240ED-A8BF-F8B7-E90E-53D69136408A}"/>
          </ac:spMkLst>
        </pc:spChg>
        <pc:spChg chg="mod">
          <ac:chgData name="Falcão Lacerda, Rafael" userId="40181ff7-4694-4c53-a944-7b7d63582359" providerId="ADAL" clId="{3B4D5F63-EA56-4616-8A78-0C43AB7049E7}" dt="2025-12-08T00:26:39.484" v="5532" actId="947"/>
          <ac:spMkLst>
            <pc:docMk/>
            <pc:sldMk cId="3283943613" sldId="832"/>
            <ac:spMk id="25" creationId="{8AF2C64F-4B81-A11F-FA35-4C3671A164E4}"/>
          </ac:spMkLst>
        </pc:spChg>
        <pc:spChg chg="del mod">
          <ac:chgData name="Falcão Lacerda, Rafael" userId="40181ff7-4694-4c53-a944-7b7d63582359" providerId="ADAL" clId="{3B4D5F63-EA56-4616-8A78-0C43AB7049E7}" dt="2025-12-08T00:32:47.697" v="11708" actId="478"/>
          <ac:spMkLst>
            <pc:docMk/>
            <pc:sldMk cId="3283943613" sldId="832"/>
            <ac:spMk id="26" creationId="{6C1F2185-1686-52A4-C83B-B8821D6BE4F9}"/>
          </ac:spMkLst>
        </pc:spChg>
        <pc:spChg chg="mod">
          <ac:chgData name="Falcão Lacerda, Rafael" userId="40181ff7-4694-4c53-a944-7b7d63582359" providerId="ADAL" clId="{3B4D5F63-EA56-4616-8A78-0C43AB7049E7}" dt="2025-12-08T00:26:39.526" v="5540" actId="947"/>
          <ac:spMkLst>
            <pc:docMk/>
            <pc:sldMk cId="3283943613" sldId="832"/>
            <ac:spMk id="27" creationId="{2DFDEDDE-CA37-E392-A7D3-CFC6BDCD03B6}"/>
          </ac:spMkLst>
        </pc:spChg>
        <pc:spChg chg="mod">
          <ac:chgData name="Falcão Lacerda, Rafael" userId="40181ff7-4694-4c53-a944-7b7d63582359" providerId="ADAL" clId="{3B4D5F63-EA56-4616-8A78-0C43AB7049E7}" dt="2025-12-08T00:26:39.547" v="5544" actId="947"/>
          <ac:spMkLst>
            <pc:docMk/>
            <pc:sldMk cId="3283943613" sldId="832"/>
            <ac:spMk id="28" creationId="{4484D56E-7317-A80A-73E3-17DB6AE54893}"/>
          </ac:spMkLst>
        </pc:spChg>
        <pc:spChg chg="mod">
          <ac:chgData name="Falcão Lacerda, Rafael" userId="40181ff7-4694-4c53-a944-7b7d63582359" providerId="ADAL" clId="{3B4D5F63-EA56-4616-8A78-0C43AB7049E7}" dt="2025-12-08T00:26:39.383" v="5514" actId="947"/>
          <ac:spMkLst>
            <pc:docMk/>
            <pc:sldMk cId="3283943613" sldId="832"/>
            <ac:spMk id="29" creationId="{2FB4E595-1638-9EF0-E7D9-229895797893}"/>
          </ac:spMkLst>
        </pc:spChg>
        <pc:spChg chg="mod">
          <ac:chgData name="Falcão Lacerda, Rafael" userId="40181ff7-4694-4c53-a944-7b7d63582359" providerId="ADAL" clId="{3B4D5F63-EA56-4616-8A78-0C43AB7049E7}" dt="2025-12-08T00:26:39.406" v="5518" actId="947"/>
          <ac:spMkLst>
            <pc:docMk/>
            <pc:sldMk cId="3283943613" sldId="832"/>
            <ac:spMk id="30" creationId="{E4BE199B-0D42-25D0-9730-16A4F9A12B42}"/>
          </ac:spMkLst>
        </pc:spChg>
        <pc:spChg chg="mod">
          <ac:chgData name="Falcão Lacerda, Rafael" userId="40181ff7-4694-4c53-a944-7b7d63582359" providerId="ADAL" clId="{3B4D5F63-EA56-4616-8A78-0C43AB7049E7}" dt="2025-12-08T00:26:41.841" v="6329" actId="790"/>
          <ac:spMkLst>
            <pc:docMk/>
            <pc:sldMk cId="3283943613" sldId="832"/>
            <ac:spMk id="31" creationId="{4DC4FED5-1F8C-7BF1-B6C1-A157A5A45D3A}"/>
          </ac:spMkLst>
        </pc:spChg>
        <pc:spChg chg="mod">
          <ac:chgData name="Falcão Lacerda, Rafael" userId="40181ff7-4694-4c53-a944-7b7d63582359" providerId="ADAL" clId="{3B4D5F63-EA56-4616-8A78-0C43AB7049E7}" dt="2025-12-08T00:26:39.450" v="5526" actId="947"/>
          <ac:spMkLst>
            <pc:docMk/>
            <pc:sldMk cId="3283943613" sldId="832"/>
            <ac:spMk id="32" creationId="{7D887DD9-A0B5-680B-FCA3-902DE8F3CC29}"/>
          </ac:spMkLst>
        </pc:spChg>
        <pc:spChg chg="mod">
          <ac:chgData name="Falcão Lacerda, Rafael" userId="40181ff7-4694-4c53-a944-7b7d63582359" providerId="ADAL" clId="{3B4D5F63-EA56-4616-8A78-0C43AB7049E7}" dt="2025-12-08T00:26:39.472" v="5530" actId="947"/>
          <ac:spMkLst>
            <pc:docMk/>
            <pc:sldMk cId="3283943613" sldId="832"/>
            <ac:spMk id="33" creationId="{77350232-C6C2-7E4C-FC63-C222C46430AB}"/>
          </ac:spMkLst>
        </pc:spChg>
        <pc:spChg chg="mod">
          <ac:chgData name="Falcão Lacerda, Rafael" userId="40181ff7-4694-4c53-a944-7b7d63582359" providerId="ADAL" clId="{3B4D5F63-EA56-4616-8A78-0C43AB7049E7}" dt="2025-12-08T00:26:39.494" v="5534" actId="947"/>
          <ac:spMkLst>
            <pc:docMk/>
            <pc:sldMk cId="3283943613" sldId="832"/>
            <ac:spMk id="34" creationId="{C53597C1-8B35-FFBD-999A-C03B557BA7A3}"/>
          </ac:spMkLst>
        </pc:spChg>
        <pc:spChg chg="mod">
          <ac:chgData name="Falcão Lacerda, Rafael" userId="40181ff7-4694-4c53-a944-7b7d63582359" providerId="ADAL" clId="{3B4D5F63-EA56-4616-8A78-0C43AB7049E7}" dt="2025-12-08T00:26:39.516" v="5538" actId="947"/>
          <ac:spMkLst>
            <pc:docMk/>
            <pc:sldMk cId="3283943613" sldId="832"/>
            <ac:spMk id="35" creationId="{D11EABEE-2504-D9BC-9B15-8C466DB17636}"/>
          </ac:spMkLst>
        </pc:spChg>
        <pc:spChg chg="mod">
          <ac:chgData name="Falcão Lacerda, Rafael" userId="40181ff7-4694-4c53-a944-7b7d63582359" providerId="ADAL" clId="{3B4D5F63-EA56-4616-8A78-0C43AB7049E7}" dt="2025-12-08T00:26:39.537" v="5542" actId="947"/>
          <ac:spMkLst>
            <pc:docMk/>
            <pc:sldMk cId="3283943613" sldId="832"/>
            <ac:spMk id="36" creationId="{575A475A-EB32-0C4C-F9F7-877A7965DB6D}"/>
          </ac:spMkLst>
        </pc:spChg>
        <pc:spChg chg="add del mod modVis">
          <ac:chgData name="Falcão Lacerda, Rafael" userId="40181ff7-4694-4c53-a944-7b7d63582359" providerId="ADAL" clId="{3B4D5F63-EA56-4616-8A78-0C43AB7049E7}" dt="2025-12-08T00:32:01.086" v="11552"/>
          <ac:spMkLst>
            <pc:docMk/>
            <pc:sldMk cId="3283943613" sldId="832"/>
            <ac:spMk id="38" creationId="{3F06AE85-5F58-B181-0C3D-2198B123772E}"/>
          </ac:spMkLst>
        </pc:spChg>
        <pc:spChg chg="add del mod modVis">
          <ac:chgData name="Falcão Lacerda, Rafael" userId="40181ff7-4694-4c53-a944-7b7d63582359" providerId="ADAL" clId="{3B4D5F63-EA56-4616-8A78-0C43AB7049E7}" dt="2025-12-08T00:32:02.025" v="11578"/>
          <ac:spMkLst>
            <pc:docMk/>
            <pc:sldMk cId="3283943613" sldId="832"/>
            <ac:spMk id="39" creationId="{44ADE200-6DE1-0F1F-53A7-D1CB10231264}"/>
          </ac:spMkLst>
        </pc:spChg>
        <pc:spChg chg="add del mod modVis">
          <ac:chgData name="Falcão Lacerda, Rafael" userId="40181ff7-4694-4c53-a944-7b7d63582359" providerId="ADAL" clId="{3B4D5F63-EA56-4616-8A78-0C43AB7049E7}" dt="2025-12-08T00:32:06.434" v="11604"/>
          <ac:spMkLst>
            <pc:docMk/>
            <pc:sldMk cId="3283943613" sldId="832"/>
            <ac:spMk id="40" creationId="{338C90E2-DD51-FA50-C5FE-980CC534526F}"/>
          </ac:spMkLst>
        </pc:spChg>
        <pc:spChg chg="add del mod modVis">
          <ac:chgData name="Falcão Lacerda, Rafael" userId="40181ff7-4694-4c53-a944-7b7d63582359" providerId="ADAL" clId="{3B4D5F63-EA56-4616-8A78-0C43AB7049E7}" dt="2025-12-08T00:32:16.056" v="11634"/>
          <ac:spMkLst>
            <pc:docMk/>
            <pc:sldMk cId="3283943613" sldId="832"/>
            <ac:spMk id="41" creationId="{42101278-A6E2-4192-3370-2F7B6562C8A4}"/>
          </ac:spMkLst>
        </pc:spChg>
        <pc:spChg chg="add del mod modVis">
          <ac:chgData name="Falcão Lacerda, Rafael" userId="40181ff7-4694-4c53-a944-7b7d63582359" providerId="ADAL" clId="{3B4D5F63-EA56-4616-8A78-0C43AB7049E7}" dt="2025-12-08T00:32:16.772" v="11661"/>
          <ac:spMkLst>
            <pc:docMk/>
            <pc:sldMk cId="3283943613" sldId="832"/>
            <ac:spMk id="42" creationId="{3C33216F-3E49-1283-AF4A-A19441A3733A}"/>
          </ac:spMkLst>
        </pc:spChg>
        <pc:spChg chg="add del mod">
          <ac:chgData name="Falcão Lacerda, Rafael" userId="40181ff7-4694-4c53-a944-7b7d63582359" providerId="ADAL" clId="{3B4D5F63-EA56-4616-8A78-0C43AB7049E7}" dt="2025-12-08T00:32:50.157" v="11709" actId="478"/>
          <ac:spMkLst>
            <pc:docMk/>
            <pc:sldMk cId="3283943613" sldId="832"/>
            <ac:spMk id="44" creationId="{EF8293CD-47BC-1B3F-3BBD-5A304D71BE83}"/>
          </ac:spMkLst>
        </pc:spChg>
        <pc:spChg chg="add del mod">
          <ac:chgData name="Falcão Lacerda, Rafael" userId="40181ff7-4694-4c53-a944-7b7d63582359" providerId="ADAL" clId="{3B4D5F63-EA56-4616-8A78-0C43AB7049E7}" dt="2025-12-08T00:32:52.214" v="11710" actId="478"/>
          <ac:spMkLst>
            <pc:docMk/>
            <pc:sldMk cId="3283943613" sldId="832"/>
            <ac:spMk id="46" creationId="{42B9941E-39E6-C5BB-0339-B0BF028D8479}"/>
          </ac:spMkLst>
        </pc:spChg>
        <pc:spChg chg="add del mod">
          <ac:chgData name="Falcão Lacerda, Rafael" userId="40181ff7-4694-4c53-a944-7b7d63582359" providerId="ADAL" clId="{3B4D5F63-EA56-4616-8A78-0C43AB7049E7}" dt="2025-12-08T00:32:54.857" v="11711" actId="478"/>
          <ac:spMkLst>
            <pc:docMk/>
            <pc:sldMk cId="3283943613" sldId="832"/>
            <ac:spMk id="48" creationId="{FC265DFB-51EA-EAA8-CA9A-C0B1BF72C2AC}"/>
          </ac:spMkLst>
        </pc:spChg>
        <pc:spChg chg="del">
          <ac:chgData name="Falcão Lacerda, Rafael" userId="40181ff7-4694-4c53-a944-7b7d63582359" providerId="ADAL" clId="{3B4D5F63-EA56-4616-8A78-0C43AB7049E7}" dt="2025-12-08T00:32:54.857" v="11711" actId="478"/>
          <ac:spMkLst>
            <pc:docMk/>
            <pc:sldMk cId="3283943613" sldId="832"/>
            <ac:spMk id="50" creationId="{BB728D40-BBEF-B741-AB50-9926F6552A6F}"/>
          </ac:spMkLst>
        </pc:spChg>
        <pc:spChg chg="del">
          <ac:chgData name="Falcão Lacerda, Rafael" userId="40181ff7-4694-4c53-a944-7b7d63582359" providerId="ADAL" clId="{3B4D5F63-EA56-4616-8A78-0C43AB7049E7}" dt="2025-12-08T00:32:54.857" v="11711" actId="478"/>
          <ac:spMkLst>
            <pc:docMk/>
            <pc:sldMk cId="3283943613" sldId="832"/>
            <ac:spMk id="54" creationId="{31C25DB0-20AD-72F7-8437-5ACFF202748A}"/>
          </ac:spMkLst>
        </pc:spChg>
        <pc:spChg chg="del">
          <ac:chgData name="Falcão Lacerda, Rafael" userId="40181ff7-4694-4c53-a944-7b7d63582359" providerId="ADAL" clId="{3B4D5F63-EA56-4616-8A78-0C43AB7049E7}" dt="2025-12-08T00:32:54.857" v="11711" actId="478"/>
          <ac:spMkLst>
            <pc:docMk/>
            <pc:sldMk cId="3283943613" sldId="832"/>
            <ac:spMk id="56" creationId="{AF3C4276-D570-7262-4EA6-835926F5C873}"/>
          </ac:spMkLst>
        </pc:spChg>
        <pc:spChg chg="add del mod">
          <ac:chgData name="Falcão Lacerda, Rafael" userId="40181ff7-4694-4c53-a944-7b7d63582359" providerId="ADAL" clId="{3B4D5F63-EA56-4616-8A78-0C43AB7049E7}" dt="2025-12-08T00:32:54.857" v="11711" actId="478"/>
          <ac:spMkLst>
            <pc:docMk/>
            <pc:sldMk cId="3283943613" sldId="832"/>
            <ac:spMk id="60" creationId="{92E3666A-7C27-F740-92FA-8084E4A5269F}"/>
          </ac:spMkLst>
        </pc:spChg>
        <pc:spChg chg="add del mod">
          <ac:chgData name="Falcão Lacerda, Rafael" userId="40181ff7-4694-4c53-a944-7b7d63582359" providerId="ADAL" clId="{3B4D5F63-EA56-4616-8A78-0C43AB7049E7}" dt="2025-12-08T00:32:54.857" v="11711" actId="478"/>
          <ac:spMkLst>
            <pc:docMk/>
            <pc:sldMk cId="3283943613" sldId="832"/>
            <ac:spMk id="64" creationId="{614A1E04-F74C-8CB0-B6A0-8D7FB037603E}"/>
          </ac:spMkLst>
        </pc:spChg>
        <pc:spChg chg="del">
          <ac:chgData name="Falcão Lacerda, Rafael" userId="40181ff7-4694-4c53-a944-7b7d63582359" providerId="ADAL" clId="{3B4D5F63-EA56-4616-8A78-0C43AB7049E7}" dt="2025-12-08T00:32:54.857" v="11711" actId="478"/>
          <ac:spMkLst>
            <pc:docMk/>
            <pc:sldMk cId="3283943613" sldId="832"/>
            <ac:spMk id="66" creationId="{20949D72-EF8F-4DC4-7ABC-6DDAE06EFF55}"/>
          </ac:spMkLst>
        </pc:spChg>
        <pc:spChg chg="add mod">
          <ac:chgData name="Falcão Lacerda, Rafael" userId="40181ff7-4694-4c53-a944-7b7d63582359" providerId="ADAL" clId="{3B4D5F63-EA56-4616-8A78-0C43AB7049E7}" dt="2025-12-08T00:32:47.697" v="11708" actId="478"/>
          <ac:spMkLst>
            <pc:docMk/>
            <pc:sldMk cId="3283943613" sldId="832"/>
            <ac:spMk id="68" creationId="{8E7A1353-E39C-20A4-D5EC-7B11F62170D0}"/>
          </ac:spMkLst>
        </pc:spChg>
        <pc:spChg chg="del">
          <ac:chgData name="Falcão Lacerda, Rafael" userId="40181ff7-4694-4c53-a944-7b7d63582359" providerId="ADAL" clId="{3B4D5F63-EA56-4616-8A78-0C43AB7049E7}" dt="2025-12-08T00:32:54.857" v="11711" actId="478"/>
          <ac:spMkLst>
            <pc:docMk/>
            <pc:sldMk cId="3283943613" sldId="832"/>
            <ac:spMk id="70" creationId="{597E7417-5B81-0B09-473C-56F614127D8D}"/>
          </ac:spMkLst>
        </pc:spChg>
        <pc:spChg chg="del">
          <ac:chgData name="Falcão Lacerda, Rafael" userId="40181ff7-4694-4c53-a944-7b7d63582359" providerId="ADAL" clId="{3B4D5F63-EA56-4616-8A78-0C43AB7049E7}" dt="2025-12-08T00:32:54.857" v="11711" actId="478"/>
          <ac:spMkLst>
            <pc:docMk/>
            <pc:sldMk cId="3283943613" sldId="832"/>
            <ac:spMk id="72" creationId="{0BA9C7A0-1B06-72DE-2EEA-398DB440BA96}"/>
          </ac:spMkLst>
        </pc:spChg>
        <pc:spChg chg="add del mod">
          <ac:chgData name="Falcão Lacerda, Rafael" userId="40181ff7-4694-4c53-a944-7b7d63582359" providerId="ADAL" clId="{3B4D5F63-EA56-4616-8A78-0C43AB7049E7}" dt="2025-12-08T00:32:54.857" v="11711" actId="478"/>
          <ac:spMkLst>
            <pc:docMk/>
            <pc:sldMk cId="3283943613" sldId="832"/>
            <ac:spMk id="74" creationId="{A10F44BE-123D-BBF5-958C-892BC8EDE085}"/>
          </ac:spMkLst>
        </pc:spChg>
        <pc:spChg chg="add del mod">
          <ac:chgData name="Falcão Lacerda, Rafael" userId="40181ff7-4694-4c53-a944-7b7d63582359" providerId="ADAL" clId="{3B4D5F63-EA56-4616-8A78-0C43AB7049E7}" dt="2025-12-08T00:35:03.294" v="11860" actId="478"/>
          <ac:spMkLst>
            <pc:docMk/>
            <pc:sldMk cId="3283943613" sldId="832"/>
            <ac:spMk id="76" creationId="{3F508FB4-CA59-AB62-CC87-0427DD514E25}"/>
          </ac:spMkLst>
        </pc:spChg>
        <pc:spChg chg="add del mod">
          <ac:chgData name="Falcão Lacerda, Rafael" userId="40181ff7-4694-4c53-a944-7b7d63582359" providerId="ADAL" clId="{3B4D5F63-EA56-4616-8A78-0C43AB7049E7}" dt="2025-12-08T00:35:02.322" v="11859" actId="478"/>
          <ac:spMkLst>
            <pc:docMk/>
            <pc:sldMk cId="3283943613" sldId="832"/>
            <ac:spMk id="78" creationId="{1B865ECF-E212-906E-12A7-5ABEE3113C2D}"/>
          </ac:spMkLst>
        </pc:spChg>
        <pc:spChg chg="add del mod">
          <ac:chgData name="Falcão Lacerda, Rafael" userId="40181ff7-4694-4c53-a944-7b7d63582359" providerId="ADAL" clId="{3B4D5F63-EA56-4616-8A78-0C43AB7049E7}" dt="2025-12-08T13:05:37.602" v="30155" actId="478"/>
          <ac:spMkLst>
            <pc:docMk/>
            <pc:sldMk cId="3283943613" sldId="832"/>
            <ac:spMk id="80" creationId="{9A520BEB-AE07-CAA6-288B-3B43D036D17E}"/>
          </ac:spMkLst>
        </pc:spChg>
        <pc:spChg chg="add del mod">
          <ac:chgData name="Falcão Lacerda, Rafael" userId="40181ff7-4694-4c53-a944-7b7d63582359" providerId="ADAL" clId="{3B4D5F63-EA56-4616-8A78-0C43AB7049E7}" dt="2025-12-08T13:05:38.740" v="30156" actId="478"/>
          <ac:spMkLst>
            <pc:docMk/>
            <pc:sldMk cId="3283943613" sldId="832"/>
            <ac:spMk id="82" creationId="{2692DFA5-C88A-D02A-BC92-F15A69A6D8A1}"/>
          </ac:spMkLst>
        </pc:spChg>
        <pc:graphicFrameChg chg="add mod ord modVis">
          <ac:chgData name="Falcão Lacerda, Rafael" userId="40181ff7-4694-4c53-a944-7b7d63582359" providerId="ADAL" clId="{3B4D5F63-EA56-4616-8A78-0C43AB7049E7}" dt="2025-12-08T00:32:16.772" v="11663"/>
          <ac:graphicFrameMkLst>
            <pc:docMk/>
            <pc:sldMk cId="3283943613" sldId="832"/>
            <ac:graphicFrameMk id="37" creationId="{60921388-E25C-6A43-C45E-EA52B8BC89AE}"/>
          </ac:graphicFrameMkLst>
        </pc:graphicFrameChg>
      </pc:sldChg>
      <pc:sldChg chg="addSp delSp modSp mod modShow modNotes">
        <pc:chgData name="Falcão Lacerda, Rafael" userId="40181ff7-4694-4c53-a944-7b7d63582359" providerId="ADAL" clId="{3B4D5F63-EA56-4616-8A78-0C43AB7049E7}" dt="2025-12-08T17:18:13.731" v="34035" actId="729"/>
        <pc:sldMkLst>
          <pc:docMk/>
          <pc:sldMk cId="1949285162" sldId="833"/>
        </pc:sldMkLst>
        <pc:spChg chg="mod">
          <ac:chgData name="Falcão Lacerda, Rafael" userId="40181ff7-4694-4c53-a944-7b7d63582359" providerId="ADAL" clId="{3B4D5F63-EA56-4616-8A78-0C43AB7049E7}" dt="2025-12-08T00:26:47.428" v="8535" actId="948"/>
          <ac:spMkLst>
            <pc:docMk/>
            <pc:sldMk cId="1949285162" sldId="833"/>
            <ac:spMk id="2" creationId="{EA5FDC21-4039-E14B-94E7-EE782149CEEB}"/>
          </ac:spMkLst>
        </pc:spChg>
        <pc:spChg chg="mod">
          <ac:chgData name="Falcão Lacerda, Rafael" userId="40181ff7-4694-4c53-a944-7b7d63582359" providerId="ADAL" clId="{3B4D5F63-EA56-4616-8A78-0C43AB7049E7}" dt="2025-12-08T00:26:41.841" v="6329" actId="790"/>
          <ac:spMkLst>
            <pc:docMk/>
            <pc:sldMk cId="1949285162" sldId="833"/>
            <ac:spMk id="3" creationId="{A9CE90DD-8B7E-13AF-6548-318D5C7190E1}"/>
          </ac:spMkLst>
        </pc:spChg>
        <pc:spChg chg="mod">
          <ac:chgData name="Falcão Lacerda, Rafael" userId="40181ff7-4694-4c53-a944-7b7d63582359" providerId="ADAL" clId="{3B4D5F63-EA56-4616-8A78-0C43AB7049E7}" dt="2025-12-08T00:26:41.841" v="6329" actId="790"/>
          <ac:spMkLst>
            <pc:docMk/>
            <pc:sldMk cId="1949285162" sldId="833"/>
            <ac:spMk id="4" creationId="{1C1C577A-10D4-2733-7468-58F2702B3893}"/>
          </ac:spMkLst>
        </pc:spChg>
        <pc:spChg chg="add del mod modVis">
          <ac:chgData name="Falcão Lacerda, Rafael" userId="40181ff7-4694-4c53-a944-7b7d63582359" providerId="ADAL" clId="{3B4D5F63-EA56-4616-8A78-0C43AB7049E7}" dt="2025-12-08T00:26:54.641" v="10885"/>
          <ac:spMkLst>
            <pc:docMk/>
            <pc:sldMk cId="1949285162" sldId="833"/>
            <ac:spMk id="5" creationId="{A7835A51-8A03-95C8-A0E2-DDBF762EC9DF}"/>
          </ac:spMkLst>
        </pc:spChg>
        <pc:graphicFrameChg chg="add mod ord modVis">
          <ac:chgData name="Falcão Lacerda, Rafael" userId="40181ff7-4694-4c53-a944-7b7d63582359" providerId="ADAL" clId="{3B4D5F63-EA56-4616-8A78-0C43AB7049E7}" dt="2025-12-08T00:26:54.673" v="10899"/>
          <ac:graphicFrameMkLst>
            <pc:docMk/>
            <pc:sldMk cId="1949285162" sldId="833"/>
            <ac:graphicFrameMk id="6" creationId="{DB1FF588-9867-7BA4-F23B-3862DCB8042D}"/>
          </ac:graphicFrameMkLst>
        </pc:graphicFrameChg>
      </pc:sldChg>
      <pc:sldChg chg="addSp delSp modSp mod modShow modNotes">
        <pc:chgData name="Falcão Lacerda, Rafael" userId="40181ff7-4694-4c53-a944-7b7d63582359" providerId="ADAL" clId="{3B4D5F63-EA56-4616-8A78-0C43AB7049E7}" dt="2025-12-08T17:18:13.731" v="34035" actId="729"/>
        <pc:sldMkLst>
          <pc:docMk/>
          <pc:sldMk cId="724225570" sldId="837"/>
        </pc:sldMkLst>
        <pc:spChg chg="add del mod modVis">
          <ac:chgData name="Falcão Lacerda, Rafael" userId="40181ff7-4694-4c53-a944-7b7d63582359" providerId="ADAL" clId="{3B4D5F63-EA56-4616-8A78-0C43AB7049E7}" dt="2025-12-08T00:26:55.029" v="11029"/>
          <ac:spMkLst>
            <pc:docMk/>
            <pc:sldMk cId="724225570" sldId="837"/>
            <ac:spMk id="2" creationId="{269526D0-1CA3-9810-184D-08FDFF7FBBF7}"/>
          </ac:spMkLst>
        </pc:spChg>
        <pc:spChg chg="mod">
          <ac:chgData name="Falcão Lacerda, Rafael" userId="40181ff7-4694-4c53-a944-7b7d63582359" providerId="ADAL" clId="{3B4D5F63-EA56-4616-8A78-0C43AB7049E7}" dt="2025-12-08T00:26:47.768" v="8715" actId="948"/>
          <ac:spMkLst>
            <pc:docMk/>
            <pc:sldMk cId="724225570" sldId="837"/>
            <ac:spMk id="5" creationId="{DF68AAD8-8CFC-6311-1FB5-3DDECF5C498D}"/>
          </ac:spMkLst>
        </pc:spChg>
        <pc:spChg chg="mod">
          <ac:chgData name="Falcão Lacerda, Rafael" userId="40181ff7-4694-4c53-a944-7b7d63582359" providerId="ADAL" clId="{3B4D5F63-EA56-4616-8A78-0C43AB7049E7}" dt="2025-12-08T00:26:41.841" v="6329" actId="790"/>
          <ac:spMkLst>
            <pc:docMk/>
            <pc:sldMk cId="724225570" sldId="837"/>
            <ac:spMk id="9" creationId="{F9C165F7-A0D6-91E3-61DD-1F0753896D97}"/>
          </ac:spMkLst>
        </pc:spChg>
        <pc:graphicFrameChg chg="add mod ord modVis">
          <ac:chgData name="Falcão Lacerda, Rafael" userId="40181ff7-4694-4c53-a944-7b7d63582359" providerId="ADAL" clId="{3B4D5F63-EA56-4616-8A78-0C43AB7049E7}" dt="2025-12-08T00:26:55.059" v="11043"/>
          <ac:graphicFrameMkLst>
            <pc:docMk/>
            <pc:sldMk cId="724225570" sldId="837"/>
            <ac:graphicFrameMk id="3" creationId="{4C9AA6DA-F0F1-C3C1-D895-B9CD15F1CD7E}"/>
          </ac:graphicFrameMkLst>
        </pc:graphicFrameChg>
      </pc:sldChg>
      <pc:sldChg chg="addSp delSp modSp mod modShow modNotes">
        <pc:chgData name="Falcão Lacerda, Rafael" userId="40181ff7-4694-4c53-a944-7b7d63582359" providerId="ADAL" clId="{3B4D5F63-EA56-4616-8A78-0C43AB7049E7}" dt="2025-12-08T17:18:13.731" v="34035" actId="729"/>
        <pc:sldMkLst>
          <pc:docMk/>
          <pc:sldMk cId="4131781209" sldId="838"/>
        </pc:sldMkLst>
        <pc:spChg chg="add del mod modVis">
          <ac:chgData name="Falcão Lacerda, Rafael" userId="40181ff7-4694-4c53-a944-7b7d63582359" providerId="ADAL" clId="{3B4D5F63-EA56-4616-8A78-0C43AB7049E7}" dt="2025-12-08T00:26:55.294" v="11125"/>
          <ac:spMkLst>
            <pc:docMk/>
            <pc:sldMk cId="4131781209" sldId="838"/>
            <ac:spMk id="2" creationId="{8637FE94-CDC4-3B71-B513-6D06C4FA72D1}"/>
          </ac:spMkLst>
        </pc:spChg>
        <pc:spChg chg="mod">
          <ac:chgData name="Falcão Lacerda, Rafael" userId="40181ff7-4694-4c53-a944-7b7d63582359" providerId="ADAL" clId="{3B4D5F63-EA56-4616-8A78-0C43AB7049E7}" dt="2025-12-08T00:26:47.967" v="8835" actId="948"/>
          <ac:spMkLst>
            <pc:docMk/>
            <pc:sldMk cId="4131781209" sldId="838"/>
            <ac:spMk id="4" creationId="{37A7D939-360F-B75A-6D31-6DC330917D0D}"/>
          </ac:spMkLst>
        </pc:spChg>
        <pc:spChg chg="mod">
          <ac:chgData name="Falcão Lacerda, Rafael" userId="40181ff7-4694-4c53-a944-7b7d63582359" providerId="ADAL" clId="{3B4D5F63-EA56-4616-8A78-0C43AB7049E7}" dt="2025-12-08T00:26:41.841" v="6329" actId="790"/>
          <ac:spMkLst>
            <pc:docMk/>
            <pc:sldMk cId="4131781209" sldId="838"/>
            <ac:spMk id="9" creationId="{98DBA105-A58D-B249-8E5D-A3E214DECDED}"/>
          </ac:spMkLst>
        </pc:spChg>
        <pc:spChg chg="mod">
          <ac:chgData name="Falcão Lacerda, Rafael" userId="40181ff7-4694-4c53-a944-7b7d63582359" providerId="ADAL" clId="{3B4D5F63-EA56-4616-8A78-0C43AB7049E7}" dt="2025-12-08T00:26:41.841" v="6329" actId="790"/>
          <ac:spMkLst>
            <pc:docMk/>
            <pc:sldMk cId="4131781209" sldId="838"/>
            <ac:spMk id="12" creationId="{8BEEDB3D-0FEF-5458-42CF-6D2AE2CC8B4D}"/>
          </ac:spMkLst>
        </pc:spChg>
        <pc:graphicFrameChg chg="add mod ord modVis">
          <ac:chgData name="Falcão Lacerda, Rafael" userId="40181ff7-4694-4c53-a944-7b7d63582359" providerId="ADAL" clId="{3B4D5F63-EA56-4616-8A78-0C43AB7049E7}" dt="2025-12-08T00:26:55.341" v="11139"/>
          <ac:graphicFrameMkLst>
            <pc:docMk/>
            <pc:sldMk cId="4131781209" sldId="838"/>
            <ac:graphicFrameMk id="3" creationId="{EB555257-4462-A49F-8595-E2B978C3A545}"/>
          </ac:graphicFrameMkLst>
        </pc:graphicFrameChg>
      </pc:sldChg>
      <pc:sldChg chg="addSp delSp modSp mod modShow modNotes">
        <pc:chgData name="Falcão Lacerda, Rafael" userId="40181ff7-4694-4c53-a944-7b7d63582359" providerId="ADAL" clId="{3B4D5F63-EA56-4616-8A78-0C43AB7049E7}" dt="2025-12-08T17:18:13.731" v="34035" actId="729"/>
        <pc:sldMkLst>
          <pc:docMk/>
          <pc:sldMk cId="3647006250" sldId="840"/>
        </pc:sldMkLst>
        <pc:spChg chg="add del mod modVis">
          <ac:chgData name="Falcão Lacerda, Rafael" userId="40181ff7-4694-4c53-a944-7b7d63582359" providerId="ADAL" clId="{3B4D5F63-EA56-4616-8A78-0C43AB7049E7}" dt="2025-12-08T00:26:55.255" v="11109"/>
          <ac:spMkLst>
            <pc:docMk/>
            <pc:sldMk cId="3647006250" sldId="840"/>
            <ac:spMk id="2" creationId="{B23F8155-E206-9199-39C5-2EF21B2524DA}"/>
          </ac:spMkLst>
        </pc:spChg>
        <pc:spChg chg="mod">
          <ac:chgData name="Falcão Lacerda, Rafael" userId="40181ff7-4694-4c53-a944-7b7d63582359" providerId="ADAL" clId="{3B4D5F63-EA56-4616-8A78-0C43AB7049E7}" dt="2025-12-08T00:26:47.932" v="8815" actId="948"/>
          <ac:spMkLst>
            <pc:docMk/>
            <pc:sldMk cId="3647006250" sldId="840"/>
            <ac:spMk id="4" creationId="{964579B2-78D6-D3BC-9E94-E6BD7B2D1784}"/>
          </ac:spMkLst>
        </pc:spChg>
        <pc:spChg chg="mod">
          <ac:chgData name="Falcão Lacerda, Rafael" userId="40181ff7-4694-4c53-a944-7b7d63582359" providerId="ADAL" clId="{3B4D5F63-EA56-4616-8A78-0C43AB7049E7}" dt="2025-12-08T00:26:41.841" v="6329" actId="790"/>
          <ac:spMkLst>
            <pc:docMk/>
            <pc:sldMk cId="3647006250" sldId="840"/>
            <ac:spMk id="12" creationId="{B7CE8FA3-4A77-AEE7-0725-EA30ABA9AB8F}"/>
          </ac:spMkLst>
        </pc:spChg>
        <pc:spChg chg="mod">
          <ac:chgData name="Falcão Lacerda, Rafael" userId="40181ff7-4694-4c53-a944-7b7d63582359" providerId="ADAL" clId="{3B4D5F63-EA56-4616-8A78-0C43AB7049E7}" dt="2025-12-08T00:26:41.841" v="6329" actId="790"/>
          <ac:spMkLst>
            <pc:docMk/>
            <pc:sldMk cId="3647006250" sldId="840"/>
            <ac:spMk id="15" creationId="{D7FB442C-F083-714C-2F6A-07BDE1019BAA}"/>
          </ac:spMkLst>
        </pc:spChg>
        <pc:graphicFrameChg chg="add mod ord modVis">
          <ac:chgData name="Falcão Lacerda, Rafael" userId="40181ff7-4694-4c53-a944-7b7d63582359" providerId="ADAL" clId="{3B4D5F63-EA56-4616-8A78-0C43AB7049E7}" dt="2025-12-08T00:26:55.278" v="11123"/>
          <ac:graphicFrameMkLst>
            <pc:docMk/>
            <pc:sldMk cId="3647006250" sldId="840"/>
            <ac:graphicFrameMk id="3" creationId="{BF5593A8-2712-3F81-D80F-2AE2EAB9C966}"/>
          </ac:graphicFrameMkLst>
        </pc:graphicFrameChg>
      </pc:sldChg>
      <pc:sldChg chg="addSp delSp modSp mod modShow modNotes">
        <pc:chgData name="Falcão Lacerda, Rafael" userId="40181ff7-4694-4c53-a944-7b7d63582359" providerId="ADAL" clId="{3B4D5F63-EA56-4616-8A78-0C43AB7049E7}" dt="2025-12-08T17:18:13.731" v="34035" actId="729"/>
        <pc:sldMkLst>
          <pc:docMk/>
          <pc:sldMk cId="3842828688" sldId="842"/>
        </pc:sldMkLst>
        <pc:spChg chg="add del mod modVis">
          <ac:chgData name="Falcão Lacerda, Rafael" userId="40181ff7-4694-4c53-a944-7b7d63582359" providerId="ADAL" clId="{3B4D5F63-EA56-4616-8A78-0C43AB7049E7}" dt="2025-12-08T00:26:55.059" v="11045"/>
          <ac:spMkLst>
            <pc:docMk/>
            <pc:sldMk cId="3842828688" sldId="842"/>
            <ac:spMk id="2" creationId="{FE61F186-CCDA-B569-AFD7-1BB7898DCFCB}"/>
          </ac:spMkLst>
        </pc:spChg>
        <pc:spChg chg="mod">
          <ac:chgData name="Falcão Lacerda, Rafael" userId="40181ff7-4694-4c53-a944-7b7d63582359" providerId="ADAL" clId="{3B4D5F63-EA56-4616-8A78-0C43AB7049E7}" dt="2025-12-08T00:26:47.791" v="8735" actId="948"/>
          <ac:spMkLst>
            <pc:docMk/>
            <pc:sldMk cId="3842828688" sldId="842"/>
            <ac:spMk id="9" creationId="{540FA219-EC0C-55C8-A3B4-2A0C44AF7F05}"/>
          </ac:spMkLst>
        </pc:spChg>
        <pc:spChg chg="mod">
          <ac:chgData name="Falcão Lacerda, Rafael" userId="40181ff7-4694-4c53-a944-7b7d63582359" providerId="ADAL" clId="{3B4D5F63-EA56-4616-8A78-0C43AB7049E7}" dt="2025-12-08T00:26:41.841" v="6329" actId="790"/>
          <ac:spMkLst>
            <pc:docMk/>
            <pc:sldMk cId="3842828688" sldId="842"/>
            <ac:spMk id="13" creationId="{6FF4871C-6CCF-D63A-7CE7-EBA569B29DB5}"/>
          </ac:spMkLst>
        </pc:spChg>
        <pc:spChg chg="mod">
          <ac:chgData name="Falcão Lacerda, Rafael" userId="40181ff7-4694-4c53-a944-7b7d63582359" providerId="ADAL" clId="{3B4D5F63-EA56-4616-8A78-0C43AB7049E7}" dt="2025-12-08T00:26:41.841" v="6329" actId="790"/>
          <ac:spMkLst>
            <pc:docMk/>
            <pc:sldMk cId="3842828688" sldId="842"/>
            <ac:spMk id="15" creationId="{4D8CB7A9-6C80-36DD-2C1F-D266012E5A40}"/>
          </ac:spMkLst>
        </pc:spChg>
        <pc:spChg chg="mod">
          <ac:chgData name="Falcão Lacerda, Rafael" userId="40181ff7-4694-4c53-a944-7b7d63582359" providerId="ADAL" clId="{3B4D5F63-EA56-4616-8A78-0C43AB7049E7}" dt="2025-12-08T00:26:41.841" v="6329" actId="790"/>
          <ac:spMkLst>
            <pc:docMk/>
            <pc:sldMk cId="3842828688" sldId="842"/>
            <ac:spMk id="17" creationId="{0F1AA82A-AE26-3FD8-588C-A0702C509C49}"/>
          </ac:spMkLst>
        </pc:spChg>
        <pc:graphicFrameChg chg="add mod ord modVis">
          <ac:chgData name="Falcão Lacerda, Rafael" userId="40181ff7-4694-4c53-a944-7b7d63582359" providerId="ADAL" clId="{3B4D5F63-EA56-4616-8A78-0C43AB7049E7}" dt="2025-12-08T00:26:55.091" v="11059"/>
          <ac:graphicFrameMkLst>
            <pc:docMk/>
            <pc:sldMk cId="3842828688" sldId="842"/>
            <ac:graphicFrameMk id="3" creationId="{660E787C-6F4B-C018-3741-8FC843702760}"/>
          </ac:graphicFrameMkLst>
        </pc:graphicFrameChg>
      </pc:sldChg>
      <pc:sldChg chg="addSp delSp modSp mod modShow modNotes">
        <pc:chgData name="Falcão Lacerda, Rafael" userId="40181ff7-4694-4c53-a944-7b7d63582359" providerId="ADAL" clId="{3B4D5F63-EA56-4616-8A78-0C43AB7049E7}" dt="2025-12-08T17:18:13.731" v="34035" actId="729"/>
        <pc:sldMkLst>
          <pc:docMk/>
          <pc:sldMk cId="1015340132" sldId="843"/>
        </pc:sldMkLst>
        <pc:spChg chg="add del mod modVis">
          <ac:chgData name="Falcão Lacerda, Rafael" userId="40181ff7-4694-4c53-a944-7b7d63582359" providerId="ADAL" clId="{3B4D5F63-EA56-4616-8A78-0C43AB7049E7}" dt="2025-12-08T00:26:55.200" v="11093"/>
          <ac:spMkLst>
            <pc:docMk/>
            <pc:sldMk cId="1015340132" sldId="843"/>
            <ac:spMk id="2" creationId="{5019CA61-CD74-7C56-590A-202EA109CA63}"/>
          </ac:spMkLst>
        </pc:spChg>
        <pc:spChg chg="mod">
          <ac:chgData name="Falcão Lacerda, Rafael" userId="40181ff7-4694-4c53-a944-7b7d63582359" providerId="ADAL" clId="{3B4D5F63-EA56-4616-8A78-0C43AB7049E7}" dt="2025-12-08T00:26:47.898" v="8795" actId="948"/>
          <ac:spMkLst>
            <pc:docMk/>
            <pc:sldMk cId="1015340132" sldId="843"/>
            <ac:spMk id="10" creationId="{0C0D7AA1-9FCD-13BE-1F47-8421DC3F1577}"/>
          </ac:spMkLst>
        </pc:spChg>
        <pc:spChg chg="mod">
          <ac:chgData name="Falcão Lacerda, Rafael" userId="40181ff7-4694-4c53-a944-7b7d63582359" providerId="ADAL" clId="{3B4D5F63-EA56-4616-8A78-0C43AB7049E7}" dt="2025-12-08T00:26:41.841" v="6329" actId="790"/>
          <ac:spMkLst>
            <pc:docMk/>
            <pc:sldMk cId="1015340132" sldId="843"/>
            <ac:spMk id="15" creationId="{EA1D14CC-9B21-9041-CC7E-471E6152D2F0}"/>
          </ac:spMkLst>
        </pc:spChg>
        <pc:spChg chg="mod">
          <ac:chgData name="Falcão Lacerda, Rafael" userId="40181ff7-4694-4c53-a944-7b7d63582359" providerId="ADAL" clId="{3B4D5F63-EA56-4616-8A78-0C43AB7049E7}" dt="2025-12-08T00:26:41.841" v="6329" actId="790"/>
          <ac:spMkLst>
            <pc:docMk/>
            <pc:sldMk cId="1015340132" sldId="843"/>
            <ac:spMk id="20" creationId="{68E69F22-65E4-EDE0-23F2-D6F00C27ECD0}"/>
          </ac:spMkLst>
        </pc:spChg>
        <pc:spChg chg="mod">
          <ac:chgData name="Falcão Lacerda, Rafael" userId="40181ff7-4694-4c53-a944-7b7d63582359" providerId="ADAL" clId="{3B4D5F63-EA56-4616-8A78-0C43AB7049E7}" dt="2025-12-08T00:26:41.841" v="6329" actId="790"/>
          <ac:spMkLst>
            <pc:docMk/>
            <pc:sldMk cId="1015340132" sldId="843"/>
            <ac:spMk id="25" creationId="{5FEDE1C8-7946-0415-4AFF-B275B7060C40}"/>
          </ac:spMkLst>
        </pc:spChg>
        <pc:graphicFrameChg chg="add mod ord modVis">
          <ac:chgData name="Falcão Lacerda, Rafael" userId="40181ff7-4694-4c53-a944-7b7d63582359" providerId="ADAL" clId="{3B4D5F63-EA56-4616-8A78-0C43AB7049E7}" dt="2025-12-08T00:26:55.252" v="11107"/>
          <ac:graphicFrameMkLst>
            <pc:docMk/>
            <pc:sldMk cId="1015340132" sldId="843"/>
            <ac:graphicFrameMk id="3" creationId="{79A8657D-9C54-B5BD-0B4A-450D138ED1C1}"/>
          </ac:graphicFrameMkLst>
        </pc:graphicFrameChg>
      </pc:sldChg>
      <pc:sldChg chg="addSp delSp modSp mod modShow modNotes">
        <pc:chgData name="Falcão Lacerda, Rafael" userId="40181ff7-4694-4c53-a944-7b7d63582359" providerId="ADAL" clId="{3B4D5F63-EA56-4616-8A78-0C43AB7049E7}" dt="2025-12-08T17:18:13.731" v="34035" actId="729"/>
        <pc:sldMkLst>
          <pc:docMk/>
          <pc:sldMk cId="4094991184" sldId="844"/>
        </pc:sldMkLst>
        <pc:spChg chg="mod">
          <ac:chgData name="Falcão Lacerda, Rafael" userId="40181ff7-4694-4c53-a944-7b7d63582359" providerId="ADAL" clId="{3B4D5F63-EA56-4616-8A78-0C43AB7049E7}" dt="2025-12-08T00:26:41.841" v="6329" actId="790"/>
          <ac:spMkLst>
            <pc:docMk/>
            <pc:sldMk cId="4094991184" sldId="844"/>
            <ac:spMk id="2" creationId="{6CC994EE-AC0A-659F-774D-D33B87374EF7}"/>
          </ac:spMkLst>
        </pc:spChg>
        <pc:spChg chg="mod">
          <ac:chgData name="Falcão Lacerda, Rafael" userId="40181ff7-4694-4c53-a944-7b7d63582359" providerId="ADAL" clId="{3B4D5F63-EA56-4616-8A78-0C43AB7049E7}" dt="2025-12-08T00:26:41.841" v="6329" actId="790"/>
          <ac:spMkLst>
            <pc:docMk/>
            <pc:sldMk cId="4094991184" sldId="844"/>
            <ac:spMk id="3" creationId="{9E41C3FD-75DB-86B3-9F42-8D139F364D84}"/>
          </ac:spMkLst>
        </pc:spChg>
        <pc:spChg chg="mod">
          <ac:chgData name="Falcão Lacerda, Rafael" userId="40181ff7-4694-4c53-a944-7b7d63582359" providerId="ADAL" clId="{3B4D5F63-EA56-4616-8A78-0C43AB7049E7}" dt="2025-12-08T00:26:41.841" v="6329" actId="790"/>
          <ac:spMkLst>
            <pc:docMk/>
            <pc:sldMk cId="4094991184" sldId="844"/>
            <ac:spMk id="4" creationId="{1B10CFBB-6889-F1B2-215C-A25546F252A4}"/>
          </ac:spMkLst>
        </pc:spChg>
        <pc:spChg chg="mod">
          <ac:chgData name="Falcão Lacerda, Rafael" userId="40181ff7-4694-4c53-a944-7b7d63582359" providerId="ADAL" clId="{3B4D5F63-EA56-4616-8A78-0C43AB7049E7}" dt="2025-12-08T00:26:41.841" v="6329" actId="790"/>
          <ac:spMkLst>
            <pc:docMk/>
            <pc:sldMk cId="4094991184" sldId="844"/>
            <ac:spMk id="5" creationId="{E172A4C2-8A80-6079-AF21-90EFB5CD0D95}"/>
          </ac:spMkLst>
        </pc:spChg>
        <pc:spChg chg="add del mod modVis">
          <ac:chgData name="Falcão Lacerda, Rafael" userId="40181ff7-4694-4c53-a944-7b7d63582359" providerId="ADAL" clId="{3B4D5F63-EA56-4616-8A78-0C43AB7049E7}" dt="2025-12-08T00:26:55.341" v="11141"/>
          <ac:spMkLst>
            <pc:docMk/>
            <pc:sldMk cId="4094991184" sldId="844"/>
            <ac:spMk id="6" creationId="{13A7AAB7-7FE1-BB30-F1B2-E6DE819FA251}"/>
          </ac:spMkLst>
        </pc:spChg>
        <pc:spChg chg="mod">
          <ac:chgData name="Falcão Lacerda, Rafael" userId="40181ff7-4694-4c53-a944-7b7d63582359" providerId="ADAL" clId="{3B4D5F63-EA56-4616-8A78-0C43AB7049E7}" dt="2025-12-08T00:26:41.841" v="6329" actId="790"/>
          <ac:spMkLst>
            <pc:docMk/>
            <pc:sldMk cId="4094991184" sldId="844"/>
            <ac:spMk id="7" creationId="{3AAACF51-2A43-B192-BDD1-A5C9BB769F86}"/>
          </ac:spMkLst>
        </pc:spChg>
        <pc:spChg chg="mod">
          <ac:chgData name="Falcão Lacerda, Rafael" userId="40181ff7-4694-4c53-a944-7b7d63582359" providerId="ADAL" clId="{3B4D5F63-EA56-4616-8A78-0C43AB7049E7}" dt="2025-12-08T00:26:41.841" v="6329" actId="790"/>
          <ac:spMkLst>
            <pc:docMk/>
            <pc:sldMk cId="4094991184" sldId="844"/>
            <ac:spMk id="8" creationId="{38CDFECD-EC7A-2FF7-E062-3466D04324FA}"/>
          </ac:spMkLst>
        </pc:spChg>
        <pc:spChg chg="mod">
          <ac:chgData name="Falcão Lacerda, Rafael" userId="40181ff7-4694-4c53-a944-7b7d63582359" providerId="ADAL" clId="{3B4D5F63-EA56-4616-8A78-0C43AB7049E7}" dt="2025-12-08T00:26:41.841" v="6329" actId="790"/>
          <ac:spMkLst>
            <pc:docMk/>
            <pc:sldMk cId="4094991184" sldId="844"/>
            <ac:spMk id="9" creationId="{7D2599C0-964B-62EB-3824-7C007ABF412A}"/>
          </ac:spMkLst>
        </pc:spChg>
        <pc:spChg chg="mod">
          <ac:chgData name="Falcão Lacerda, Rafael" userId="40181ff7-4694-4c53-a944-7b7d63582359" providerId="ADAL" clId="{3B4D5F63-EA56-4616-8A78-0C43AB7049E7}" dt="2025-12-08T00:26:41.841" v="6329" actId="790"/>
          <ac:spMkLst>
            <pc:docMk/>
            <pc:sldMk cId="4094991184" sldId="844"/>
            <ac:spMk id="10" creationId="{FCD6F7B5-338E-4806-D748-0AF1D4C35B09}"/>
          </ac:spMkLst>
        </pc:spChg>
        <pc:spChg chg="mod">
          <ac:chgData name="Falcão Lacerda, Rafael" userId="40181ff7-4694-4c53-a944-7b7d63582359" providerId="ADAL" clId="{3B4D5F63-EA56-4616-8A78-0C43AB7049E7}" dt="2025-12-08T00:26:41.841" v="6329" actId="790"/>
          <ac:spMkLst>
            <pc:docMk/>
            <pc:sldMk cId="4094991184" sldId="844"/>
            <ac:spMk id="11" creationId="{B450259A-FDA9-51AA-7379-9BAE5B9A5ADC}"/>
          </ac:spMkLst>
        </pc:spChg>
        <pc:spChg chg="mod">
          <ac:chgData name="Falcão Lacerda, Rafael" userId="40181ff7-4694-4c53-a944-7b7d63582359" providerId="ADAL" clId="{3B4D5F63-EA56-4616-8A78-0C43AB7049E7}" dt="2025-12-08T00:26:40.170" v="5726" actId="947"/>
          <ac:spMkLst>
            <pc:docMk/>
            <pc:sldMk cId="4094991184" sldId="844"/>
            <ac:spMk id="12" creationId="{6E7AAC1D-5F48-45A4-3632-016B7014FBB5}"/>
          </ac:spMkLst>
        </pc:spChg>
        <pc:spChg chg="mod">
          <ac:chgData name="Falcão Lacerda, Rafael" userId="40181ff7-4694-4c53-a944-7b7d63582359" providerId="ADAL" clId="{3B4D5F63-EA56-4616-8A78-0C43AB7049E7}" dt="2025-12-08T00:26:48.005" v="8855" actId="948"/>
          <ac:spMkLst>
            <pc:docMk/>
            <pc:sldMk cId="4094991184" sldId="844"/>
            <ac:spMk id="23" creationId="{90235D4D-51E0-BF84-8B72-8A2395F37129}"/>
          </ac:spMkLst>
        </pc:spChg>
        <pc:graphicFrameChg chg="add mod ord modVis">
          <ac:chgData name="Falcão Lacerda, Rafael" userId="40181ff7-4694-4c53-a944-7b7d63582359" providerId="ADAL" clId="{3B4D5F63-EA56-4616-8A78-0C43AB7049E7}" dt="2025-12-08T00:26:55.375" v="11155"/>
          <ac:graphicFrameMkLst>
            <pc:docMk/>
            <pc:sldMk cId="4094991184" sldId="844"/>
            <ac:graphicFrameMk id="13" creationId="{64D3B7EF-C6A9-D865-898F-03A8D00C81DD}"/>
          </ac:graphicFrameMkLst>
        </pc:graphicFrameChg>
      </pc:sldChg>
      <pc:sldChg chg="addSp delSp modSp mod modShow modNotes">
        <pc:chgData name="Falcão Lacerda, Rafael" userId="40181ff7-4694-4c53-a944-7b7d63582359" providerId="ADAL" clId="{3B4D5F63-EA56-4616-8A78-0C43AB7049E7}" dt="2025-12-08T17:18:13.731" v="34035" actId="729"/>
        <pc:sldMkLst>
          <pc:docMk/>
          <pc:sldMk cId="90836535" sldId="845"/>
        </pc:sldMkLst>
        <pc:spChg chg="mod">
          <ac:chgData name="Falcão Lacerda, Rafael" userId="40181ff7-4694-4c53-a944-7b7d63582359" providerId="ADAL" clId="{3B4D5F63-EA56-4616-8A78-0C43AB7049E7}" dt="2025-12-08T00:26:41.841" v="6329" actId="790"/>
          <ac:spMkLst>
            <pc:docMk/>
            <pc:sldMk cId="90836535" sldId="845"/>
            <ac:spMk id="2" creationId="{74C33D35-D693-C566-5669-FD276F68A819}"/>
          </ac:spMkLst>
        </pc:spChg>
        <pc:spChg chg="mod">
          <ac:chgData name="Falcão Lacerda, Rafael" userId="40181ff7-4694-4c53-a944-7b7d63582359" providerId="ADAL" clId="{3B4D5F63-EA56-4616-8A78-0C43AB7049E7}" dt="2025-12-08T00:26:40.258" v="5746" actId="947"/>
          <ac:spMkLst>
            <pc:docMk/>
            <pc:sldMk cId="90836535" sldId="845"/>
            <ac:spMk id="3" creationId="{C5A61D06-64F3-E682-3389-64C2FFA94D33}"/>
          </ac:spMkLst>
        </pc:spChg>
        <pc:spChg chg="mod">
          <ac:chgData name="Falcão Lacerda, Rafael" userId="40181ff7-4694-4c53-a944-7b7d63582359" providerId="ADAL" clId="{3B4D5F63-EA56-4616-8A78-0C43AB7049E7}" dt="2025-12-08T00:26:40.207" v="5736" actId="947"/>
          <ac:spMkLst>
            <pc:docMk/>
            <pc:sldMk cId="90836535" sldId="845"/>
            <ac:spMk id="4" creationId="{459E5BCB-6BA5-F5E6-D0C0-3BF60AE40F27}"/>
          </ac:spMkLst>
        </pc:spChg>
        <pc:spChg chg="mod">
          <ac:chgData name="Falcão Lacerda, Rafael" userId="40181ff7-4694-4c53-a944-7b7d63582359" providerId="ADAL" clId="{3B4D5F63-EA56-4616-8A78-0C43AB7049E7}" dt="2025-12-08T00:26:41.841" v="6329" actId="790"/>
          <ac:spMkLst>
            <pc:docMk/>
            <pc:sldMk cId="90836535" sldId="845"/>
            <ac:spMk id="5" creationId="{B66D6F4C-C0F5-8798-DE62-274E8F654278}"/>
          </ac:spMkLst>
        </pc:spChg>
        <pc:spChg chg="add del mod modVis">
          <ac:chgData name="Falcão Lacerda, Rafael" userId="40181ff7-4694-4c53-a944-7b7d63582359" providerId="ADAL" clId="{3B4D5F63-EA56-4616-8A78-0C43AB7049E7}" dt="2025-12-08T00:26:55.379" v="11157"/>
          <ac:spMkLst>
            <pc:docMk/>
            <pc:sldMk cId="90836535" sldId="845"/>
            <ac:spMk id="6" creationId="{B6F36B6B-CB9F-341A-65BE-1BCEA0C202F6}"/>
          </ac:spMkLst>
        </pc:spChg>
        <pc:spChg chg="mod">
          <ac:chgData name="Falcão Lacerda, Rafael" userId="40181ff7-4694-4c53-a944-7b7d63582359" providerId="ADAL" clId="{3B4D5F63-EA56-4616-8A78-0C43AB7049E7}" dt="2025-12-08T00:26:41.841" v="6329" actId="790"/>
          <ac:spMkLst>
            <pc:docMk/>
            <pc:sldMk cId="90836535" sldId="845"/>
            <ac:spMk id="7" creationId="{9E14C1E0-E0C8-F4B5-AC1E-53AE12AC7B90}"/>
          </ac:spMkLst>
        </pc:spChg>
        <pc:spChg chg="mod">
          <ac:chgData name="Falcão Lacerda, Rafael" userId="40181ff7-4694-4c53-a944-7b7d63582359" providerId="ADAL" clId="{3B4D5F63-EA56-4616-8A78-0C43AB7049E7}" dt="2025-12-08T00:26:40.230" v="5738" actId="947"/>
          <ac:spMkLst>
            <pc:docMk/>
            <pc:sldMk cId="90836535" sldId="845"/>
            <ac:spMk id="8" creationId="{00D8C62A-1E19-B18F-BE02-FBFC193FD551}"/>
          </ac:spMkLst>
        </pc:spChg>
        <pc:spChg chg="mod">
          <ac:chgData name="Falcão Lacerda, Rafael" userId="40181ff7-4694-4c53-a944-7b7d63582359" providerId="ADAL" clId="{3B4D5F63-EA56-4616-8A78-0C43AB7049E7}" dt="2025-12-08T00:26:41.841" v="6329" actId="790"/>
          <ac:spMkLst>
            <pc:docMk/>
            <pc:sldMk cId="90836535" sldId="845"/>
            <ac:spMk id="9" creationId="{CBE44CF3-1DE1-E354-725F-C9CF4D05429E}"/>
          </ac:spMkLst>
        </pc:spChg>
        <pc:spChg chg="mod">
          <ac:chgData name="Falcão Lacerda, Rafael" userId="40181ff7-4694-4c53-a944-7b7d63582359" providerId="ADAL" clId="{3B4D5F63-EA56-4616-8A78-0C43AB7049E7}" dt="2025-12-08T00:26:40.262" v="5748" actId="947"/>
          <ac:spMkLst>
            <pc:docMk/>
            <pc:sldMk cId="90836535" sldId="845"/>
            <ac:spMk id="10" creationId="{C09681DF-4511-63A6-2E4C-7DE4C846125E}"/>
          </ac:spMkLst>
        </pc:spChg>
        <pc:spChg chg="mod">
          <ac:chgData name="Falcão Lacerda, Rafael" userId="40181ff7-4694-4c53-a944-7b7d63582359" providerId="ADAL" clId="{3B4D5F63-EA56-4616-8A78-0C43AB7049E7}" dt="2025-12-08T00:26:41.841" v="6329" actId="790"/>
          <ac:spMkLst>
            <pc:docMk/>
            <pc:sldMk cId="90836535" sldId="845"/>
            <ac:spMk id="11" creationId="{55D62076-8F00-D850-DD48-0E963483C107}"/>
          </ac:spMkLst>
        </pc:spChg>
        <pc:spChg chg="mod">
          <ac:chgData name="Falcão Lacerda, Rafael" userId="40181ff7-4694-4c53-a944-7b7d63582359" providerId="ADAL" clId="{3B4D5F63-EA56-4616-8A78-0C43AB7049E7}" dt="2025-12-08T00:26:41.841" v="6329" actId="790"/>
          <ac:spMkLst>
            <pc:docMk/>
            <pc:sldMk cId="90836535" sldId="845"/>
            <ac:spMk id="12" creationId="{35B903B6-F88C-0665-43A9-3E1F435BAD3F}"/>
          </ac:spMkLst>
        </pc:spChg>
        <pc:spChg chg="mod">
          <ac:chgData name="Falcão Lacerda, Rafael" userId="40181ff7-4694-4c53-a944-7b7d63582359" providerId="ADAL" clId="{3B4D5F63-EA56-4616-8A78-0C43AB7049E7}" dt="2025-12-08T00:26:41.841" v="6329" actId="790"/>
          <ac:spMkLst>
            <pc:docMk/>
            <pc:sldMk cId="90836535" sldId="845"/>
            <ac:spMk id="13" creationId="{E468CB9D-39E5-FE76-6BAA-0E8449895D3E}"/>
          </ac:spMkLst>
        </pc:spChg>
        <pc:spChg chg="mod">
          <ac:chgData name="Falcão Lacerda, Rafael" userId="40181ff7-4694-4c53-a944-7b7d63582359" providerId="ADAL" clId="{3B4D5F63-EA56-4616-8A78-0C43AB7049E7}" dt="2025-12-08T00:26:41.841" v="6329" actId="790"/>
          <ac:spMkLst>
            <pc:docMk/>
            <pc:sldMk cId="90836535" sldId="845"/>
            <ac:spMk id="14" creationId="{485B1E89-E3F5-2DC2-096D-39E23828D8BF}"/>
          </ac:spMkLst>
        </pc:spChg>
        <pc:spChg chg="mod">
          <ac:chgData name="Falcão Lacerda, Rafael" userId="40181ff7-4694-4c53-a944-7b7d63582359" providerId="ADAL" clId="{3B4D5F63-EA56-4616-8A78-0C43AB7049E7}" dt="2025-12-08T00:26:41.841" v="6329" actId="790"/>
          <ac:spMkLst>
            <pc:docMk/>
            <pc:sldMk cId="90836535" sldId="845"/>
            <ac:spMk id="15" creationId="{231F73BF-6A6D-50C0-6095-3EC9BD80729E}"/>
          </ac:spMkLst>
        </pc:spChg>
        <pc:spChg chg="mod">
          <ac:chgData name="Falcão Lacerda, Rafael" userId="40181ff7-4694-4c53-a944-7b7d63582359" providerId="ADAL" clId="{3B4D5F63-EA56-4616-8A78-0C43AB7049E7}" dt="2025-12-08T00:26:48.046" v="8875" actId="948"/>
          <ac:spMkLst>
            <pc:docMk/>
            <pc:sldMk cId="90836535" sldId="845"/>
            <ac:spMk id="29" creationId="{4A9FB866-3F74-D137-00DA-D9AB2674A867}"/>
          </ac:spMkLst>
        </pc:spChg>
        <pc:graphicFrameChg chg="add mod ord modVis">
          <ac:chgData name="Falcão Lacerda, Rafael" userId="40181ff7-4694-4c53-a944-7b7d63582359" providerId="ADAL" clId="{3B4D5F63-EA56-4616-8A78-0C43AB7049E7}" dt="2025-12-08T00:26:55.407" v="11171"/>
          <ac:graphicFrameMkLst>
            <pc:docMk/>
            <pc:sldMk cId="90836535" sldId="845"/>
            <ac:graphicFrameMk id="16" creationId="{F5C4F31A-70EC-5B69-0EB0-3766C9B1C188}"/>
          </ac:graphicFrameMkLst>
        </pc:graphicFrameChg>
      </pc:sldChg>
      <pc:sldChg chg="addSp delSp modSp mod modShow modNotes">
        <pc:chgData name="Falcão Lacerda, Rafael" userId="40181ff7-4694-4c53-a944-7b7d63582359" providerId="ADAL" clId="{3B4D5F63-EA56-4616-8A78-0C43AB7049E7}" dt="2025-12-08T17:18:13.731" v="34035" actId="729"/>
        <pc:sldMkLst>
          <pc:docMk/>
          <pc:sldMk cId="4171654333" sldId="846"/>
        </pc:sldMkLst>
        <pc:spChg chg="add del mod modVis">
          <ac:chgData name="Falcão Lacerda, Rafael" userId="40181ff7-4694-4c53-a944-7b7d63582359" providerId="ADAL" clId="{3B4D5F63-EA56-4616-8A78-0C43AB7049E7}" dt="2025-12-08T00:26:55.107" v="11061"/>
          <ac:spMkLst>
            <pc:docMk/>
            <pc:sldMk cId="4171654333" sldId="846"/>
            <ac:spMk id="2" creationId="{2699C346-FBD4-99B5-490C-F72CABACF3EF}"/>
          </ac:spMkLst>
        </pc:spChg>
        <pc:spChg chg="mod">
          <ac:chgData name="Falcão Lacerda, Rafael" userId="40181ff7-4694-4c53-a944-7b7d63582359" providerId="ADAL" clId="{3B4D5F63-EA56-4616-8A78-0C43AB7049E7}" dt="2025-12-08T00:26:47.829" v="8755" actId="948"/>
          <ac:spMkLst>
            <pc:docMk/>
            <pc:sldMk cId="4171654333" sldId="846"/>
            <ac:spMk id="4" creationId="{51CD1075-7CFC-225A-0118-09253C391190}"/>
          </ac:spMkLst>
        </pc:spChg>
        <pc:spChg chg="mod">
          <ac:chgData name="Falcão Lacerda, Rafael" userId="40181ff7-4694-4c53-a944-7b7d63582359" providerId="ADAL" clId="{3B4D5F63-EA56-4616-8A78-0C43AB7049E7}" dt="2025-12-08T00:26:41.841" v="6329" actId="790"/>
          <ac:spMkLst>
            <pc:docMk/>
            <pc:sldMk cId="4171654333" sldId="846"/>
            <ac:spMk id="18" creationId="{2C4AC86F-1131-A00D-03D9-E64639C75E8E}"/>
          </ac:spMkLst>
        </pc:spChg>
        <pc:spChg chg="mod">
          <ac:chgData name="Falcão Lacerda, Rafael" userId="40181ff7-4694-4c53-a944-7b7d63582359" providerId="ADAL" clId="{3B4D5F63-EA56-4616-8A78-0C43AB7049E7}" dt="2025-12-08T00:26:41.841" v="6329" actId="790"/>
          <ac:spMkLst>
            <pc:docMk/>
            <pc:sldMk cId="4171654333" sldId="846"/>
            <ac:spMk id="20" creationId="{FF72326F-82DC-9411-CDB2-2FF88754B99B}"/>
          </ac:spMkLst>
        </pc:spChg>
        <pc:graphicFrameChg chg="add mod ord modVis">
          <ac:chgData name="Falcão Lacerda, Rafael" userId="40181ff7-4694-4c53-a944-7b7d63582359" providerId="ADAL" clId="{3B4D5F63-EA56-4616-8A78-0C43AB7049E7}" dt="2025-12-08T00:26:55.157" v="11075"/>
          <ac:graphicFrameMkLst>
            <pc:docMk/>
            <pc:sldMk cId="4171654333" sldId="846"/>
            <ac:graphicFrameMk id="3" creationId="{E9DD6FA4-7E4C-D9D5-BC89-EE1DD8BD1BBC}"/>
          </ac:graphicFrameMkLst>
        </pc:graphicFrameChg>
      </pc:sldChg>
      <pc:sldChg chg="addSp delSp modSp mod modShow modNotes">
        <pc:chgData name="Falcão Lacerda, Rafael" userId="40181ff7-4694-4c53-a944-7b7d63582359" providerId="ADAL" clId="{3B4D5F63-EA56-4616-8A78-0C43AB7049E7}" dt="2025-12-08T17:18:13.731" v="34035" actId="729"/>
        <pc:sldMkLst>
          <pc:docMk/>
          <pc:sldMk cId="2206385148" sldId="847"/>
        </pc:sldMkLst>
        <pc:spChg chg="add del mod modVis">
          <ac:chgData name="Falcão Lacerda, Rafael" userId="40181ff7-4694-4c53-a944-7b7d63582359" providerId="ADAL" clId="{3B4D5F63-EA56-4616-8A78-0C43AB7049E7}" dt="2025-12-08T00:26:55.560" v="11219"/>
          <ac:spMkLst>
            <pc:docMk/>
            <pc:sldMk cId="2206385148" sldId="847"/>
            <ac:spMk id="2" creationId="{F686B311-B482-8BC1-72F8-53F65CE35F01}"/>
          </ac:spMkLst>
        </pc:spChg>
        <pc:spChg chg="mod">
          <ac:chgData name="Falcão Lacerda, Rafael" userId="40181ff7-4694-4c53-a944-7b7d63582359" providerId="ADAL" clId="{3B4D5F63-EA56-4616-8A78-0C43AB7049E7}" dt="2025-12-08T00:26:48.160" v="8937" actId="948"/>
          <ac:spMkLst>
            <pc:docMk/>
            <pc:sldMk cId="2206385148" sldId="847"/>
            <ac:spMk id="8" creationId="{AA012E66-06FB-F74C-A74A-02D46723AB6E}"/>
          </ac:spMkLst>
        </pc:spChg>
        <pc:spChg chg="mod">
          <ac:chgData name="Falcão Lacerda, Rafael" userId="40181ff7-4694-4c53-a944-7b7d63582359" providerId="ADAL" clId="{3B4D5F63-EA56-4616-8A78-0C43AB7049E7}" dt="2025-12-08T00:26:41.841" v="6329" actId="790"/>
          <ac:spMkLst>
            <pc:docMk/>
            <pc:sldMk cId="2206385148" sldId="847"/>
            <ac:spMk id="9" creationId="{EEA75ED5-B8E2-4ACB-DF86-0A33EAE77E73}"/>
          </ac:spMkLst>
        </pc:spChg>
        <pc:spChg chg="mod">
          <ac:chgData name="Falcão Lacerda, Rafael" userId="40181ff7-4694-4c53-a944-7b7d63582359" providerId="ADAL" clId="{3B4D5F63-EA56-4616-8A78-0C43AB7049E7}" dt="2025-12-08T00:26:41.841" v="6329" actId="790"/>
          <ac:spMkLst>
            <pc:docMk/>
            <pc:sldMk cId="2206385148" sldId="847"/>
            <ac:spMk id="17" creationId="{40C8AC14-ABD3-3366-AACE-9C939C5123E5}"/>
          </ac:spMkLst>
        </pc:spChg>
        <pc:spChg chg="mod">
          <ac:chgData name="Falcão Lacerda, Rafael" userId="40181ff7-4694-4c53-a944-7b7d63582359" providerId="ADAL" clId="{3B4D5F63-EA56-4616-8A78-0C43AB7049E7}" dt="2025-12-08T00:26:41.841" v="6329" actId="790"/>
          <ac:spMkLst>
            <pc:docMk/>
            <pc:sldMk cId="2206385148" sldId="847"/>
            <ac:spMk id="42" creationId="{5EFF59CA-DD9A-8621-8D54-1AA7A5A6FCFE}"/>
          </ac:spMkLst>
        </pc:spChg>
        <pc:spChg chg="mod">
          <ac:chgData name="Falcão Lacerda, Rafael" userId="40181ff7-4694-4c53-a944-7b7d63582359" providerId="ADAL" clId="{3B4D5F63-EA56-4616-8A78-0C43AB7049E7}" dt="2025-12-08T00:26:41.841" v="6329" actId="790"/>
          <ac:spMkLst>
            <pc:docMk/>
            <pc:sldMk cId="2206385148" sldId="847"/>
            <ac:spMk id="44" creationId="{018821F2-DBE1-55DA-EC2D-3A7656C2D40C}"/>
          </ac:spMkLst>
        </pc:spChg>
        <pc:spChg chg="mod">
          <ac:chgData name="Falcão Lacerda, Rafael" userId="40181ff7-4694-4c53-a944-7b7d63582359" providerId="ADAL" clId="{3B4D5F63-EA56-4616-8A78-0C43AB7049E7}" dt="2025-12-08T00:26:41.841" v="6329" actId="790"/>
          <ac:spMkLst>
            <pc:docMk/>
            <pc:sldMk cId="2206385148" sldId="847"/>
            <ac:spMk id="45" creationId="{EBE254B2-D643-F6C9-4101-EC60FBFCA671}"/>
          </ac:spMkLst>
        </pc:spChg>
        <pc:spChg chg="mod">
          <ac:chgData name="Falcão Lacerda, Rafael" userId="40181ff7-4694-4c53-a944-7b7d63582359" providerId="ADAL" clId="{3B4D5F63-EA56-4616-8A78-0C43AB7049E7}" dt="2025-12-08T00:26:41.841" v="6329" actId="790"/>
          <ac:spMkLst>
            <pc:docMk/>
            <pc:sldMk cId="2206385148" sldId="847"/>
            <ac:spMk id="64" creationId="{BE58D183-22C0-1601-AE5C-E92D81149D41}"/>
          </ac:spMkLst>
        </pc:spChg>
        <pc:spChg chg="mod">
          <ac:chgData name="Falcão Lacerda, Rafael" userId="40181ff7-4694-4c53-a944-7b7d63582359" providerId="ADAL" clId="{3B4D5F63-EA56-4616-8A78-0C43AB7049E7}" dt="2025-12-08T00:26:41.841" v="6329" actId="790"/>
          <ac:spMkLst>
            <pc:docMk/>
            <pc:sldMk cId="2206385148" sldId="847"/>
            <ac:spMk id="66" creationId="{9E592856-BB33-7F27-B107-5C83D1EC3262}"/>
          </ac:spMkLst>
        </pc:spChg>
        <pc:spChg chg="mod">
          <ac:chgData name="Falcão Lacerda, Rafael" userId="40181ff7-4694-4c53-a944-7b7d63582359" providerId="ADAL" clId="{3B4D5F63-EA56-4616-8A78-0C43AB7049E7}" dt="2025-12-08T00:26:41.841" v="6329" actId="790"/>
          <ac:spMkLst>
            <pc:docMk/>
            <pc:sldMk cId="2206385148" sldId="847"/>
            <ac:spMk id="68" creationId="{D4C3DC96-6371-25FF-4CC6-071BBE70F5ED}"/>
          </ac:spMkLst>
        </pc:spChg>
        <pc:spChg chg="mod">
          <ac:chgData name="Falcão Lacerda, Rafael" userId="40181ff7-4694-4c53-a944-7b7d63582359" providerId="ADAL" clId="{3B4D5F63-EA56-4616-8A78-0C43AB7049E7}" dt="2025-12-08T00:26:41.841" v="6329" actId="790"/>
          <ac:spMkLst>
            <pc:docMk/>
            <pc:sldMk cId="2206385148" sldId="847"/>
            <ac:spMk id="70" creationId="{71FF069A-02C4-2DEE-ED5C-CC2815E863CF}"/>
          </ac:spMkLst>
        </pc:spChg>
        <pc:graphicFrameChg chg="add mod ord modVis">
          <ac:chgData name="Falcão Lacerda, Rafael" userId="40181ff7-4694-4c53-a944-7b7d63582359" providerId="ADAL" clId="{3B4D5F63-EA56-4616-8A78-0C43AB7049E7}" dt="2025-12-08T00:26:55.599" v="11233"/>
          <ac:graphicFrameMkLst>
            <pc:docMk/>
            <pc:sldMk cId="2206385148" sldId="847"/>
            <ac:graphicFrameMk id="3" creationId="{DF642940-9F56-1B81-3C97-3133355B7F6A}"/>
          </ac:graphicFrameMkLst>
        </pc:graphicFrameChg>
      </pc:sldChg>
      <pc:sldChg chg="addSp delSp modSp del mod modNotes">
        <pc:chgData name="Falcão Lacerda, Rafael" userId="40181ff7-4694-4c53-a944-7b7d63582359" providerId="ADAL" clId="{3B4D5F63-EA56-4616-8A78-0C43AB7049E7}" dt="2025-12-08T00:36:59.770" v="11865" actId="47"/>
        <pc:sldMkLst>
          <pc:docMk/>
          <pc:sldMk cId="3573509117" sldId="894"/>
        </pc:sldMkLst>
        <pc:spChg chg="mod">
          <ac:chgData name="Falcão Lacerda, Rafael" userId="40181ff7-4694-4c53-a944-7b7d63582359" providerId="ADAL" clId="{3B4D5F63-EA56-4616-8A78-0C43AB7049E7}" dt="2025-12-08T00:26:41.841" v="6329" actId="790"/>
          <ac:spMkLst>
            <pc:docMk/>
            <pc:sldMk cId="3573509117" sldId="894"/>
            <ac:spMk id="2" creationId="{320879AB-190C-7C2B-F1DC-03844BDEDFA1}"/>
          </ac:spMkLst>
        </pc:spChg>
        <pc:spChg chg="add del mod modVis">
          <ac:chgData name="Falcão Lacerda, Rafael" userId="40181ff7-4694-4c53-a944-7b7d63582359" providerId="ADAL" clId="{3B4D5F63-EA56-4616-8A78-0C43AB7049E7}" dt="2025-12-08T00:26:54.327" v="10773"/>
          <ac:spMkLst>
            <pc:docMk/>
            <pc:sldMk cId="3573509117" sldId="894"/>
            <ac:spMk id="3" creationId="{0ED14B75-FB19-E95D-D973-8869E02A79FC}"/>
          </ac:spMkLst>
        </pc:spChg>
        <pc:spChg chg="mod">
          <ac:chgData name="Falcão Lacerda, Rafael" userId="40181ff7-4694-4c53-a944-7b7d63582359" providerId="ADAL" clId="{3B4D5F63-EA56-4616-8A78-0C43AB7049E7}" dt="2025-12-08T00:26:47.184" v="8393" actId="948"/>
          <ac:spMkLst>
            <pc:docMk/>
            <pc:sldMk cId="3573509117" sldId="894"/>
            <ac:spMk id="14" creationId="{B3C665F0-C355-23F5-5CEC-FC29311A7A45}"/>
          </ac:spMkLst>
        </pc:spChg>
        <pc:spChg chg="mod">
          <ac:chgData name="Falcão Lacerda, Rafael" userId="40181ff7-4694-4c53-a944-7b7d63582359" providerId="ADAL" clId="{3B4D5F63-EA56-4616-8A78-0C43AB7049E7}" dt="2025-12-08T00:26:41.841" v="6329" actId="790"/>
          <ac:spMkLst>
            <pc:docMk/>
            <pc:sldMk cId="3573509117" sldId="894"/>
            <ac:spMk id="15" creationId="{960A8FB9-2CA6-E4A7-9CD1-C6D6EE57F873}"/>
          </ac:spMkLst>
        </pc:spChg>
        <pc:spChg chg="mod">
          <ac:chgData name="Falcão Lacerda, Rafael" userId="40181ff7-4694-4c53-a944-7b7d63582359" providerId="ADAL" clId="{3B4D5F63-EA56-4616-8A78-0C43AB7049E7}" dt="2025-12-08T00:26:41.841" v="6329" actId="790"/>
          <ac:spMkLst>
            <pc:docMk/>
            <pc:sldMk cId="3573509117" sldId="894"/>
            <ac:spMk id="16" creationId="{2158BAB3-D0E1-AEFF-4CCB-1AB46A2CD37F}"/>
          </ac:spMkLst>
        </pc:spChg>
        <pc:spChg chg="mod">
          <ac:chgData name="Falcão Lacerda, Rafael" userId="40181ff7-4694-4c53-a944-7b7d63582359" providerId="ADAL" clId="{3B4D5F63-EA56-4616-8A78-0C43AB7049E7}" dt="2025-12-08T00:26:41.841" v="6329" actId="790"/>
          <ac:spMkLst>
            <pc:docMk/>
            <pc:sldMk cId="3573509117" sldId="894"/>
            <ac:spMk id="17" creationId="{67EA12E9-2BF5-9122-5EFF-ED712596FF2D}"/>
          </ac:spMkLst>
        </pc:spChg>
        <pc:spChg chg="mod">
          <ac:chgData name="Falcão Lacerda, Rafael" userId="40181ff7-4694-4c53-a944-7b7d63582359" providerId="ADAL" clId="{3B4D5F63-EA56-4616-8A78-0C43AB7049E7}" dt="2025-12-08T00:26:41.841" v="6329" actId="790"/>
          <ac:spMkLst>
            <pc:docMk/>
            <pc:sldMk cId="3573509117" sldId="894"/>
            <ac:spMk id="18" creationId="{66C6E2B0-6C09-660A-0C45-25F54AEEBDE1}"/>
          </ac:spMkLst>
        </pc:spChg>
        <pc:spChg chg="mod">
          <ac:chgData name="Falcão Lacerda, Rafael" userId="40181ff7-4694-4c53-a944-7b7d63582359" providerId="ADAL" clId="{3B4D5F63-EA56-4616-8A78-0C43AB7049E7}" dt="2025-12-08T00:26:41.841" v="6329" actId="790"/>
          <ac:spMkLst>
            <pc:docMk/>
            <pc:sldMk cId="3573509117" sldId="894"/>
            <ac:spMk id="19" creationId="{684D4DC2-3D33-99E3-206F-58574580484D}"/>
          </ac:spMkLst>
        </pc:spChg>
        <pc:spChg chg="mod">
          <ac:chgData name="Falcão Lacerda, Rafael" userId="40181ff7-4694-4c53-a944-7b7d63582359" providerId="ADAL" clId="{3B4D5F63-EA56-4616-8A78-0C43AB7049E7}" dt="2025-12-08T00:26:41.841" v="6329" actId="790"/>
          <ac:spMkLst>
            <pc:docMk/>
            <pc:sldMk cId="3573509117" sldId="894"/>
            <ac:spMk id="20" creationId="{DB7495D7-3BC0-5872-ABA7-1BFEDAD1A0BC}"/>
          </ac:spMkLst>
        </pc:spChg>
        <pc:spChg chg="mod">
          <ac:chgData name="Falcão Lacerda, Rafael" userId="40181ff7-4694-4c53-a944-7b7d63582359" providerId="ADAL" clId="{3B4D5F63-EA56-4616-8A78-0C43AB7049E7}" dt="2025-12-08T00:26:41.841" v="6329" actId="790"/>
          <ac:spMkLst>
            <pc:docMk/>
            <pc:sldMk cId="3573509117" sldId="894"/>
            <ac:spMk id="23" creationId="{ADA62137-9CFA-AD99-B726-11BEFDEB5EF8}"/>
          </ac:spMkLst>
        </pc:spChg>
        <pc:graphicFrameChg chg="add mod ord modVis">
          <ac:chgData name="Falcão Lacerda, Rafael" userId="40181ff7-4694-4c53-a944-7b7d63582359" providerId="ADAL" clId="{3B4D5F63-EA56-4616-8A78-0C43AB7049E7}" dt="2025-12-08T00:26:54.359" v="10787"/>
          <ac:graphicFrameMkLst>
            <pc:docMk/>
            <pc:sldMk cId="3573509117" sldId="894"/>
            <ac:graphicFrameMk id="4" creationId="{9ED16DBC-5E30-A1FA-7B41-9E7E108B1EBA}"/>
          </ac:graphicFrameMkLst>
        </pc:graphicFrameChg>
      </pc:sldChg>
      <pc:sldChg chg="addSp delSp modSp del mod modNotes">
        <pc:chgData name="Falcão Lacerda, Rafael" userId="40181ff7-4694-4c53-a944-7b7d63582359" providerId="ADAL" clId="{3B4D5F63-EA56-4616-8A78-0C43AB7049E7}" dt="2025-12-08T00:36:59.770" v="11865" actId="47"/>
        <pc:sldMkLst>
          <pc:docMk/>
          <pc:sldMk cId="4022149323" sldId="896"/>
        </pc:sldMkLst>
        <pc:spChg chg="mod">
          <ac:chgData name="Falcão Lacerda, Rafael" userId="40181ff7-4694-4c53-a944-7b7d63582359" providerId="ADAL" clId="{3B4D5F63-EA56-4616-8A78-0C43AB7049E7}" dt="2025-12-08T00:26:47.248" v="8433" actId="948"/>
          <ac:spMkLst>
            <pc:docMk/>
            <pc:sldMk cId="4022149323" sldId="896"/>
            <ac:spMk id="2" creationId="{F2EEEDA2-78CA-97E4-616D-B7DD17BFD2E7}"/>
          </ac:spMkLst>
        </pc:spChg>
        <pc:spChg chg="mod">
          <ac:chgData name="Falcão Lacerda, Rafael" userId="40181ff7-4694-4c53-a944-7b7d63582359" providerId="ADAL" clId="{3B4D5F63-EA56-4616-8A78-0C43AB7049E7}" dt="2025-12-08T00:26:41.841" v="6329" actId="790"/>
          <ac:spMkLst>
            <pc:docMk/>
            <pc:sldMk cId="4022149323" sldId="896"/>
            <ac:spMk id="3" creationId="{09AFC46E-05CC-BB05-F0B0-7C3DC52F9F16}"/>
          </ac:spMkLst>
        </pc:spChg>
        <pc:spChg chg="add del mod modVis">
          <ac:chgData name="Falcão Lacerda, Rafael" userId="40181ff7-4694-4c53-a944-7b7d63582359" providerId="ADAL" clId="{3B4D5F63-EA56-4616-8A78-0C43AB7049E7}" dt="2025-12-08T00:26:54.409" v="10805"/>
          <ac:spMkLst>
            <pc:docMk/>
            <pc:sldMk cId="4022149323" sldId="896"/>
            <ac:spMk id="12" creationId="{3D5271F0-80AA-5DF0-9ECD-1FAEBC56F05D}"/>
          </ac:spMkLst>
        </pc:spChg>
        <pc:spChg chg="mod">
          <ac:chgData name="Falcão Lacerda, Rafael" userId="40181ff7-4694-4c53-a944-7b7d63582359" providerId="ADAL" clId="{3B4D5F63-EA56-4616-8A78-0C43AB7049E7}" dt="2025-12-08T00:26:41.841" v="6329" actId="790"/>
          <ac:spMkLst>
            <pc:docMk/>
            <pc:sldMk cId="4022149323" sldId="896"/>
            <ac:spMk id="20" creationId="{37EC9D7F-9097-7DD2-87F6-6D422D8F669F}"/>
          </ac:spMkLst>
        </pc:spChg>
        <pc:spChg chg="mod">
          <ac:chgData name="Falcão Lacerda, Rafael" userId="40181ff7-4694-4c53-a944-7b7d63582359" providerId="ADAL" clId="{3B4D5F63-EA56-4616-8A78-0C43AB7049E7}" dt="2025-12-08T00:26:41.841" v="6329" actId="790"/>
          <ac:spMkLst>
            <pc:docMk/>
            <pc:sldMk cId="4022149323" sldId="896"/>
            <ac:spMk id="21" creationId="{A69EA01F-E888-5C63-68C5-7F17EB29B6DD}"/>
          </ac:spMkLst>
        </pc:spChg>
        <pc:spChg chg="mod">
          <ac:chgData name="Falcão Lacerda, Rafael" userId="40181ff7-4694-4c53-a944-7b7d63582359" providerId="ADAL" clId="{3B4D5F63-EA56-4616-8A78-0C43AB7049E7}" dt="2025-12-08T00:26:41.841" v="6329" actId="790"/>
          <ac:spMkLst>
            <pc:docMk/>
            <pc:sldMk cId="4022149323" sldId="896"/>
            <ac:spMk id="22" creationId="{04766621-7E30-D24E-D761-5EDC4AB20E10}"/>
          </ac:spMkLst>
        </pc:spChg>
        <pc:spChg chg="mod">
          <ac:chgData name="Falcão Lacerda, Rafael" userId="40181ff7-4694-4c53-a944-7b7d63582359" providerId="ADAL" clId="{3B4D5F63-EA56-4616-8A78-0C43AB7049E7}" dt="2025-12-08T00:26:41.841" v="6329" actId="790"/>
          <ac:spMkLst>
            <pc:docMk/>
            <pc:sldMk cId="4022149323" sldId="896"/>
            <ac:spMk id="23" creationId="{6E44F0F2-6F01-0E4C-DBFD-D5F7B13FA9A0}"/>
          </ac:spMkLst>
        </pc:spChg>
        <pc:spChg chg="mod">
          <ac:chgData name="Falcão Lacerda, Rafael" userId="40181ff7-4694-4c53-a944-7b7d63582359" providerId="ADAL" clId="{3B4D5F63-EA56-4616-8A78-0C43AB7049E7}" dt="2025-12-08T00:26:41.841" v="6329" actId="790"/>
          <ac:spMkLst>
            <pc:docMk/>
            <pc:sldMk cId="4022149323" sldId="896"/>
            <ac:spMk id="24" creationId="{757ACE9E-F243-6D9A-0280-A9886F3126D4}"/>
          </ac:spMkLst>
        </pc:spChg>
        <pc:spChg chg="mod">
          <ac:chgData name="Falcão Lacerda, Rafael" userId="40181ff7-4694-4c53-a944-7b7d63582359" providerId="ADAL" clId="{3B4D5F63-EA56-4616-8A78-0C43AB7049E7}" dt="2025-12-08T00:26:41.841" v="6329" actId="790"/>
          <ac:spMkLst>
            <pc:docMk/>
            <pc:sldMk cId="4022149323" sldId="896"/>
            <ac:spMk id="25" creationId="{3537A1C8-9E02-0B60-540D-D8C924E64624}"/>
          </ac:spMkLst>
        </pc:spChg>
        <pc:spChg chg="mod">
          <ac:chgData name="Falcão Lacerda, Rafael" userId="40181ff7-4694-4c53-a944-7b7d63582359" providerId="ADAL" clId="{3B4D5F63-EA56-4616-8A78-0C43AB7049E7}" dt="2025-12-08T00:26:41.841" v="6329" actId="790"/>
          <ac:spMkLst>
            <pc:docMk/>
            <pc:sldMk cId="4022149323" sldId="896"/>
            <ac:spMk id="26" creationId="{29797D83-5724-835A-6F11-AA490461E11F}"/>
          </ac:spMkLst>
        </pc:spChg>
        <pc:spChg chg="mod">
          <ac:chgData name="Falcão Lacerda, Rafael" userId="40181ff7-4694-4c53-a944-7b7d63582359" providerId="ADAL" clId="{3B4D5F63-EA56-4616-8A78-0C43AB7049E7}" dt="2025-12-08T00:26:41.841" v="6329" actId="790"/>
          <ac:spMkLst>
            <pc:docMk/>
            <pc:sldMk cId="4022149323" sldId="896"/>
            <ac:spMk id="27" creationId="{2B8E8915-37D2-F465-38DA-B33884C168E9}"/>
          </ac:spMkLst>
        </pc:spChg>
        <pc:graphicFrameChg chg="add mod ord modVis">
          <ac:chgData name="Falcão Lacerda, Rafael" userId="40181ff7-4694-4c53-a944-7b7d63582359" providerId="ADAL" clId="{3B4D5F63-EA56-4616-8A78-0C43AB7049E7}" dt="2025-12-08T00:26:54.458" v="10819"/>
          <ac:graphicFrameMkLst>
            <pc:docMk/>
            <pc:sldMk cId="4022149323" sldId="896"/>
            <ac:graphicFrameMk id="13" creationId="{E8A46EBD-7E42-E15B-1653-D42347C56A72}"/>
          </ac:graphicFrameMkLst>
        </pc:graphicFrameChg>
      </pc:sldChg>
      <pc:sldChg chg="addSp delSp modSp mod modShow modNotes">
        <pc:chgData name="Falcão Lacerda, Rafael" userId="40181ff7-4694-4c53-a944-7b7d63582359" providerId="ADAL" clId="{3B4D5F63-EA56-4616-8A78-0C43AB7049E7}" dt="2025-12-08T17:18:13.731" v="34035" actId="729"/>
        <pc:sldMkLst>
          <pc:docMk/>
          <pc:sldMk cId="2653612240" sldId="898"/>
        </pc:sldMkLst>
        <pc:spChg chg="add del mod modVis">
          <ac:chgData name="Falcão Lacerda, Rafael" userId="40181ff7-4694-4c53-a944-7b7d63582359" providerId="ADAL" clId="{3B4D5F63-EA56-4616-8A78-0C43AB7049E7}" dt="2025-12-08T00:26:54.938" v="10997"/>
          <ac:spMkLst>
            <pc:docMk/>
            <pc:sldMk cId="2653612240" sldId="898"/>
            <ac:spMk id="2" creationId="{A8E3D05E-62AA-8FC7-9C38-7B6F17F47830}"/>
          </ac:spMkLst>
        </pc:spChg>
        <pc:spChg chg="mod">
          <ac:chgData name="Falcão Lacerda, Rafael" userId="40181ff7-4694-4c53-a944-7b7d63582359" providerId="ADAL" clId="{3B4D5F63-EA56-4616-8A78-0C43AB7049E7}" dt="2025-12-08T00:26:41.841" v="6329" actId="790"/>
          <ac:spMkLst>
            <pc:docMk/>
            <pc:sldMk cId="2653612240" sldId="898"/>
            <ac:spMk id="3" creationId="{B64EA214-BFF7-6D09-CF3B-E909448C80C7}"/>
          </ac:spMkLst>
        </pc:spChg>
        <pc:spChg chg="mod">
          <ac:chgData name="Falcão Lacerda, Rafael" userId="40181ff7-4694-4c53-a944-7b7d63582359" providerId="ADAL" clId="{3B4D5F63-EA56-4616-8A78-0C43AB7049E7}" dt="2025-12-08T00:26:47.696" v="8675" actId="948"/>
          <ac:spMkLst>
            <pc:docMk/>
            <pc:sldMk cId="2653612240" sldId="898"/>
            <ac:spMk id="6" creationId="{3F51F23C-7073-ED31-C1A8-28977D9106A5}"/>
          </ac:spMkLst>
        </pc:spChg>
        <pc:spChg chg="mod">
          <ac:chgData name="Falcão Lacerda, Rafael" userId="40181ff7-4694-4c53-a944-7b7d63582359" providerId="ADAL" clId="{3B4D5F63-EA56-4616-8A78-0C43AB7049E7}" dt="2025-12-08T00:26:41.841" v="6329" actId="790"/>
          <ac:spMkLst>
            <pc:docMk/>
            <pc:sldMk cId="2653612240" sldId="898"/>
            <ac:spMk id="8" creationId="{BD65889D-2E92-5042-B58F-CD53C9F0E932}"/>
          </ac:spMkLst>
        </pc:spChg>
        <pc:spChg chg="mod">
          <ac:chgData name="Falcão Lacerda, Rafael" userId="40181ff7-4694-4c53-a944-7b7d63582359" providerId="ADAL" clId="{3B4D5F63-EA56-4616-8A78-0C43AB7049E7}" dt="2025-12-08T00:26:41.841" v="6329" actId="790"/>
          <ac:spMkLst>
            <pc:docMk/>
            <pc:sldMk cId="2653612240" sldId="898"/>
            <ac:spMk id="11" creationId="{BC93710D-A6E2-C79A-A7DF-973E06D4894D}"/>
          </ac:spMkLst>
        </pc:spChg>
        <pc:graphicFrameChg chg="add mod ord modVis">
          <ac:chgData name="Falcão Lacerda, Rafael" userId="40181ff7-4694-4c53-a944-7b7d63582359" providerId="ADAL" clId="{3B4D5F63-EA56-4616-8A78-0C43AB7049E7}" dt="2025-12-08T00:26:54.976" v="11011"/>
          <ac:graphicFrameMkLst>
            <pc:docMk/>
            <pc:sldMk cId="2653612240" sldId="898"/>
            <ac:graphicFrameMk id="4" creationId="{A7E44F6E-F35C-4029-2425-F4B0618EF368}"/>
          </ac:graphicFrameMkLst>
        </pc:graphicFrameChg>
      </pc:sldChg>
      <pc:sldChg chg="addSp delSp modSp mod modShow modNotes">
        <pc:chgData name="Falcão Lacerda, Rafael" userId="40181ff7-4694-4c53-a944-7b7d63582359" providerId="ADAL" clId="{3B4D5F63-EA56-4616-8A78-0C43AB7049E7}" dt="2025-12-08T17:18:13.731" v="34035" actId="729"/>
        <pc:sldMkLst>
          <pc:docMk/>
          <pc:sldMk cId="1532071122" sldId="900"/>
        </pc:sldMkLst>
        <pc:spChg chg="add del mod modVis">
          <ac:chgData name="Falcão Lacerda, Rafael" userId="40181ff7-4694-4c53-a944-7b7d63582359" providerId="ADAL" clId="{3B4D5F63-EA56-4616-8A78-0C43AB7049E7}" dt="2025-12-08T00:26:54.689" v="10901"/>
          <ac:spMkLst>
            <pc:docMk/>
            <pc:sldMk cId="1532071122" sldId="900"/>
            <ac:spMk id="2" creationId="{5D2C3BB6-0E67-C27C-9F58-217F7A7D48F5}"/>
          </ac:spMkLst>
        </pc:spChg>
        <pc:spChg chg="mod">
          <ac:chgData name="Falcão Lacerda, Rafael" userId="40181ff7-4694-4c53-a944-7b7d63582359" providerId="ADAL" clId="{3B4D5F63-EA56-4616-8A78-0C43AB7049E7}" dt="2025-12-08T00:26:41.841" v="6329" actId="790"/>
          <ac:spMkLst>
            <pc:docMk/>
            <pc:sldMk cId="1532071122" sldId="900"/>
            <ac:spMk id="5" creationId="{F4A1C2CB-13C2-C495-19A0-3C65E1D3A6DF}"/>
          </ac:spMkLst>
        </pc:spChg>
        <pc:spChg chg="mod">
          <ac:chgData name="Falcão Lacerda, Rafael" userId="40181ff7-4694-4c53-a944-7b7d63582359" providerId="ADAL" clId="{3B4D5F63-EA56-4616-8A78-0C43AB7049E7}" dt="2025-12-08T00:26:47.462" v="8555" actId="948"/>
          <ac:spMkLst>
            <pc:docMk/>
            <pc:sldMk cId="1532071122" sldId="900"/>
            <ac:spMk id="9" creationId="{4F287308-7258-4D5D-643A-DF466075D6D1}"/>
          </ac:spMkLst>
        </pc:spChg>
        <pc:graphicFrameChg chg="add mod ord modVis">
          <ac:chgData name="Falcão Lacerda, Rafael" userId="40181ff7-4694-4c53-a944-7b7d63582359" providerId="ADAL" clId="{3B4D5F63-EA56-4616-8A78-0C43AB7049E7}" dt="2025-12-08T00:26:54.719" v="10915"/>
          <ac:graphicFrameMkLst>
            <pc:docMk/>
            <pc:sldMk cId="1532071122" sldId="900"/>
            <ac:graphicFrameMk id="3" creationId="{2DABBD01-7FD4-1907-4C51-F2A9ADE28BAC}"/>
          </ac:graphicFrameMkLst>
        </pc:graphicFrameChg>
      </pc:sldChg>
      <pc:sldChg chg="addSp modSp mod modShow modNotes">
        <pc:chgData name="Falcão Lacerda, Rafael" userId="40181ff7-4694-4c53-a944-7b7d63582359" providerId="ADAL" clId="{3B4D5F63-EA56-4616-8A78-0C43AB7049E7}" dt="2025-12-08T17:18:13.731" v="34035" actId="729"/>
        <pc:sldMkLst>
          <pc:docMk/>
          <pc:sldMk cId="4272148073" sldId="901"/>
        </pc:sldMkLst>
        <pc:spChg chg="mod">
          <ac:chgData name="Falcão Lacerda, Rafael" userId="40181ff7-4694-4c53-a944-7b7d63582359" providerId="ADAL" clId="{3B4D5F63-EA56-4616-8A78-0C43AB7049E7}" dt="2025-12-08T00:26:41.841" v="6329" actId="790"/>
          <ac:spMkLst>
            <pc:docMk/>
            <pc:sldMk cId="4272148073" sldId="901"/>
            <ac:spMk id="3" creationId="{4C5D1CBF-F74D-813E-3C05-637756E34330}"/>
          </ac:spMkLst>
        </pc:spChg>
        <pc:spChg chg="mod">
          <ac:chgData name="Falcão Lacerda, Rafael" userId="40181ff7-4694-4c53-a944-7b7d63582359" providerId="ADAL" clId="{3B4D5F63-EA56-4616-8A78-0C43AB7049E7}" dt="2025-12-08T00:26:41.841" v="6329" actId="790"/>
          <ac:spMkLst>
            <pc:docMk/>
            <pc:sldMk cId="4272148073" sldId="901"/>
            <ac:spMk id="4" creationId="{FB7F3E0D-C772-7A75-80B2-C4F4276FF95B}"/>
          </ac:spMkLst>
        </pc:spChg>
        <pc:spChg chg="mod">
          <ac:chgData name="Falcão Lacerda, Rafael" userId="40181ff7-4694-4c53-a944-7b7d63582359" providerId="ADAL" clId="{3B4D5F63-EA56-4616-8A78-0C43AB7049E7}" dt="2025-12-08T00:26:41.841" v="6329" actId="790"/>
          <ac:spMkLst>
            <pc:docMk/>
            <pc:sldMk cId="4272148073" sldId="901"/>
            <ac:spMk id="5" creationId="{34A06B16-AAC9-DBD9-76CE-B4904C4589C5}"/>
          </ac:spMkLst>
        </pc:spChg>
        <pc:spChg chg="mod">
          <ac:chgData name="Falcão Lacerda, Rafael" userId="40181ff7-4694-4c53-a944-7b7d63582359" providerId="ADAL" clId="{3B4D5F63-EA56-4616-8A78-0C43AB7049E7}" dt="2025-12-08T00:26:41.841" v="6329" actId="790"/>
          <ac:spMkLst>
            <pc:docMk/>
            <pc:sldMk cId="4272148073" sldId="901"/>
            <ac:spMk id="6" creationId="{5624ADED-70F1-4E6A-578C-40240375B3CC}"/>
          </ac:spMkLst>
        </pc:spChg>
        <pc:spChg chg="mod">
          <ac:chgData name="Falcão Lacerda, Rafael" userId="40181ff7-4694-4c53-a944-7b7d63582359" providerId="ADAL" clId="{3B4D5F63-EA56-4616-8A78-0C43AB7049E7}" dt="2025-12-08T00:26:48.074" v="8895" actId="948"/>
          <ac:spMkLst>
            <pc:docMk/>
            <pc:sldMk cId="4272148073" sldId="901"/>
            <ac:spMk id="7" creationId="{B624AC2E-A92B-CD87-6A17-3C0B54D80E5E}"/>
          </ac:spMkLst>
        </pc:spChg>
        <pc:spChg chg="mod">
          <ac:chgData name="Falcão Lacerda, Rafael" userId="40181ff7-4694-4c53-a944-7b7d63582359" providerId="ADAL" clId="{3B4D5F63-EA56-4616-8A78-0C43AB7049E7}" dt="2025-12-08T00:26:41.841" v="6329" actId="790"/>
          <ac:spMkLst>
            <pc:docMk/>
            <pc:sldMk cId="4272148073" sldId="901"/>
            <ac:spMk id="8" creationId="{A55D3D48-72F4-E502-BACB-AEEA24AAEEEF}"/>
          </ac:spMkLst>
        </pc:spChg>
        <pc:spChg chg="mod">
          <ac:chgData name="Falcão Lacerda, Rafael" userId="40181ff7-4694-4c53-a944-7b7d63582359" providerId="ADAL" clId="{3B4D5F63-EA56-4616-8A78-0C43AB7049E7}" dt="2025-12-08T00:26:41.841" v="6329" actId="790"/>
          <ac:spMkLst>
            <pc:docMk/>
            <pc:sldMk cId="4272148073" sldId="901"/>
            <ac:spMk id="9" creationId="{052FED19-19E9-7B2E-1789-B3C7A127B053}"/>
          </ac:spMkLst>
        </pc:spChg>
        <pc:spChg chg="mod">
          <ac:chgData name="Falcão Lacerda, Rafael" userId="40181ff7-4694-4c53-a944-7b7d63582359" providerId="ADAL" clId="{3B4D5F63-EA56-4616-8A78-0C43AB7049E7}" dt="2025-12-08T00:26:41.841" v="6329" actId="790"/>
          <ac:spMkLst>
            <pc:docMk/>
            <pc:sldMk cId="4272148073" sldId="901"/>
            <ac:spMk id="10" creationId="{5950C6E7-7368-4BB3-BD95-AFD87149AE12}"/>
          </ac:spMkLst>
        </pc:spChg>
        <pc:graphicFrameChg chg="add mod ord modVis">
          <ac:chgData name="Falcão Lacerda, Rafael" userId="40181ff7-4694-4c53-a944-7b7d63582359" providerId="ADAL" clId="{3B4D5F63-EA56-4616-8A78-0C43AB7049E7}" dt="2025-12-08T00:26:55.450" v="11185"/>
          <ac:graphicFrameMkLst>
            <pc:docMk/>
            <pc:sldMk cId="4272148073" sldId="901"/>
            <ac:graphicFrameMk id="2" creationId="{75BEF699-1A1C-BF58-9E6F-46085FF77F24}"/>
          </ac:graphicFrameMkLst>
        </pc:graphicFrameChg>
      </pc:sldChg>
      <pc:sldChg chg="addSp delSp modSp mod modShow modNotes">
        <pc:chgData name="Falcão Lacerda, Rafael" userId="40181ff7-4694-4c53-a944-7b7d63582359" providerId="ADAL" clId="{3B4D5F63-EA56-4616-8A78-0C43AB7049E7}" dt="2025-12-08T17:18:13.731" v="34035" actId="729"/>
        <pc:sldMkLst>
          <pc:docMk/>
          <pc:sldMk cId="4198221247" sldId="905"/>
        </pc:sldMkLst>
        <pc:spChg chg="add del mod modVis">
          <ac:chgData name="Falcão Lacerda, Rafael" userId="40181ff7-4694-4c53-a944-7b7d63582359" providerId="ADAL" clId="{3B4D5F63-EA56-4616-8A78-0C43AB7049E7}" dt="2025-12-08T00:26:55.724" v="11279"/>
          <ac:spMkLst>
            <pc:docMk/>
            <pc:sldMk cId="4198221247" sldId="905"/>
            <ac:spMk id="2" creationId="{65B0F483-B642-4ED3-F08F-D376697189F8}"/>
          </ac:spMkLst>
        </pc:spChg>
        <pc:spChg chg="mod">
          <ac:chgData name="Falcão Lacerda, Rafael" userId="40181ff7-4694-4c53-a944-7b7d63582359" providerId="ADAL" clId="{3B4D5F63-EA56-4616-8A78-0C43AB7049E7}" dt="2025-12-08T00:26:41.841" v="6329" actId="790"/>
          <ac:spMkLst>
            <pc:docMk/>
            <pc:sldMk cId="4198221247" sldId="905"/>
            <ac:spMk id="4" creationId="{1DC9C06F-B42F-8DFF-7D4C-DA596B127947}"/>
          </ac:spMkLst>
        </pc:spChg>
        <pc:spChg chg="mod">
          <ac:chgData name="Falcão Lacerda, Rafael" userId="40181ff7-4694-4c53-a944-7b7d63582359" providerId="ADAL" clId="{3B4D5F63-EA56-4616-8A78-0C43AB7049E7}" dt="2025-12-08T00:26:41.841" v="6329" actId="790"/>
          <ac:spMkLst>
            <pc:docMk/>
            <pc:sldMk cId="4198221247" sldId="905"/>
            <ac:spMk id="5" creationId="{38A4E1F2-3D13-A356-A80C-BF295B94E880}"/>
          </ac:spMkLst>
        </pc:spChg>
        <pc:spChg chg="mod">
          <ac:chgData name="Falcão Lacerda, Rafael" userId="40181ff7-4694-4c53-a944-7b7d63582359" providerId="ADAL" clId="{3B4D5F63-EA56-4616-8A78-0C43AB7049E7}" dt="2025-12-08T00:26:41.841" v="6329" actId="790"/>
          <ac:spMkLst>
            <pc:docMk/>
            <pc:sldMk cId="4198221247" sldId="905"/>
            <ac:spMk id="7" creationId="{9D00DBB0-D3DB-1630-579A-7D471D5D8AD7}"/>
          </ac:spMkLst>
        </pc:spChg>
        <pc:spChg chg="mod">
          <ac:chgData name="Falcão Lacerda, Rafael" userId="40181ff7-4694-4c53-a944-7b7d63582359" providerId="ADAL" clId="{3B4D5F63-EA56-4616-8A78-0C43AB7049E7}" dt="2025-12-08T00:26:41.841" v="6329" actId="790"/>
          <ac:spMkLst>
            <pc:docMk/>
            <pc:sldMk cId="4198221247" sldId="905"/>
            <ac:spMk id="8" creationId="{E4C689E1-0931-FADE-D147-783B9A4289C3}"/>
          </ac:spMkLst>
        </pc:spChg>
        <pc:spChg chg="mod">
          <ac:chgData name="Falcão Lacerda, Rafael" userId="40181ff7-4694-4c53-a944-7b7d63582359" providerId="ADAL" clId="{3B4D5F63-EA56-4616-8A78-0C43AB7049E7}" dt="2025-12-08T00:26:41.841" v="6329" actId="790"/>
          <ac:spMkLst>
            <pc:docMk/>
            <pc:sldMk cId="4198221247" sldId="905"/>
            <ac:spMk id="9" creationId="{DBAAA72C-8A0C-9F4C-90D8-28F4062A1927}"/>
          </ac:spMkLst>
        </pc:spChg>
        <pc:spChg chg="mod">
          <ac:chgData name="Falcão Lacerda, Rafael" userId="40181ff7-4694-4c53-a944-7b7d63582359" providerId="ADAL" clId="{3B4D5F63-EA56-4616-8A78-0C43AB7049E7}" dt="2025-12-08T00:26:41.841" v="6329" actId="790"/>
          <ac:spMkLst>
            <pc:docMk/>
            <pc:sldMk cId="4198221247" sldId="905"/>
            <ac:spMk id="10" creationId="{BCFC2B4F-BF94-DAA8-43CB-C1C5AAC7CDB6}"/>
          </ac:spMkLst>
        </pc:spChg>
        <pc:spChg chg="mod">
          <ac:chgData name="Falcão Lacerda, Rafael" userId="40181ff7-4694-4c53-a944-7b7d63582359" providerId="ADAL" clId="{3B4D5F63-EA56-4616-8A78-0C43AB7049E7}" dt="2025-12-08T00:26:41.841" v="6329" actId="790"/>
          <ac:spMkLst>
            <pc:docMk/>
            <pc:sldMk cId="4198221247" sldId="905"/>
            <ac:spMk id="11" creationId="{4ACFD8B8-9563-6E31-AB9A-D097D067AB62}"/>
          </ac:spMkLst>
        </pc:spChg>
        <pc:spChg chg="mod">
          <ac:chgData name="Falcão Lacerda, Rafael" userId="40181ff7-4694-4c53-a944-7b7d63582359" providerId="ADAL" clId="{3B4D5F63-EA56-4616-8A78-0C43AB7049E7}" dt="2025-12-08T00:26:41.841" v="6329" actId="790"/>
          <ac:spMkLst>
            <pc:docMk/>
            <pc:sldMk cId="4198221247" sldId="905"/>
            <ac:spMk id="12" creationId="{F6E06D80-E903-6ABF-DE6C-303DEFD881EF}"/>
          </ac:spMkLst>
        </pc:spChg>
        <pc:spChg chg="mod">
          <ac:chgData name="Falcão Lacerda, Rafael" userId="40181ff7-4694-4c53-a944-7b7d63582359" providerId="ADAL" clId="{3B4D5F63-EA56-4616-8A78-0C43AB7049E7}" dt="2025-12-08T00:26:48.270" v="8979" actId="948"/>
          <ac:spMkLst>
            <pc:docMk/>
            <pc:sldMk cId="4198221247" sldId="905"/>
            <ac:spMk id="22" creationId="{802BD646-04C4-ED68-9086-414B5BE79800}"/>
          </ac:spMkLst>
        </pc:spChg>
        <pc:graphicFrameChg chg="add mod ord modVis">
          <ac:chgData name="Falcão Lacerda, Rafael" userId="40181ff7-4694-4c53-a944-7b7d63582359" providerId="ADAL" clId="{3B4D5F63-EA56-4616-8A78-0C43AB7049E7}" dt="2025-12-08T00:26:55.746" v="11293"/>
          <ac:graphicFrameMkLst>
            <pc:docMk/>
            <pc:sldMk cId="4198221247" sldId="905"/>
            <ac:graphicFrameMk id="3" creationId="{ACDEAB55-D2E1-90A6-D5EA-9CCD9FBC177E}"/>
          </ac:graphicFrameMkLst>
        </pc:graphicFrameChg>
      </pc:sldChg>
      <pc:sldChg chg="addSp delSp modSp mod modShow modNotes">
        <pc:chgData name="Falcão Lacerda, Rafael" userId="40181ff7-4694-4c53-a944-7b7d63582359" providerId="ADAL" clId="{3B4D5F63-EA56-4616-8A78-0C43AB7049E7}" dt="2025-12-08T17:18:13.731" v="34035" actId="729"/>
        <pc:sldMkLst>
          <pc:docMk/>
          <pc:sldMk cId="244403222" sldId="908"/>
        </pc:sldMkLst>
        <pc:spChg chg="add del mod modVis">
          <ac:chgData name="Falcão Lacerda, Rafael" userId="40181ff7-4694-4c53-a944-7b7d63582359" providerId="ADAL" clId="{3B4D5F63-EA56-4616-8A78-0C43AB7049E7}" dt="2025-12-08T00:26:54.840" v="10965"/>
          <ac:spMkLst>
            <pc:docMk/>
            <pc:sldMk cId="244403222" sldId="908"/>
            <ac:spMk id="2" creationId="{6CBB2CBD-AC7A-CC63-9E51-CC79A2A10211}"/>
          </ac:spMkLst>
        </pc:spChg>
        <pc:spChg chg="mod">
          <ac:chgData name="Falcão Lacerda, Rafael" userId="40181ff7-4694-4c53-a944-7b7d63582359" providerId="ADAL" clId="{3B4D5F63-EA56-4616-8A78-0C43AB7049E7}" dt="2025-12-08T00:26:47.623" v="8635" actId="948"/>
          <ac:spMkLst>
            <pc:docMk/>
            <pc:sldMk cId="244403222" sldId="908"/>
            <ac:spMk id="5" creationId="{BBE6969A-9198-D794-7A2C-1DC16CECF0DF}"/>
          </ac:spMkLst>
        </pc:spChg>
        <pc:spChg chg="mod">
          <ac:chgData name="Falcão Lacerda, Rafael" userId="40181ff7-4694-4c53-a944-7b7d63582359" providerId="ADAL" clId="{3B4D5F63-EA56-4616-8A78-0C43AB7049E7}" dt="2025-12-08T00:26:41.841" v="6329" actId="790"/>
          <ac:spMkLst>
            <pc:docMk/>
            <pc:sldMk cId="244403222" sldId="908"/>
            <ac:spMk id="7" creationId="{5588F4FA-8D9B-FF78-7BAE-A96E54925C75}"/>
          </ac:spMkLst>
        </pc:spChg>
        <pc:graphicFrameChg chg="add mod ord modVis">
          <ac:chgData name="Falcão Lacerda, Rafael" userId="40181ff7-4694-4c53-a944-7b7d63582359" providerId="ADAL" clId="{3B4D5F63-EA56-4616-8A78-0C43AB7049E7}" dt="2025-12-08T00:26:54.871" v="10979"/>
          <ac:graphicFrameMkLst>
            <pc:docMk/>
            <pc:sldMk cId="244403222" sldId="908"/>
            <ac:graphicFrameMk id="3" creationId="{D0A9960F-32D7-92B6-8F76-3A6F52E6C58E}"/>
          </ac:graphicFrameMkLst>
        </pc:graphicFrameChg>
      </pc:sldChg>
      <pc:sldChg chg="del">
        <pc:chgData name="Falcão Lacerda, Rafael" userId="40181ff7-4694-4c53-a944-7b7d63582359" providerId="ADAL" clId="{3B4D5F63-EA56-4616-8A78-0C43AB7049E7}" dt="2025-12-07T23:18:36.213" v="1545" actId="2696"/>
        <pc:sldMkLst>
          <pc:docMk/>
          <pc:sldMk cId="1858686736" sldId="929"/>
        </pc:sldMkLst>
      </pc:sldChg>
      <pc:sldChg chg="addSp delSp modSp mod modShow modNotes">
        <pc:chgData name="Falcão Lacerda, Rafael" userId="40181ff7-4694-4c53-a944-7b7d63582359" providerId="ADAL" clId="{3B4D5F63-EA56-4616-8A78-0C43AB7049E7}" dt="2025-12-08T17:18:13.731" v="34035" actId="729"/>
        <pc:sldMkLst>
          <pc:docMk/>
          <pc:sldMk cId="1354162324" sldId="931"/>
        </pc:sldMkLst>
        <pc:spChg chg="mod">
          <ac:chgData name="Falcão Lacerda, Rafael" userId="40181ff7-4694-4c53-a944-7b7d63582359" providerId="ADAL" clId="{3B4D5F63-EA56-4616-8A78-0C43AB7049E7}" dt="2025-12-08T00:26:47.559" v="8595" actId="948"/>
          <ac:spMkLst>
            <pc:docMk/>
            <pc:sldMk cId="1354162324" sldId="931"/>
            <ac:spMk id="2" creationId="{F5B7ADFB-3397-DFAC-5E19-44E8072BE2EC}"/>
          </ac:spMkLst>
        </pc:spChg>
        <pc:spChg chg="add del mod modVis">
          <ac:chgData name="Falcão Lacerda, Rafael" userId="40181ff7-4694-4c53-a944-7b7d63582359" providerId="ADAL" clId="{3B4D5F63-EA56-4616-8A78-0C43AB7049E7}" dt="2025-12-08T00:26:54.764" v="10933"/>
          <ac:spMkLst>
            <pc:docMk/>
            <pc:sldMk cId="1354162324" sldId="931"/>
            <ac:spMk id="3" creationId="{037ADD0C-B455-7836-638C-EE4864D05DA9}"/>
          </ac:spMkLst>
        </pc:spChg>
        <pc:graphicFrameChg chg="add mod ord modVis">
          <ac:chgData name="Falcão Lacerda, Rafael" userId="40181ff7-4694-4c53-a944-7b7d63582359" providerId="ADAL" clId="{3B4D5F63-EA56-4616-8A78-0C43AB7049E7}" dt="2025-12-08T00:26:54.807" v="10947"/>
          <ac:graphicFrameMkLst>
            <pc:docMk/>
            <pc:sldMk cId="1354162324" sldId="931"/>
            <ac:graphicFrameMk id="4" creationId="{00AE3CBB-DB86-9046-1458-82E50F2C3DD9}"/>
          </ac:graphicFrameMkLst>
        </pc:graphicFrameChg>
      </pc:sldChg>
      <pc:sldChg chg="addSp delSp modSp del mod modNotes">
        <pc:chgData name="Falcão Lacerda, Rafael" userId="40181ff7-4694-4c53-a944-7b7d63582359" providerId="ADAL" clId="{3B4D5F63-EA56-4616-8A78-0C43AB7049E7}" dt="2025-12-08T00:36:59.770" v="11865" actId="47"/>
        <pc:sldMkLst>
          <pc:docMk/>
          <pc:sldMk cId="3054537662" sldId="932"/>
        </pc:sldMkLst>
        <pc:spChg chg="add del mod modVis">
          <ac:chgData name="Falcão Lacerda, Rafael" userId="40181ff7-4694-4c53-a944-7b7d63582359" providerId="ADAL" clId="{3B4D5F63-EA56-4616-8A78-0C43AB7049E7}" dt="2025-12-08T00:26:54.269" v="10757"/>
          <ac:spMkLst>
            <pc:docMk/>
            <pc:sldMk cId="3054537662" sldId="932"/>
            <ac:spMk id="2" creationId="{988A1876-FBBB-CE62-998D-978310E1070F}"/>
          </ac:spMkLst>
        </pc:spChg>
        <pc:spChg chg="mod">
          <ac:chgData name="Falcão Lacerda, Rafael" userId="40181ff7-4694-4c53-a944-7b7d63582359" providerId="ADAL" clId="{3B4D5F63-EA56-4616-8A78-0C43AB7049E7}" dt="2025-12-08T00:26:41.841" v="6329" actId="790"/>
          <ac:spMkLst>
            <pc:docMk/>
            <pc:sldMk cId="3054537662" sldId="932"/>
            <ac:spMk id="15" creationId="{7FE387D0-7B04-11E8-4C91-1064A0411FF7}"/>
          </ac:spMkLst>
        </pc:spChg>
        <pc:spChg chg="mod">
          <ac:chgData name="Falcão Lacerda, Rafael" userId="40181ff7-4694-4c53-a944-7b7d63582359" providerId="ADAL" clId="{3B4D5F63-EA56-4616-8A78-0C43AB7049E7}" dt="2025-12-08T00:26:41.841" v="6329" actId="790"/>
          <ac:spMkLst>
            <pc:docMk/>
            <pc:sldMk cId="3054537662" sldId="932"/>
            <ac:spMk id="16" creationId="{498D530E-C3DD-EA88-B747-18F77C637080}"/>
          </ac:spMkLst>
        </pc:spChg>
        <pc:spChg chg="mod">
          <ac:chgData name="Falcão Lacerda, Rafael" userId="40181ff7-4694-4c53-a944-7b7d63582359" providerId="ADAL" clId="{3B4D5F63-EA56-4616-8A78-0C43AB7049E7}" dt="2025-12-08T00:26:41.841" v="6329" actId="790"/>
          <ac:spMkLst>
            <pc:docMk/>
            <pc:sldMk cId="3054537662" sldId="932"/>
            <ac:spMk id="17" creationId="{08B53E4E-6737-0A00-25E4-32FC2698A714}"/>
          </ac:spMkLst>
        </pc:spChg>
        <pc:spChg chg="mod">
          <ac:chgData name="Falcão Lacerda, Rafael" userId="40181ff7-4694-4c53-a944-7b7d63582359" providerId="ADAL" clId="{3B4D5F63-EA56-4616-8A78-0C43AB7049E7}" dt="2025-12-08T00:26:41.841" v="6329" actId="790"/>
          <ac:spMkLst>
            <pc:docMk/>
            <pc:sldMk cId="3054537662" sldId="932"/>
            <ac:spMk id="18" creationId="{903CA61D-33BE-56F2-E0BD-D168B3B4F07F}"/>
          </ac:spMkLst>
        </pc:spChg>
        <pc:spChg chg="mod">
          <ac:chgData name="Falcão Lacerda, Rafael" userId="40181ff7-4694-4c53-a944-7b7d63582359" providerId="ADAL" clId="{3B4D5F63-EA56-4616-8A78-0C43AB7049E7}" dt="2025-12-08T00:26:41.841" v="6329" actId="790"/>
          <ac:spMkLst>
            <pc:docMk/>
            <pc:sldMk cId="3054537662" sldId="932"/>
            <ac:spMk id="19" creationId="{0887CC39-5002-7DD9-1359-B871D2978FB2}"/>
          </ac:spMkLst>
        </pc:spChg>
        <pc:spChg chg="mod">
          <ac:chgData name="Falcão Lacerda, Rafael" userId="40181ff7-4694-4c53-a944-7b7d63582359" providerId="ADAL" clId="{3B4D5F63-EA56-4616-8A78-0C43AB7049E7}" dt="2025-12-08T00:26:41.841" v="6329" actId="790"/>
          <ac:spMkLst>
            <pc:docMk/>
            <pc:sldMk cId="3054537662" sldId="932"/>
            <ac:spMk id="20" creationId="{767451F8-B944-5C70-02ED-F32CA713AEDC}"/>
          </ac:spMkLst>
        </pc:spChg>
        <pc:spChg chg="mod">
          <ac:chgData name="Falcão Lacerda, Rafael" userId="40181ff7-4694-4c53-a944-7b7d63582359" providerId="ADAL" clId="{3B4D5F63-EA56-4616-8A78-0C43AB7049E7}" dt="2025-12-08T00:26:41.841" v="6329" actId="790"/>
          <ac:spMkLst>
            <pc:docMk/>
            <pc:sldMk cId="3054537662" sldId="932"/>
            <ac:spMk id="24" creationId="{2BA513C5-DB63-E41F-09C8-3656C52E16E5}"/>
          </ac:spMkLst>
        </pc:spChg>
        <pc:spChg chg="mod">
          <ac:chgData name="Falcão Lacerda, Rafael" userId="40181ff7-4694-4c53-a944-7b7d63582359" providerId="ADAL" clId="{3B4D5F63-EA56-4616-8A78-0C43AB7049E7}" dt="2025-12-08T00:26:47.156" v="8373" actId="948"/>
          <ac:spMkLst>
            <pc:docMk/>
            <pc:sldMk cId="3054537662" sldId="932"/>
            <ac:spMk id="42" creationId="{B23BB9EC-5286-F91B-B685-FDD9882D1247}"/>
          </ac:spMkLst>
        </pc:spChg>
        <pc:graphicFrameChg chg="add mod ord modVis">
          <ac:chgData name="Falcão Lacerda, Rafael" userId="40181ff7-4694-4c53-a944-7b7d63582359" providerId="ADAL" clId="{3B4D5F63-EA56-4616-8A78-0C43AB7049E7}" dt="2025-12-08T00:26:54.323" v="10771"/>
          <ac:graphicFrameMkLst>
            <pc:docMk/>
            <pc:sldMk cId="3054537662" sldId="932"/>
            <ac:graphicFrameMk id="3" creationId="{4653A24E-F53F-9A8E-9E5B-A5DD5E7447A6}"/>
          </ac:graphicFrameMkLst>
        </pc:graphicFrameChg>
      </pc:sldChg>
      <pc:sldChg chg="addSp delSp modSp mod modShow modNotes">
        <pc:chgData name="Falcão Lacerda, Rafael" userId="40181ff7-4694-4c53-a944-7b7d63582359" providerId="ADAL" clId="{3B4D5F63-EA56-4616-8A78-0C43AB7049E7}" dt="2025-12-08T17:18:13.731" v="34035" actId="729"/>
        <pc:sldMkLst>
          <pc:docMk/>
          <pc:sldMk cId="1620020238" sldId="933"/>
        </pc:sldMkLst>
        <pc:spChg chg="mod">
          <ac:chgData name="Falcão Lacerda, Rafael" userId="40181ff7-4694-4c53-a944-7b7d63582359" providerId="ADAL" clId="{3B4D5F63-EA56-4616-8A78-0C43AB7049E7}" dt="2025-12-08T00:26:47.601" v="8615" actId="948"/>
          <ac:spMkLst>
            <pc:docMk/>
            <pc:sldMk cId="1620020238" sldId="933"/>
            <ac:spMk id="2" creationId="{A08548A6-D1D5-5D95-EDB1-D557661C3C69}"/>
          </ac:spMkLst>
        </pc:spChg>
        <pc:spChg chg="add del mod modVis">
          <ac:chgData name="Falcão Lacerda, Rafael" userId="40181ff7-4694-4c53-a944-7b7d63582359" providerId="ADAL" clId="{3B4D5F63-EA56-4616-8A78-0C43AB7049E7}" dt="2025-12-08T00:26:54.810" v="10949"/>
          <ac:spMkLst>
            <pc:docMk/>
            <pc:sldMk cId="1620020238" sldId="933"/>
            <ac:spMk id="3" creationId="{3FF1E415-39D2-651B-C85D-7E9912BCBF02}"/>
          </ac:spMkLst>
        </pc:spChg>
        <pc:graphicFrameChg chg="add mod ord modVis">
          <ac:chgData name="Falcão Lacerda, Rafael" userId="40181ff7-4694-4c53-a944-7b7d63582359" providerId="ADAL" clId="{3B4D5F63-EA56-4616-8A78-0C43AB7049E7}" dt="2025-12-08T00:26:54.840" v="10963"/>
          <ac:graphicFrameMkLst>
            <pc:docMk/>
            <pc:sldMk cId="1620020238" sldId="933"/>
            <ac:graphicFrameMk id="4" creationId="{2A1DB064-7FED-41A3-5FC8-32DECAE3E405}"/>
          </ac:graphicFrameMkLst>
        </pc:graphicFrameChg>
      </pc:sldChg>
      <pc:sldChg chg="addSp delSp modSp mod modShow modNotes">
        <pc:chgData name="Falcão Lacerda, Rafael" userId="40181ff7-4694-4c53-a944-7b7d63582359" providerId="ADAL" clId="{3B4D5F63-EA56-4616-8A78-0C43AB7049E7}" dt="2025-12-08T17:18:13.731" v="34035" actId="729"/>
        <pc:sldMkLst>
          <pc:docMk/>
          <pc:sldMk cId="902593491" sldId="938"/>
        </pc:sldMkLst>
        <pc:spChg chg="mod">
          <ac:chgData name="Falcão Lacerda, Rafael" userId="40181ff7-4694-4c53-a944-7b7d63582359" providerId="ADAL" clId="{3B4D5F63-EA56-4616-8A78-0C43AB7049E7}" dt="2025-12-08T00:26:45.463" v="7494" actId="948"/>
          <ac:spMkLst>
            <pc:docMk/>
            <pc:sldMk cId="902593491" sldId="938"/>
            <ac:spMk id="2" creationId="{D3BBDE1F-88E0-26C4-9931-5CBE6A4A3DF1}"/>
          </ac:spMkLst>
        </pc:spChg>
        <pc:spChg chg="add del mod modVis">
          <ac:chgData name="Falcão Lacerda, Rafael" userId="40181ff7-4694-4c53-a944-7b7d63582359" providerId="ADAL" clId="{3B4D5F63-EA56-4616-8A78-0C43AB7049E7}" dt="2025-12-08T00:26:52.098" v="10011"/>
          <ac:spMkLst>
            <pc:docMk/>
            <pc:sldMk cId="902593491" sldId="938"/>
            <ac:spMk id="3" creationId="{FF3CCBB0-DEBB-CED6-B0CC-6C4E48AF6CFF}"/>
          </ac:spMkLst>
        </pc:spChg>
        <pc:spChg chg="mod">
          <ac:chgData name="Falcão Lacerda, Rafael" userId="40181ff7-4694-4c53-a944-7b7d63582359" providerId="ADAL" clId="{3B4D5F63-EA56-4616-8A78-0C43AB7049E7}" dt="2025-12-08T00:26:41.841" v="6329" actId="790"/>
          <ac:spMkLst>
            <pc:docMk/>
            <pc:sldMk cId="902593491" sldId="938"/>
            <ac:spMk id="33" creationId="{8BCBA90F-FB2C-4DC4-2C7B-5DC40D4D1C0F}"/>
          </ac:spMkLst>
        </pc:spChg>
        <pc:spChg chg="mod">
          <ac:chgData name="Falcão Lacerda, Rafael" userId="40181ff7-4694-4c53-a944-7b7d63582359" providerId="ADAL" clId="{3B4D5F63-EA56-4616-8A78-0C43AB7049E7}" dt="2025-12-08T00:26:35.511" v="3654" actId="947"/>
          <ac:spMkLst>
            <pc:docMk/>
            <pc:sldMk cId="902593491" sldId="938"/>
            <ac:spMk id="34" creationId="{7F1B95AB-4AB3-FBA6-C5CC-C3F83B9585AD}"/>
          </ac:spMkLst>
        </pc:spChg>
        <pc:spChg chg="mod">
          <ac:chgData name="Falcão Lacerda, Rafael" userId="40181ff7-4694-4c53-a944-7b7d63582359" providerId="ADAL" clId="{3B4D5F63-EA56-4616-8A78-0C43AB7049E7}" dt="2025-12-08T00:26:35.591" v="3672" actId="947"/>
          <ac:spMkLst>
            <pc:docMk/>
            <pc:sldMk cId="902593491" sldId="938"/>
            <ac:spMk id="35" creationId="{AD41CEDD-31ED-AD32-5F70-CDD42C231DE6}"/>
          </ac:spMkLst>
        </pc:spChg>
        <pc:spChg chg="mod">
          <ac:chgData name="Falcão Lacerda, Rafael" userId="40181ff7-4694-4c53-a944-7b7d63582359" providerId="ADAL" clId="{3B4D5F63-EA56-4616-8A78-0C43AB7049E7}" dt="2025-12-08T00:26:41.841" v="6329" actId="790"/>
          <ac:spMkLst>
            <pc:docMk/>
            <pc:sldMk cId="902593491" sldId="938"/>
            <ac:spMk id="36" creationId="{38C6A06A-D1B4-2366-A39A-26B8F5C51D58}"/>
          </ac:spMkLst>
        </pc:spChg>
        <pc:spChg chg="mod">
          <ac:chgData name="Falcão Lacerda, Rafael" userId="40181ff7-4694-4c53-a944-7b7d63582359" providerId="ADAL" clId="{3B4D5F63-EA56-4616-8A78-0C43AB7049E7}" dt="2025-12-08T00:26:35.543" v="3660" actId="947"/>
          <ac:spMkLst>
            <pc:docMk/>
            <pc:sldMk cId="902593491" sldId="938"/>
            <ac:spMk id="37" creationId="{9E25CBE1-5683-DF7F-E55A-DFF5FCFC1296}"/>
          </ac:spMkLst>
        </pc:spChg>
        <pc:spChg chg="mod">
          <ac:chgData name="Falcão Lacerda, Rafael" userId="40181ff7-4694-4c53-a944-7b7d63582359" providerId="ADAL" clId="{3B4D5F63-EA56-4616-8A78-0C43AB7049E7}" dt="2025-12-08T00:26:41.841" v="6329" actId="790"/>
          <ac:spMkLst>
            <pc:docMk/>
            <pc:sldMk cId="902593491" sldId="938"/>
            <ac:spMk id="38" creationId="{A9CCDC95-1BAD-716B-18C9-ED664862EECA}"/>
          </ac:spMkLst>
        </pc:spChg>
        <pc:spChg chg="mod">
          <ac:chgData name="Falcão Lacerda, Rafael" userId="40181ff7-4694-4c53-a944-7b7d63582359" providerId="ADAL" clId="{3B4D5F63-EA56-4616-8A78-0C43AB7049E7}" dt="2025-12-08T00:26:41.841" v="6329" actId="790"/>
          <ac:spMkLst>
            <pc:docMk/>
            <pc:sldMk cId="902593491" sldId="938"/>
            <ac:spMk id="39" creationId="{C35196EA-E362-0745-FC68-4D6B95690AB7}"/>
          </ac:spMkLst>
        </pc:spChg>
        <pc:spChg chg="mod">
          <ac:chgData name="Falcão Lacerda, Rafael" userId="40181ff7-4694-4c53-a944-7b7d63582359" providerId="ADAL" clId="{3B4D5F63-EA56-4616-8A78-0C43AB7049E7}" dt="2025-12-08T00:26:41.841" v="6329" actId="790"/>
          <ac:spMkLst>
            <pc:docMk/>
            <pc:sldMk cId="902593491" sldId="938"/>
            <ac:spMk id="40" creationId="{8EF780F2-FA53-EF12-41FF-B6D99C567DCF}"/>
          </ac:spMkLst>
        </pc:spChg>
        <pc:spChg chg="mod">
          <ac:chgData name="Falcão Lacerda, Rafael" userId="40181ff7-4694-4c53-a944-7b7d63582359" providerId="ADAL" clId="{3B4D5F63-EA56-4616-8A78-0C43AB7049E7}" dt="2025-12-08T00:26:41.841" v="6329" actId="790"/>
          <ac:spMkLst>
            <pc:docMk/>
            <pc:sldMk cId="902593491" sldId="938"/>
            <ac:spMk id="41" creationId="{99E4435F-D262-07C6-2401-980967977FC2}"/>
          </ac:spMkLst>
        </pc:spChg>
        <pc:spChg chg="mod">
          <ac:chgData name="Falcão Lacerda, Rafael" userId="40181ff7-4694-4c53-a944-7b7d63582359" providerId="ADAL" clId="{3B4D5F63-EA56-4616-8A78-0C43AB7049E7}" dt="2025-12-08T00:26:41.841" v="6329" actId="790"/>
          <ac:spMkLst>
            <pc:docMk/>
            <pc:sldMk cId="902593491" sldId="938"/>
            <ac:spMk id="42" creationId="{65C813E2-4F76-169E-F8B5-1DE2BBB15D44}"/>
          </ac:spMkLst>
        </pc:spChg>
        <pc:spChg chg="mod">
          <ac:chgData name="Falcão Lacerda, Rafael" userId="40181ff7-4694-4c53-a944-7b7d63582359" providerId="ADAL" clId="{3B4D5F63-EA56-4616-8A78-0C43AB7049E7}" dt="2025-12-08T00:26:41.841" v="6329" actId="790"/>
          <ac:spMkLst>
            <pc:docMk/>
            <pc:sldMk cId="902593491" sldId="938"/>
            <ac:spMk id="43" creationId="{11A6EDEE-AB76-3DC0-F208-86902FC957D5}"/>
          </ac:spMkLst>
        </pc:spChg>
        <pc:spChg chg="mod">
          <ac:chgData name="Falcão Lacerda, Rafael" userId="40181ff7-4694-4c53-a944-7b7d63582359" providerId="ADAL" clId="{3B4D5F63-EA56-4616-8A78-0C43AB7049E7}" dt="2025-12-08T00:26:41.841" v="6329" actId="790"/>
          <ac:spMkLst>
            <pc:docMk/>
            <pc:sldMk cId="902593491" sldId="938"/>
            <ac:spMk id="44" creationId="{96EBE930-C19C-641C-31F5-5466E4810E4C}"/>
          </ac:spMkLst>
        </pc:spChg>
        <pc:spChg chg="mod">
          <ac:chgData name="Falcão Lacerda, Rafael" userId="40181ff7-4694-4c53-a944-7b7d63582359" providerId="ADAL" clId="{3B4D5F63-EA56-4616-8A78-0C43AB7049E7}" dt="2025-12-08T00:26:35.574" v="3668" actId="947"/>
          <ac:spMkLst>
            <pc:docMk/>
            <pc:sldMk cId="902593491" sldId="938"/>
            <ac:spMk id="47" creationId="{BB82F67E-FFE3-3CE1-B870-AA931A14EC77}"/>
          </ac:spMkLst>
        </pc:spChg>
        <pc:spChg chg="mod">
          <ac:chgData name="Falcão Lacerda, Rafael" userId="40181ff7-4694-4c53-a944-7b7d63582359" providerId="ADAL" clId="{3B4D5F63-EA56-4616-8A78-0C43AB7049E7}" dt="2025-12-08T00:26:41.841" v="6329" actId="790"/>
          <ac:spMkLst>
            <pc:docMk/>
            <pc:sldMk cId="902593491" sldId="938"/>
            <ac:spMk id="48" creationId="{57E9805E-DDBA-83E4-695B-AA6B83792BAE}"/>
          </ac:spMkLst>
        </pc:spChg>
        <pc:graphicFrameChg chg="add mod ord modVis">
          <ac:chgData name="Falcão Lacerda, Rafael" userId="40181ff7-4694-4c53-a944-7b7d63582359" providerId="ADAL" clId="{3B4D5F63-EA56-4616-8A78-0C43AB7049E7}" dt="2025-12-08T00:26:52.136" v="10025"/>
          <ac:graphicFrameMkLst>
            <pc:docMk/>
            <pc:sldMk cId="902593491" sldId="938"/>
            <ac:graphicFrameMk id="4" creationId="{D59DFC73-BC82-C1C6-0215-852016FF5071}"/>
          </ac:graphicFrameMkLst>
        </pc:graphicFrameChg>
      </pc:sldChg>
      <pc:sldChg chg="addSp delSp modSp mod modShow modNotes">
        <pc:chgData name="Falcão Lacerda, Rafael" userId="40181ff7-4694-4c53-a944-7b7d63582359" providerId="ADAL" clId="{3B4D5F63-EA56-4616-8A78-0C43AB7049E7}" dt="2025-12-08T17:18:13.731" v="34035" actId="729"/>
        <pc:sldMkLst>
          <pc:docMk/>
          <pc:sldMk cId="1337591243" sldId="939"/>
        </pc:sldMkLst>
        <pc:spChg chg="mod">
          <ac:chgData name="Falcão Lacerda, Rafael" userId="40181ff7-4694-4c53-a944-7b7d63582359" providerId="ADAL" clId="{3B4D5F63-EA56-4616-8A78-0C43AB7049E7}" dt="2025-12-08T00:26:45.432" v="7474" actId="948"/>
          <ac:spMkLst>
            <pc:docMk/>
            <pc:sldMk cId="1337591243" sldId="939"/>
            <ac:spMk id="2" creationId="{FE976EB8-A36D-1E41-2806-993B95FBF0F3}"/>
          </ac:spMkLst>
        </pc:spChg>
        <pc:spChg chg="add del mod modVis">
          <ac:chgData name="Falcão Lacerda, Rafael" userId="40181ff7-4694-4c53-a944-7b7d63582359" providerId="ADAL" clId="{3B4D5F63-EA56-4616-8A78-0C43AB7049E7}" dt="2025-12-08T00:26:52.047" v="9995"/>
          <ac:spMkLst>
            <pc:docMk/>
            <pc:sldMk cId="1337591243" sldId="939"/>
            <ac:spMk id="3" creationId="{FC551B6D-E396-7983-451F-786BA90B53A5}"/>
          </ac:spMkLst>
        </pc:spChg>
        <pc:spChg chg="mod">
          <ac:chgData name="Falcão Lacerda, Rafael" userId="40181ff7-4694-4c53-a944-7b7d63582359" providerId="ADAL" clId="{3B4D5F63-EA56-4616-8A78-0C43AB7049E7}" dt="2025-12-08T00:26:35.400" v="3622" actId="947"/>
          <ac:spMkLst>
            <pc:docMk/>
            <pc:sldMk cId="1337591243" sldId="939"/>
            <ac:spMk id="45" creationId="{8E0E4D0B-D464-4686-C70B-3A3CA7341223}"/>
          </ac:spMkLst>
        </pc:spChg>
        <pc:spChg chg="mod">
          <ac:chgData name="Falcão Lacerda, Rafael" userId="40181ff7-4694-4c53-a944-7b7d63582359" providerId="ADAL" clId="{3B4D5F63-EA56-4616-8A78-0C43AB7049E7}" dt="2025-12-08T00:26:41.841" v="6329" actId="790"/>
          <ac:spMkLst>
            <pc:docMk/>
            <pc:sldMk cId="1337591243" sldId="939"/>
            <ac:spMk id="46" creationId="{C3C8E47C-F7C6-A16F-FD21-37F33F754A81}"/>
          </ac:spMkLst>
        </pc:spChg>
        <pc:spChg chg="mod">
          <ac:chgData name="Falcão Lacerda, Rafael" userId="40181ff7-4694-4c53-a944-7b7d63582359" providerId="ADAL" clId="{3B4D5F63-EA56-4616-8A78-0C43AB7049E7}" dt="2025-12-08T00:26:41.841" v="6329" actId="790"/>
          <ac:spMkLst>
            <pc:docMk/>
            <pc:sldMk cId="1337591243" sldId="939"/>
            <ac:spMk id="47" creationId="{CB78240F-C1C2-E7A4-E84A-DBC467DB46CB}"/>
          </ac:spMkLst>
        </pc:spChg>
        <pc:spChg chg="mod">
          <ac:chgData name="Falcão Lacerda, Rafael" userId="40181ff7-4694-4c53-a944-7b7d63582359" providerId="ADAL" clId="{3B4D5F63-EA56-4616-8A78-0C43AB7049E7}" dt="2025-12-08T00:26:41.841" v="6329" actId="790"/>
          <ac:spMkLst>
            <pc:docMk/>
            <pc:sldMk cId="1337591243" sldId="939"/>
            <ac:spMk id="48" creationId="{F84E9E28-67BC-25D3-5761-0E4D3FD731BE}"/>
          </ac:spMkLst>
        </pc:spChg>
        <pc:spChg chg="mod">
          <ac:chgData name="Falcão Lacerda, Rafael" userId="40181ff7-4694-4c53-a944-7b7d63582359" providerId="ADAL" clId="{3B4D5F63-EA56-4616-8A78-0C43AB7049E7}" dt="2025-12-08T00:26:41.841" v="6329" actId="790"/>
          <ac:spMkLst>
            <pc:docMk/>
            <pc:sldMk cId="1337591243" sldId="939"/>
            <ac:spMk id="49" creationId="{0A828962-83A2-1872-EAEA-A81BCE8AE2F3}"/>
          </ac:spMkLst>
        </pc:spChg>
        <pc:spChg chg="mod">
          <ac:chgData name="Falcão Lacerda, Rafael" userId="40181ff7-4694-4c53-a944-7b7d63582359" providerId="ADAL" clId="{3B4D5F63-EA56-4616-8A78-0C43AB7049E7}" dt="2025-12-08T00:26:41.841" v="6329" actId="790"/>
          <ac:spMkLst>
            <pc:docMk/>
            <pc:sldMk cId="1337591243" sldId="939"/>
            <ac:spMk id="50" creationId="{2CFEF925-EDAF-8225-1B84-4575AD133B20}"/>
          </ac:spMkLst>
        </pc:spChg>
        <pc:spChg chg="mod">
          <ac:chgData name="Falcão Lacerda, Rafael" userId="40181ff7-4694-4c53-a944-7b7d63582359" providerId="ADAL" clId="{3B4D5F63-EA56-4616-8A78-0C43AB7049E7}" dt="2025-12-08T00:26:35.464" v="3642" actId="947"/>
          <ac:spMkLst>
            <pc:docMk/>
            <pc:sldMk cId="1337591243" sldId="939"/>
            <ac:spMk id="51" creationId="{10B83BF7-0FA8-2771-0722-24AFEAEF5516}"/>
          </ac:spMkLst>
        </pc:spChg>
        <pc:spChg chg="mod">
          <ac:chgData name="Falcão Lacerda, Rafael" userId="40181ff7-4694-4c53-a944-7b7d63582359" providerId="ADAL" clId="{3B4D5F63-EA56-4616-8A78-0C43AB7049E7}" dt="2025-12-08T00:26:35.464" v="3640" actId="947"/>
          <ac:spMkLst>
            <pc:docMk/>
            <pc:sldMk cId="1337591243" sldId="939"/>
            <ac:spMk id="52" creationId="{769CC254-7554-FB2F-5D24-2051D0380336}"/>
          </ac:spMkLst>
        </pc:spChg>
        <pc:spChg chg="mod">
          <ac:chgData name="Falcão Lacerda, Rafael" userId="40181ff7-4694-4c53-a944-7b7d63582359" providerId="ADAL" clId="{3B4D5F63-EA56-4616-8A78-0C43AB7049E7}" dt="2025-12-08T00:26:41.841" v="6329" actId="790"/>
          <ac:spMkLst>
            <pc:docMk/>
            <pc:sldMk cId="1337591243" sldId="939"/>
            <ac:spMk id="53" creationId="{D004268C-1B25-3850-3B22-F4F2ED7E6A8A}"/>
          </ac:spMkLst>
        </pc:spChg>
        <pc:spChg chg="mod">
          <ac:chgData name="Falcão Lacerda, Rafael" userId="40181ff7-4694-4c53-a944-7b7d63582359" providerId="ADAL" clId="{3B4D5F63-EA56-4616-8A78-0C43AB7049E7}" dt="2025-12-08T00:26:41.841" v="6329" actId="790"/>
          <ac:spMkLst>
            <pc:docMk/>
            <pc:sldMk cId="1337591243" sldId="939"/>
            <ac:spMk id="54" creationId="{A896D554-10A7-991E-0C27-FA7DA6B857E2}"/>
          </ac:spMkLst>
        </pc:spChg>
        <pc:spChg chg="mod">
          <ac:chgData name="Falcão Lacerda, Rafael" userId="40181ff7-4694-4c53-a944-7b7d63582359" providerId="ADAL" clId="{3B4D5F63-EA56-4616-8A78-0C43AB7049E7}" dt="2025-12-08T00:26:41.841" v="6329" actId="790"/>
          <ac:spMkLst>
            <pc:docMk/>
            <pc:sldMk cId="1337591243" sldId="939"/>
            <ac:spMk id="55" creationId="{A98AA780-3442-7560-93B5-A2572D38DF1F}"/>
          </ac:spMkLst>
        </pc:spChg>
        <pc:spChg chg="mod">
          <ac:chgData name="Falcão Lacerda, Rafael" userId="40181ff7-4694-4c53-a944-7b7d63582359" providerId="ADAL" clId="{3B4D5F63-EA56-4616-8A78-0C43AB7049E7}" dt="2025-12-08T00:26:35.479" v="3644" actId="947"/>
          <ac:spMkLst>
            <pc:docMk/>
            <pc:sldMk cId="1337591243" sldId="939"/>
            <ac:spMk id="56" creationId="{E64FA6C2-1BC9-6F05-3F57-A33108820871}"/>
          </ac:spMkLst>
        </pc:spChg>
        <pc:spChg chg="mod">
          <ac:chgData name="Falcão Lacerda, Rafael" userId="40181ff7-4694-4c53-a944-7b7d63582359" providerId="ADAL" clId="{3B4D5F63-EA56-4616-8A78-0C43AB7049E7}" dt="2025-12-08T00:26:41.841" v="6329" actId="790"/>
          <ac:spMkLst>
            <pc:docMk/>
            <pc:sldMk cId="1337591243" sldId="939"/>
            <ac:spMk id="57" creationId="{5387BA8D-0C3E-4A92-BFA1-B75538A3E5BB}"/>
          </ac:spMkLst>
        </pc:spChg>
        <pc:spChg chg="mod">
          <ac:chgData name="Falcão Lacerda, Rafael" userId="40181ff7-4694-4c53-a944-7b7d63582359" providerId="ADAL" clId="{3B4D5F63-EA56-4616-8A78-0C43AB7049E7}" dt="2025-12-08T00:26:35.432" v="3632" actId="947"/>
          <ac:spMkLst>
            <pc:docMk/>
            <pc:sldMk cId="1337591243" sldId="939"/>
            <ac:spMk id="58" creationId="{17DF2E82-09D0-86F3-BA24-760A1C4E7F45}"/>
          </ac:spMkLst>
        </pc:spChg>
        <pc:spChg chg="mod">
          <ac:chgData name="Falcão Lacerda, Rafael" userId="40181ff7-4694-4c53-a944-7b7d63582359" providerId="ADAL" clId="{3B4D5F63-EA56-4616-8A78-0C43AB7049E7}" dt="2025-12-08T00:26:35.495" v="3650" actId="947"/>
          <ac:spMkLst>
            <pc:docMk/>
            <pc:sldMk cId="1337591243" sldId="939"/>
            <ac:spMk id="59" creationId="{2679FA6A-6FDB-D019-6A11-E8DFC80A234A}"/>
          </ac:spMkLst>
        </pc:spChg>
        <pc:spChg chg="mod">
          <ac:chgData name="Falcão Lacerda, Rafael" userId="40181ff7-4694-4c53-a944-7b7d63582359" providerId="ADAL" clId="{3B4D5F63-EA56-4616-8A78-0C43AB7049E7}" dt="2025-12-08T00:26:41.841" v="6329" actId="790"/>
          <ac:spMkLst>
            <pc:docMk/>
            <pc:sldMk cId="1337591243" sldId="939"/>
            <ac:spMk id="60" creationId="{DC1B471D-1BDD-E624-5106-421835BC0F62}"/>
          </ac:spMkLst>
        </pc:spChg>
        <pc:graphicFrameChg chg="add mod ord modVis">
          <ac:chgData name="Falcão Lacerda, Rafael" userId="40181ff7-4694-4c53-a944-7b7d63582359" providerId="ADAL" clId="{3B4D5F63-EA56-4616-8A78-0C43AB7049E7}" dt="2025-12-08T00:26:52.086" v="10009"/>
          <ac:graphicFrameMkLst>
            <pc:docMk/>
            <pc:sldMk cId="1337591243" sldId="939"/>
            <ac:graphicFrameMk id="4" creationId="{DBC565CA-42B9-5EE0-D180-4DDFF1F74772}"/>
          </ac:graphicFrameMkLst>
        </pc:graphicFrameChg>
      </pc:sldChg>
      <pc:sldChg chg="addSp delSp modSp mod modShow modNotes">
        <pc:chgData name="Falcão Lacerda, Rafael" userId="40181ff7-4694-4c53-a944-7b7d63582359" providerId="ADAL" clId="{3B4D5F63-EA56-4616-8A78-0C43AB7049E7}" dt="2025-12-08T17:18:13.731" v="34035" actId="729"/>
        <pc:sldMkLst>
          <pc:docMk/>
          <pc:sldMk cId="3592691969" sldId="940"/>
        </pc:sldMkLst>
        <pc:spChg chg="add del mod modVis">
          <ac:chgData name="Falcão Lacerda, Rafael" userId="40181ff7-4694-4c53-a944-7b7d63582359" providerId="ADAL" clId="{3B4D5F63-EA56-4616-8A78-0C43AB7049E7}" dt="2025-12-08T00:26:54.887" v="10981"/>
          <ac:spMkLst>
            <pc:docMk/>
            <pc:sldMk cId="3592691969" sldId="940"/>
            <ac:spMk id="2" creationId="{2D9A6753-F7B3-8068-2F46-02EFC3168AD7}"/>
          </ac:spMkLst>
        </pc:spChg>
        <pc:spChg chg="mod">
          <ac:chgData name="Falcão Lacerda, Rafael" userId="40181ff7-4694-4c53-a944-7b7d63582359" providerId="ADAL" clId="{3B4D5F63-EA56-4616-8A78-0C43AB7049E7}" dt="2025-12-08T00:26:41.841" v="6329" actId="790"/>
          <ac:spMkLst>
            <pc:docMk/>
            <pc:sldMk cId="3592691969" sldId="940"/>
            <ac:spMk id="3" creationId="{E4429494-836C-184C-EB4D-402209F30EF6}"/>
          </ac:spMkLst>
        </pc:spChg>
        <pc:spChg chg="mod">
          <ac:chgData name="Falcão Lacerda, Rafael" userId="40181ff7-4694-4c53-a944-7b7d63582359" providerId="ADAL" clId="{3B4D5F63-EA56-4616-8A78-0C43AB7049E7}" dt="2025-12-08T00:26:47.666" v="8655" actId="948"/>
          <ac:spMkLst>
            <pc:docMk/>
            <pc:sldMk cId="3592691969" sldId="940"/>
            <ac:spMk id="6" creationId="{A0DA1237-7C04-EA82-77E8-7DC5A72D6479}"/>
          </ac:spMkLst>
        </pc:spChg>
        <pc:graphicFrameChg chg="add mod ord modVis">
          <ac:chgData name="Falcão Lacerda, Rafael" userId="40181ff7-4694-4c53-a944-7b7d63582359" providerId="ADAL" clId="{3B4D5F63-EA56-4616-8A78-0C43AB7049E7}" dt="2025-12-08T00:26:54.919" v="10995"/>
          <ac:graphicFrameMkLst>
            <pc:docMk/>
            <pc:sldMk cId="3592691969" sldId="940"/>
            <ac:graphicFrameMk id="4" creationId="{96FB4AC5-769D-DB7C-EE18-39A55B6D8767}"/>
          </ac:graphicFrameMkLst>
        </pc:graphicFrameChg>
      </pc:sldChg>
      <pc:sldChg chg="addSp delSp modSp mod modShow modNotes">
        <pc:chgData name="Falcão Lacerda, Rafael" userId="40181ff7-4694-4c53-a944-7b7d63582359" providerId="ADAL" clId="{3B4D5F63-EA56-4616-8A78-0C43AB7049E7}" dt="2025-12-08T17:18:13.731" v="34035" actId="729"/>
        <pc:sldMkLst>
          <pc:docMk/>
          <pc:sldMk cId="169159464" sldId="941"/>
        </pc:sldMkLst>
        <pc:spChg chg="add del mod modVis">
          <ac:chgData name="Falcão Lacerda, Rafael" userId="40181ff7-4694-4c53-a944-7b7d63582359" providerId="ADAL" clId="{3B4D5F63-EA56-4616-8A78-0C43AB7049E7}" dt="2025-12-08T00:26:55.161" v="11077"/>
          <ac:spMkLst>
            <pc:docMk/>
            <pc:sldMk cId="169159464" sldId="941"/>
            <ac:spMk id="2" creationId="{1CD91A39-6897-BC86-5631-A678E66F2FB4}"/>
          </ac:spMkLst>
        </pc:spChg>
        <pc:spChg chg="mod">
          <ac:chgData name="Falcão Lacerda, Rafael" userId="40181ff7-4694-4c53-a944-7b7d63582359" providerId="ADAL" clId="{3B4D5F63-EA56-4616-8A78-0C43AB7049E7}" dt="2025-12-08T00:26:47.862" v="8775" actId="948"/>
          <ac:spMkLst>
            <pc:docMk/>
            <pc:sldMk cId="169159464" sldId="941"/>
            <ac:spMk id="5" creationId="{4CAA750F-A479-346E-3D13-5C1105147AEA}"/>
          </ac:spMkLst>
        </pc:spChg>
        <pc:spChg chg="mod">
          <ac:chgData name="Falcão Lacerda, Rafael" userId="40181ff7-4694-4c53-a944-7b7d63582359" providerId="ADAL" clId="{3B4D5F63-EA56-4616-8A78-0C43AB7049E7}" dt="2025-12-08T00:26:41.841" v="6329" actId="790"/>
          <ac:spMkLst>
            <pc:docMk/>
            <pc:sldMk cId="169159464" sldId="941"/>
            <ac:spMk id="9" creationId="{FAA4E793-5C70-C27B-B001-5A077C5418A3}"/>
          </ac:spMkLst>
        </pc:spChg>
        <pc:graphicFrameChg chg="add mod ord modVis">
          <ac:chgData name="Falcão Lacerda, Rafael" userId="40181ff7-4694-4c53-a944-7b7d63582359" providerId="ADAL" clId="{3B4D5F63-EA56-4616-8A78-0C43AB7049E7}" dt="2025-12-08T00:26:55.194" v="11091"/>
          <ac:graphicFrameMkLst>
            <pc:docMk/>
            <pc:sldMk cId="169159464" sldId="941"/>
            <ac:graphicFrameMk id="3" creationId="{1A984826-EE96-C02F-0E04-316A416EC695}"/>
          </ac:graphicFrameMkLst>
        </pc:graphicFrameChg>
      </pc:sldChg>
      <pc:sldChg chg="addSp modSp mod modShow modNotes">
        <pc:chgData name="Falcão Lacerda, Rafael" userId="40181ff7-4694-4c53-a944-7b7d63582359" providerId="ADAL" clId="{3B4D5F63-EA56-4616-8A78-0C43AB7049E7}" dt="2025-12-08T17:18:13.731" v="34035" actId="729"/>
        <pc:sldMkLst>
          <pc:docMk/>
          <pc:sldMk cId="3242305723" sldId="942"/>
        </pc:sldMkLst>
        <pc:spChg chg="mod">
          <ac:chgData name="Falcão Lacerda, Rafael" userId="40181ff7-4694-4c53-a944-7b7d63582359" providerId="ADAL" clId="{3B4D5F63-EA56-4616-8A78-0C43AB7049E7}" dt="2025-12-08T00:26:41.841" v="6329" actId="790"/>
          <ac:spMkLst>
            <pc:docMk/>
            <pc:sldMk cId="3242305723" sldId="942"/>
            <ac:spMk id="3" creationId="{23D78D54-7AF8-C3FE-0E14-B84327F20922}"/>
          </ac:spMkLst>
        </pc:spChg>
        <pc:spChg chg="mod">
          <ac:chgData name="Falcão Lacerda, Rafael" userId="40181ff7-4694-4c53-a944-7b7d63582359" providerId="ADAL" clId="{3B4D5F63-EA56-4616-8A78-0C43AB7049E7}" dt="2025-12-08T00:26:41.841" v="6329" actId="790"/>
          <ac:spMkLst>
            <pc:docMk/>
            <pc:sldMk cId="3242305723" sldId="942"/>
            <ac:spMk id="4" creationId="{5FF2AA2C-3F91-1AEF-E73F-29E5398DBB7B}"/>
          </ac:spMkLst>
        </pc:spChg>
        <pc:spChg chg="mod">
          <ac:chgData name="Falcão Lacerda, Rafael" userId="40181ff7-4694-4c53-a944-7b7d63582359" providerId="ADAL" clId="{3B4D5F63-EA56-4616-8A78-0C43AB7049E7}" dt="2025-12-08T00:26:41.841" v="6329" actId="790"/>
          <ac:spMkLst>
            <pc:docMk/>
            <pc:sldMk cId="3242305723" sldId="942"/>
            <ac:spMk id="5" creationId="{1D0E5DCB-1752-F66A-17D1-A346641D68C6}"/>
          </ac:spMkLst>
        </pc:spChg>
        <pc:spChg chg="mod">
          <ac:chgData name="Falcão Lacerda, Rafael" userId="40181ff7-4694-4c53-a944-7b7d63582359" providerId="ADAL" clId="{3B4D5F63-EA56-4616-8A78-0C43AB7049E7}" dt="2025-12-08T00:26:41.841" v="6329" actId="790"/>
          <ac:spMkLst>
            <pc:docMk/>
            <pc:sldMk cId="3242305723" sldId="942"/>
            <ac:spMk id="6" creationId="{FDB7DCAF-AB82-605D-E76B-229AF8DFBF02}"/>
          </ac:spMkLst>
        </pc:spChg>
        <pc:spChg chg="mod">
          <ac:chgData name="Falcão Lacerda, Rafael" userId="40181ff7-4694-4c53-a944-7b7d63582359" providerId="ADAL" clId="{3B4D5F63-EA56-4616-8A78-0C43AB7049E7}" dt="2025-12-08T00:26:41.841" v="6329" actId="790"/>
          <ac:spMkLst>
            <pc:docMk/>
            <pc:sldMk cId="3242305723" sldId="942"/>
            <ac:spMk id="8" creationId="{FAD13446-0B98-1E26-553D-2679FFEFE2B3}"/>
          </ac:spMkLst>
        </pc:spChg>
        <pc:spChg chg="mod">
          <ac:chgData name="Falcão Lacerda, Rafael" userId="40181ff7-4694-4c53-a944-7b7d63582359" providerId="ADAL" clId="{3B4D5F63-EA56-4616-8A78-0C43AB7049E7}" dt="2025-12-08T00:26:41.841" v="6329" actId="790"/>
          <ac:spMkLst>
            <pc:docMk/>
            <pc:sldMk cId="3242305723" sldId="942"/>
            <ac:spMk id="9" creationId="{DB0D2367-3385-9741-6A9E-03A6256EEB0C}"/>
          </ac:spMkLst>
        </pc:spChg>
        <pc:spChg chg="mod">
          <ac:chgData name="Falcão Lacerda, Rafael" userId="40181ff7-4694-4c53-a944-7b7d63582359" providerId="ADAL" clId="{3B4D5F63-EA56-4616-8A78-0C43AB7049E7}" dt="2025-12-08T00:26:41.841" v="6329" actId="790"/>
          <ac:spMkLst>
            <pc:docMk/>
            <pc:sldMk cId="3242305723" sldId="942"/>
            <ac:spMk id="10" creationId="{2A398882-59B1-A60D-90C6-9B02D26B8305}"/>
          </ac:spMkLst>
        </pc:spChg>
        <pc:spChg chg="mod">
          <ac:chgData name="Falcão Lacerda, Rafael" userId="40181ff7-4694-4c53-a944-7b7d63582359" providerId="ADAL" clId="{3B4D5F63-EA56-4616-8A78-0C43AB7049E7}" dt="2025-12-08T00:26:48.344" v="9000" actId="948"/>
          <ac:spMkLst>
            <pc:docMk/>
            <pc:sldMk cId="3242305723" sldId="942"/>
            <ac:spMk id="39" creationId="{4F3F53EB-DF90-A24D-318B-5197C3B04A5A}"/>
          </ac:spMkLst>
        </pc:spChg>
        <pc:graphicFrameChg chg="add mod ord modVis">
          <ac:chgData name="Falcão Lacerda, Rafael" userId="40181ff7-4694-4c53-a944-7b7d63582359" providerId="ADAL" clId="{3B4D5F63-EA56-4616-8A78-0C43AB7049E7}" dt="2025-12-08T00:26:55.840" v="11321"/>
          <ac:graphicFrameMkLst>
            <pc:docMk/>
            <pc:sldMk cId="3242305723" sldId="942"/>
            <ac:graphicFrameMk id="2" creationId="{021EC303-7ABF-F4A9-7962-85518467609F}"/>
          </ac:graphicFrameMkLst>
        </pc:graphicFrameChg>
      </pc:sldChg>
      <pc:sldChg chg="addSp delSp modSp mod modShow modNotes">
        <pc:chgData name="Falcão Lacerda, Rafael" userId="40181ff7-4694-4c53-a944-7b7d63582359" providerId="ADAL" clId="{3B4D5F63-EA56-4616-8A78-0C43AB7049E7}" dt="2025-12-08T17:18:13.731" v="34035" actId="729"/>
        <pc:sldMkLst>
          <pc:docMk/>
          <pc:sldMk cId="2453372261" sldId="943"/>
        </pc:sldMkLst>
        <pc:spChg chg="add del mod modVis">
          <ac:chgData name="Falcão Lacerda, Rafael" userId="40181ff7-4694-4c53-a944-7b7d63582359" providerId="ADAL" clId="{3B4D5F63-EA56-4616-8A78-0C43AB7049E7}" dt="2025-12-08T00:26:55.685" v="11263"/>
          <ac:spMkLst>
            <pc:docMk/>
            <pc:sldMk cId="2453372261" sldId="943"/>
            <ac:spMk id="2" creationId="{054E96B8-AE85-B32B-C1C2-9F016C8BF8AA}"/>
          </ac:spMkLst>
        </pc:spChg>
        <pc:spChg chg="mod">
          <ac:chgData name="Falcão Lacerda, Rafael" userId="40181ff7-4694-4c53-a944-7b7d63582359" providerId="ADAL" clId="{3B4D5F63-EA56-4616-8A78-0C43AB7049E7}" dt="2025-12-08T00:26:41.841" v="6329" actId="790"/>
          <ac:spMkLst>
            <pc:docMk/>
            <pc:sldMk cId="2453372261" sldId="943"/>
            <ac:spMk id="4" creationId="{A2E8F6E2-D600-EE03-F011-0F43E879547A}"/>
          </ac:spMkLst>
        </pc:spChg>
        <pc:spChg chg="mod">
          <ac:chgData name="Falcão Lacerda, Rafael" userId="40181ff7-4694-4c53-a944-7b7d63582359" providerId="ADAL" clId="{3B4D5F63-EA56-4616-8A78-0C43AB7049E7}" dt="2025-12-08T00:26:41.841" v="6329" actId="790"/>
          <ac:spMkLst>
            <pc:docMk/>
            <pc:sldMk cId="2453372261" sldId="943"/>
            <ac:spMk id="5" creationId="{2357DC55-252C-B83E-4680-5C26DF830AF8}"/>
          </ac:spMkLst>
        </pc:spChg>
        <pc:spChg chg="mod">
          <ac:chgData name="Falcão Lacerda, Rafael" userId="40181ff7-4694-4c53-a944-7b7d63582359" providerId="ADAL" clId="{3B4D5F63-EA56-4616-8A78-0C43AB7049E7}" dt="2025-12-08T00:26:41.841" v="6329" actId="790"/>
          <ac:spMkLst>
            <pc:docMk/>
            <pc:sldMk cId="2453372261" sldId="943"/>
            <ac:spMk id="7" creationId="{0A55FFD3-DB51-DA60-3F14-E75CC71CB5FD}"/>
          </ac:spMkLst>
        </pc:spChg>
        <pc:spChg chg="mod">
          <ac:chgData name="Falcão Lacerda, Rafael" userId="40181ff7-4694-4c53-a944-7b7d63582359" providerId="ADAL" clId="{3B4D5F63-EA56-4616-8A78-0C43AB7049E7}" dt="2025-12-08T00:26:41.841" v="6329" actId="790"/>
          <ac:spMkLst>
            <pc:docMk/>
            <pc:sldMk cId="2453372261" sldId="943"/>
            <ac:spMk id="8" creationId="{374205F0-556B-2B8C-B485-2BA27273478A}"/>
          </ac:spMkLst>
        </pc:spChg>
        <pc:spChg chg="mod">
          <ac:chgData name="Falcão Lacerda, Rafael" userId="40181ff7-4694-4c53-a944-7b7d63582359" providerId="ADAL" clId="{3B4D5F63-EA56-4616-8A78-0C43AB7049E7}" dt="2025-12-08T00:26:41.841" v="6329" actId="790"/>
          <ac:spMkLst>
            <pc:docMk/>
            <pc:sldMk cId="2453372261" sldId="943"/>
            <ac:spMk id="9" creationId="{BB704BF9-D071-1126-EDD3-E188982C8F59}"/>
          </ac:spMkLst>
        </pc:spChg>
        <pc:spChg chg="mod">
          <ac:chgData name="Falcão Lacerda, Rafael" userId="40181ff7-4694-4c53-a944-7b7d63582359" providerId="ADAL" clId="{3B4D5F63-EA56-4616-8A78-0C43AB7049E7}" dt="2025-12-08T00:26:41.841" v="6329" actId="790"/>
          <ac:spMkLst>
            <pc:docMk/>
            <pc:sldMk cId="2453372261" sldId="943"/>
            <ac:spMk id="10" creationId="{2A350CF1-A3FD-A436-77C3-CF43DC04896C}"/>
          </ac:spMkLst>
        </pc:spChg>
        <pc:spChg chg="mod">
          <ac:chgData name="Falcão Lacerda, Rafael" userId="40181ff7-4694-4c53-a944-7b7d63582359" providerId="ADAL" clId="{3B4D5F63-EA56-4616-8A78-0C43AB7049E7}" dt="2025-12-08T00:26:41.841" v="6329" actId="790"/>
          <ac:spMkLst>
            <pc:docMk/>
            <pc:sldMk cId="2453372261" sldId="943"/>
            <ac:spMk id="11" creationId="{8C450B22-59C1-188A-64B2-3102C1A73A1A}"/>
          </ac:spMkLst>
        </pc:spChg>
        <pc:spChg chg="mod">
          <ac:chgData name="Falcão Lacerda, Rafael" userId="40181ff7-4694-4c53-a944-7b7d63582359" providerId="ADAL" clId="{3B4D5F63-EA56-4616-8A78-0C43AB7049E7}" dt="2025-12-08T00:26:41.841" v="6329" actId="790"/>
          <ac:spMkLst>
            <pc:docMk/>
            <pc:sldMk cId="2453372261" sldId="943"/>
            <ac:spMk id="12" creationId="{91929C6A-DD6B-02DC-600A-516F1082F4E1}"/>
          </ac:spMkLst>
        </pc:spChg>
        <pc:spChg chg="mod">
          <ac:chgData name="Falcão Lacerda, Rafael" userId="40181ff7-4694-4c53-a944-7b7d63582359" providerId="ADAL" clId="{3B4D5F63-EA56-4616-8A78-0C43AB7049E7}" dt="2025-12-08T00:26:48.220" v="8959" actId="948"/>
          <ac:spMkLst>
            <pc:docMk/>
            <pc:sldMk cId="2453372261" sldId="943"/>
            <ac:spMk id="23" creationId="{01217764-BD8B-C1EC-5685-168B05049132}"/>
          </ac:spMkLst>
        </pc:spChg>
        <pc:graphicFrameChg chg="add mod ord modVis">
          <ac:chgData name="Falcão Lacerda, Rafael" userId="40181ff7-4694-4c53-a944-7b7d63582359" providerId="ADAL" clId="{3B4D5F63-EA56-4616-8A78-0C43AB7049E7}" dt="2025-12-08T00:26:55.720" v="11277"/>
          <ac:graphicFrameMkLst>
            <pc:docMk/>
            <pc:sldMk cId="2453372261" sldId="943"/>
            <ac:graphicFrameMk id="3" creationId="{624EAD1B-71CD-5253-EB3D-AB7AF722463A}"/>
          </ac:graphicFrameMkLst>
        </pc:graphicFrameChg>
      </pc:sldChg>
      <pc:sldChg chg="addSp delSp modSp mod modShow modNotes">
        <pc:chgData name="Falcão Lacerda, Rafael" userId="40181ff7-4694-4c53-a944-7b7d63582359" providerId="ADAL" clId="{3B4D5F63-EA56-4616-8A78-0C43AB7049E7}" dt="2025-12-08T17:18:13.731" v="34035" actId="729"/>
        <pc:sldMkLst>
          <pc:docMk/>
          <pc:sldMk cId="1077203064" sldId="944"/>
        </pc:sldMkLst>
        <pc:spChg chg="add del mod modVis">
          <ac:chgData name="Falcão Lacerda, Rafael" userId="40181ff7-4694-4c53-a944-7b7d63582359" providerId="ADAL" clId="{3B4D5F63-EA56-4616-8A78-0C43AB7049E7}" dt="2025-12-08T00:26:55.450" v="11187"/>
          <ac:spMkLst>
            <pc:docMk/>
            <pc:sldMk cId="1077203064" sldId="944"/>
            <ac:spMk id="2" creationId="{BAA1BB64-A9D3-D367-7082-B398DDC35952}"/>
          </ac:spMkLst>
        </pc:spChg>
        <pc:spChg chg="mod">
          <ac:chgData name="Falcão Lacerda, Rafael" userId="40181ff7-4694-4c53-a944-7b7d63582359" providerId="ADAL" clId="{3B4D5F63-EA56-4616-8A78-0C43AB7049E7}" dt="2025-12-08T00:26:41.841" v="6329" actId="790"/>
          <ac:spMkLst>
            <pc:docMk/>
            <pc:sldMk cId="1077203064" sldId="944"/>
            <ac:spMk id="3" creationId="{3FF67CBE-A9F4-D82A-F77B-47E206C9A97F}"/>
          </ac:spMkLst>
        </pc:spChg>
        <pc:spChg chg="mod">
          <ac:chgData name="Falcão Lacerda, Rafael" userId="40181ff7-4694-4c53-a944-7b7d63582359" providerId="ADAL" clId="{3B4D5F63-EA56-4616-8A78-0C43AB7049E7}" dt="2025-12-08T00:26:48.088" v="8896" actId="948"/>
          <ac:spMkLst>
            <pc:docMk/>
            <pc:sldMk cId="1077203064" sldId="944"/>
            <ac:spMk id="6" creationId="{A89B15D4-8B3A-816B-02CB-311940D5D9A8}"/>
          </ac:spMkLst>
        </pc:spChg>
        <pc:spChg chg="mod">
          <ac:chgData name="Falcão Lacerda, Rafael" userId="40181ff7-4694-4c53-a944-7b7d63582359" providerId="ADAL" clId="{3B4D5F63-EA56-4616-8A78-0C43AB7049E7}" dt="2025-12-08T00:26:41.841" v="6329" actId="790"/>
          <ac:spMkLst>
            <pc:docMk/>
            <pc:sldMk cId="1077203064" sldId="944"/>
            <ac:spMk id="15" creationId="{BDAC31B0-5527-7533-D8BD-6A9A0B560736}"/>
          </ac:spMkLst>
        </pc:spChg>
        <pc:spChg chg="mod">
          <ac:chgData name="Falcão Lacerda, Rafael" userId="40181ff7-4694-4c53-a944-7b7d63582359" providerId="ADAL" clId="{3B4D5F63-EA56-4616-8A78-0C43AB7049E7}" dt="2025-12-08T00:26:41.841" v="6329" actId="790"/>
          <ac:spMkLst>
            <pc:docMk/>
            <pc:sldMk cId="1077203064" sldId="944"/>
            <ac:spMk id="16" creationId="{3D7E95F1-98AC-35AC-E3C2-7F111AB239B6}"/>
          </ac:spMkLst>
        </pc:spChg>
        <pc:spChg chg="mod">
          <ac:chgData name="Falcão Lacerda, Rafael" userId="40181ff7-4694-4c53-a944-7b7d63582359" providerId="ADAL" clId="{3B4D5F63-EA56-4616-8A78-0C43AB7049E7}" dt="2025-12-08T00:26:41.841" v="6329" actId="790"/>
          <ac:spMkLst>
            <pc:docMk/>
            <pc:sldMk cId="1077203064" sldId="944"/>
            <ac:spMk id="17" creationId="{158CFCFD-040F-B06B-8E54-36B103947C95}"/>
          </ac:spMkLst>
        </pc:spChg>
        <pc:graphicFrameChg chg="add mod ord modVis">
          <ac:chgData name="Falcão Lacerda, Rafael" userId="40181ff7-4694-4c53-a944-7b7d63582359" providerId="ADAL" clId="{3B4D5F63-EA56-4616-8A78-0C43AB7049E7}" dt="2025-12-08T00:26:55.492" v="11201"/>
          <ac:graphicFrameMkLst>
            <pc:docMk/>
            <pc:sldMk cId="1077203064" sldId="944"/>
            <ac:graphicFrameMk id="4" creationId="{A3184FFA-31BC-ECD0-920A-160C47FCC4A5}"/>
          </ac:graphicFrameMkLst>
        </pc:graphicFrameChg>
      </pc:sldChg>
      <pc:sldChg chg="addSp delSp modSp del mod modNotes">
        <pc:chgData name="Falcão Lacerda, Rafael" userId="40181ff7-4694-4c53-a944-7b7d63582359" providerId="ADAL" clId="{3B4D5F63-EA56-4616-8A78-0C43AB7049E7}" dt="2025-12-08T00:36:59.770" v="11865" actId="47"/>
        <pc:sldMkLst>
          <pc:docMk/>
          <pc:sldMk cId="2455322151" sldId="945"/>
        </pc:sldMkLst>
        <pc:spChg chg="add del mod modVis">
          <ac:chgData name="Falcão Lacerda, Rafael" userId="40181ff7-4694-4c53-a944-7b7d63582359" providerId="ADAL" clId="{3B4D5F63-EA56-4616-8A78-0C43AB7049E7}" dt="2025-12-08T00:26:54.560" v="10853"/>
          <ac:spMkLst>
            <pc:docMk/>
            <pc:sldMk cId="2455322151" sldId="945"/>
            <ac:spMk id="2" creationId="{392D121D-71AA-EF2E-5392-4E8E0EDFA6FB}"/>
          </ac:spMkLst>
        </pc:spChg>
        <pc:spChg chg="mod">
          <ac:chgData name="Falcão Lacerda, Rafael" userId="40181ff7-4694-4c53-a944-7b7d63582359" providerId="ADAL" clId="{3B4D5F63-EA56-4616-8A78-0C43AB7049E7}" dt="2025-12-08T00:26:41.841" v="6329" actId="790"/>
          <ac:spMkLst>
            <pc:docMk/>
            <pc:sldMk cId="2455322151" sldId="945"/>
            <ac:spMk id="3" creationId="{5602F0E8-3659-7C9D-F396-7B803BF0CB12}"/>
          </ac:spMkLst>
        </pc:spChg>
        <pc:spChg chg="mod">
          <ac:chgData name="Falcão Lacerda, Rafael" userId="40181ff7-4694-4c53-a944-7b7d63582359" providerId="ADAL" clId="{3B4D5F63-EA56-4616-8A78-0C43AB7049E7}" dt="2025-12-08T00:26:41.841" v="6329" actId="790"/>
          <ac:spMkLst>
            <pc:docMk/>
            <pc:sldMk cId="2455322151" sldId="945"/>
            <ac:spMk id="20" creationId="{F0EE56A7-484F-C5AE-C52F-6F1747459C41}"/>
          </ac:spMkLst>
        </pc:spChg>
        <pc:spChg chg="mod">
          <ac:chgData name="Falcão Lacerda, Rafael" userId="40181ff7-4694-4c53-a944-7b7d63582359" providerId="ADAL" clId="{3B4D5F63-EA56-4616-8A78-0C43AB7049E7}" dt="2025-12-08T00:26:41.841" v="6329" actId="790"/>
          <ac:spMkLst>
            <pc:docMk/>
            <pc:sldMk cId="2455322151" sldId="945"/>
            <ac:spMk id="21" creationId="{D790ADF3-45AC-FDE2-FB8A-F085AE206E67}"/>
          </ac:spMkLst>
        </pc:spChg>
        <pc:spChg chg="mod">
          <ac:chgData name="Falcão Lacerda, Rafael" userId="40181ff7-4694-4c53-a944-7b7d63582359" providerId="ADAL" clId="{3B4D5F63-EA56-4616-8A78-0C43AB7049E7}" dt="2025-12-08T00:26:41.841" v="6329" actId="790"/>
          <ac:spMkLst>
            <pc:docMk/>
            <pc:sldMk cId="2455322151" sldId="945"/>
            <ac:spMk id="22" creationId="{35F85420-59B8-F932-83B3-068BD582E505}"/>
          </ac:spMkLst>
        </pc:spChg>
        <pc:spChg chg="mod">
          <ac:chgData name="Falcão Lacerda, Rafael" userId="40181ff7-4694-4c53-a944-7b7d63582359" providerId="ADAL" clId="{3B4D5F63-EA56-4616-8A78-0C43AB7049E7}" dt="2025-12-08T00:26:41.841" v="6329" actId="790"/>
          <ac:spMkLst>
            <pc:docMk/>
            <pc:sldMk cId="2455322151" sldId="945"/>
            <ac:spMk id="23" creationId="{4A6D1C54-9F0C-DD85-1933-CEE1231AA0F2}"/>
          </ac:spMkLst>
        </pc:spChg>
        <pc:spChg chg="mod">
          <ac:chgData name="Falcão Lacerda, Rafael" userId="40181ff7-4694-4c53-a944-7b7d63582359" providerId="ADAL" clId="{3B4D5F63-EA56-4616-8A78-0C43AB7049E7}" dt="2025-12-08T00:26:41.841" v="6329" actId="790"/>
          <ac:spMkLst>
            <pc:docMk/>
            <pc:sldMk cId="2455322151" sldId="945"/>
            <ac:spMk id="24" creationId="{51E4CE48-6BAA-D1B8-246D-8C6358F248C2}"/>
          </ac:spMkLst>
        </pc:spChg>
        <pc:spChg chg="mod">
          <ac:chgData name="Falcão Lacerda, Rafael" userId="40181ff7-4694-4c53-a944-7b7d63582359" providerId="ADAL" clId="{3B4D5F63-EA56-4616-8A78-0C43AB7049E7}" dt="2025-12-08T00:26:41.841" v="6329" actId="790"/>
          <ac:spMkLst>
            <pc:docMk/>
            <pc:sldMk cId="2455322151" sldId="945"/>
            <ac:spMk id="25" creationId="{70D74FD1-2519-A20D-45F3-D60EC7654CDF}"/>
          </ac:spMkLst>
        </pc:spChg>
        <pc:spChg chg="mod">
          <ac:chgData name="Falcão Lacerda, Rafael" userId="40181ff7-4694-4c53-a944-7b7d63582359" providerId="ADAL" clId="{3B4D5F63-EA56-4616-8A78-0C43AB7049E7}" dt="2025-12-08T00:26:41.841" v="6329" actId="790"/>
          <ac:spMkLst>
            <pc:docMk/>
            <pc:sldMk cId="2455322151" sldId="945"/>
            <ac:spMk id="26" creationId="{9E28C776-3269-3AD4-3674-CB29423821F4}"/>
          </ac:spMkLst>
        </pc:spChg>
        <pc:spChg chg="mod">
          <ac:chgData name="Falcão Lacerda, Rafael" userId="40181ff7-4694-4c53-a944-7b7d63582359" providerId="ADAL" clId="{3B4D5F63-EA56-4616-8A78-0C43AB7049E7}" dt="2025-12-08T00:26:41.841" v="6329" actId="790"/>
          <ac:spMkLst>
            <pc:docMk/>
            <pc:sldMk cId="2455322151" sldId="945"/>
            <ac:spMk id="27" creationId="{A4D458AB-9160-358B-C061-2FEECE271038}"/>
          </ac:spMkLst>
        </pc:spChg>
        <pc:spChg chg="mod">
          <ac:chgData name="Falcão Lacerda, Rafael" userId="40181ff7-4694-4c53-a944-7b7d63582359" providerId="ADAL" clId="{3B4D5F63-EA56-4616-8A78-0C43AB7049E7}" dt="2025-12-08T00:26:47.340" v="8494" actId="948"/>
          <ac:spMkLst>
            <pc:docMk/>
            <pc:sldMk cId="2455322151" sldId="945"/>
            <ac:spMk id="29" creationId="{1B354628-A173-A349-6510-45FE346FC1C9}"/>
          </ac:spMkLst>
        </pc:spChg>
        <pc:graphicFrameChg chg="add mod ord modVis">
          <ac:chgData name="Falcão Lacerda, Rafael" userId="40181ff7-4694-4c53-a944-7b7d63582359" providerId="ADAL" clId="{3B4D5F63-EA56-4616-8A78-0C43AB7049E7}" dt="2025-12-08T00:26:54.594" v="10867"/>
          <ac:graphicFrameMkLst>
            <pc:docMk/>
            <pc:sldMk cId="2455322151" sldId="945"/>
            <ac:graphicFrameMk id="4" creationId="{C5594403-4631-4AF3-46F0-DEF71F41A68A}"/>
          </ac:graphicFrameMkLst>
        </pc:graphicFrameChg>
      </pc:sldChg>
      <pc:sldChg chg="addSp modSp mod modShow modNotes">
        <pc:chgData name="Falcão Lacerda, Rafael" userId="40181ff7-4694-4c53-a944-7b7d63582359" providerId="ADAL" clId="{3B4D5F63-EA56-4616-8A78-0C43AB7049E7}" dt="2025-12-08T17:18:13.731" v="34035" actId="729"/>
        <pc:sldMkLst>
          <pc:docMk/>
          <pc:sldMk cId="737081189" sldId="946"/>
        </pc:sldMkLst>
        <pc:spChg chg="mod">
          <ac:chgData name="Falcão Lacerda, Rafael" userId="40181ff7-4694-4c53-a944-7b7d63582359" providerId="ADAL" clId="{3B4D5F63-EA56-4616-8A78-0C43AB7049E7}" dt="2025-12-08T00:26:48.205" v="8957" actId="948"/>
          <ac:spMkLst>
            <pc:docMk/>
            <pc:sldMk cId="737081189" sldId="946"/>
            <ac:spMk id="3" creationId="{4A4FD688-AC5A-3D22-C93D-83B0761FDA4C}"/>
          </ac:spMkLst>
        </pc:spChg>
        <pc:spChg chg="mod">
          <ac:chgData name="Falcão Lacerda, Rafael" userId="40181ff7-4694-4c53-a944-7b7d63582359" providerId="ADAL" clId="{3B4D5F63-EA56-4616-8A78-0C43AB7049E7}" dt="2025-12-08T00:26:41.841" v="6329" actId="790"/>
          <ac:spMkLst>
            <pc:docMk/>
            <pc:sldMk cId="737081189" sldId="946"/>
            <ac:spMk id="11" creationId="{5270B4B9-2AAB-C169-3CAE-FE94D0200A72}"/>
          </ac:spMkLst>
        </pc:spChg>
        <pc:graphicFrameChg chg="add mod ord modVis">
          <ac:chgData name="Falcão Lacerda, Rafael" userId="40181ff7-4694-4c53-a944-7b7d63582359" providerId="ADAL" clId="{3B4D5F63-EA56-4616-8A78-0C43AB7049E7}" dt="2025-12-08T00:26:55.631" v="11247"/>
          <ac:graphicFrameMkLst>
            <pc:docMk/>
            <pc:sldMk cId="737081189" sldId="946"/>
            <ac:graphicFrameMk id="2" creationId="{F13B612E-A5C7-1D0C-C31D-3C8B7175C543}"/>
          </ac:graphicFrameMkLst>
        </pc:graphicFrameChg>
      </pc:sldChg>
      <pc:sldChg chg="addSp delSp modSp del mod ord modNotes">
        <pc:chgData name="Falcão Lacerda, Rafael" userId="40181ff7-4694-4c53-a944-7b7d63582359" providerId="ADAL" clId="{3B4D5F63-EA56-4616-8A78-0C43AB7049E7}" dt="2025-12-08T00:36:13.705" v="11864" actId="47"/>
        <pc:sldMkLst>
          <pc:docMk/>
          <pc:sldMk cId="1632096693" sldId="947"/>
        </pc:sldMkLst>
        <pc:spChg chg="add del mod modVis">
          <ac:chgData name="Falcão Lacerda, Rafael" userId="40181ff7-4694-4c53-a944-7b7d63582359" providerId="ADAL" clId="{3B4D5F63-EA56-4616-8A78-0C43AB7049E7}" dt="2025-12-08T00:26:54.226" v="10741"/>
          <ac:spMkLst>
            <pc:docMk/>
            <pc:sldMk cId="1632096693" sldId="947"/>
            <ac:spMk id="2" creationId="{BF3469EF-65D7-C545-BB19-4C56C9F0EFD8}"/>
          </ac:spMkLst>
        </pc:spChg>
        <pc:spChg chg="mod">
          <ac:chgData name="Falcão Lacerda, Rafael" userId="40181ff7-4694-4c53-a944-7b7d63582359" providerId="ADAL" clId="{3B4D5F63-EA56-4616-8A78-0C43AB7049E7}" dt="2025-12-08T00:26:47.129" v="8353" actId="948"/>
          <ac:spMkLst>
            <pc:docMk/>
            <pc:sldMk cId="1632096693" sldId="947"/>
            <ac:spMk id="3" creationId="{C6B4EEC0-3C97-9210-BF6F-D40FA66C799E}"/>
          </ac:spMkLst>
        </pc:spChg>
        <pc:spChg chg="mod">
          <ac:chgData name="Falcão Lacerda, Rafael" userId="40181ff7-4694-4c53-a944-7b7d63582359" providerId="ADAL" clId="{3B4D5F63-EA56-4616-8A78-0C43AB7049E7}" dt="2025-12-08T00:26:41.841" v="6329" actId="790"/>
          <ac:spMkLst>
            <pc:docMk/>
            <pc:sldMk cId="1632096693" sldId="947"/>
            <ac:spMk id="4" creationId="{AA46E8F5-584B-55F7-05DF-2BDC5F75622C}"/>
          </ac:spMkLst>
        </pc:spChg>
        <pc:spChg chg="mod">
          <ac:chgData name="Falcão Lacerda, Rafael" userId="40181ff7-4694-4c53-a944-7b7d63582359" providerId="ADAL" clId="{3B4D5F63-EA56-4616-8A78-0C43AB7049E7}" dt="2025-12-08T00:26:41.841" v="6329" actId="790"/>
          <ac:spMkLst>
            <pc:docMk/>
            <pc:sldMk cId="1632096693" sldId="947"/>
            <ac:spMk id="5" creationId="{C9536EAD-83E7-CE74-CB70-CB16B0066C09}"/>
          </ac:spMkLst>
        </pc:spChg>
        <pc:spChg chg="mod">
          <ac:chgData name="Falcão Lacerda, Rafael" userId="40181ff7-4694-4c53-a944-7b7d63582359" providerId="ADAL" clId="{3B4D5F63-EA56-4616-8A78-0C43AB7049E7}" dt="2025-12-08T00:26:41.841" v="6329" actId="790"/>
          <ac:spMkLst>
            <pc:docMk/>
            <pc:sldMk cId="1632096693" sldId="947"/>
            <ac:spMk id="6" creationId="{05E24A68-815F-579A-D4C1-16E8616D991B}"/>
          </ac:spMkLst>
        </pc:spChg>
        <pc:spChg chg="mod">
          <ac:chgData name="Falcão Lacerda, Rafael" userId="40181ff7-4694-4c53-a944-7b7d63582359" providerId="ADAL" clId="{3B4D5F63-EA56-4616-8A78-0C43AB7049E7}" dt="2025-12-08T00:26:41.841" v="6329" actId="790"/>
          <ac:spMkLst>
            <pc:docMk/>
            <pc:sldMk cId="1632096693" sldId="947"/>
            <ac:spMk id="12" creationId="{5E3B7B69-DE1F-06F0-B896-C9C09A14858C}"/>
          </ac:spMkLst>
        </pc:spChg>
        <pc:spChg chg="mod">
          <ac:chgData name="Falcão Lacerda, Rafael" userId="40181ff7-4694-4c53-a944-7b7d63582359" providerId="ADAL" clId="{3B4D5F63-EA56-4616-8A78-0C43AB7049E7}" dt="2025-12-08T00:26:41.841" v="6329" actId="790"/>
          <ac:spMkLst>
            <pc:docMk/>
            <pc:sldMk cId="1632096693" sldId="947"/>
            <ac:spMk id="71" creationId="{C00EE7DE-DCB5-FBBC-8AA5-BABEEE8358B5}"/>
          </ac:spMkLst>
        </pc:spChg>
        <pc:spChg chg="mod">
          <ac:chgData name="Falcão Lacerda, Rafael" userId="40181ff7-4694-4c53-a944-7b7d63582359" providerId="ADAL" clId="{3B4D5F63-EA56-4616-8A78-0C43AB7049E7}" dt="2025-12-08T00:26:41.841" v="6329" actId="790"/>
          <ac:spMkLst>
            <pc:docMk/>
            <pc:sldMk cId="1632096693" sldId="947"/>
            <ac:spMk id="72" creationId="{29123E95-44A3-3039-312B-157480C44456}"/>
          </ac:spMkLst>
        </pc:spChg>
        <pc:spChg chg="mod">
          <ac:chgData name="Falcão Lacerda, Rafael" userId="40181ff7-4694-4c53-a944-7b7d63582359" providerId="ADAL" clId="{3B4D5F63-EA56-4616-8A78-0C43AB7049E7}" dt="2025-12-08T00:26:41.841" v="6329" actId="790"/>
          <ac:spMkLst>
            <pc:docMk/>
            <pc:sldMk cId="1632096693" sldId="947"/>
            <ac:spMk id="73" creationId="{8A98E18E-E523-1E27-254B-B9730509B266}"/>
          </ac:spMkLst>
        </pc:spChg>
        <pc:spChg chg="mod">
          <ac:chgData name="Falcão Lacerda, Rafael" userId="40181ff7-4694-4c53-a944-7b7d63582359" providerId="ADAL" clId="{3B4D5F63-EA56-4616-8A78-0C43AB7049E7}" dt="2025-12-08T00:26:41.841" v="6329" actId="790"/>
          <ac:spMkLst>
            <pc:docMk/>
            <pc:sldMk cId="1632096693" sldId="947"/>
            <ac:spMk id="74" creationId="{0019DE1D-5828-9F73-BE21-3883B47878C3}"/>
          </ac:spMkLst>
        </pc:spChg>
        <pc:graphicFrameChg chg="add mod ord modVis">
          <ac:chgData name="Falcão Lacerda, Rafael" userId="40181ff7-4694-4c53-a944-7b7d63582359" providerId="ADAL" clId="{3B4D5F63-EA56-4616-8A78-0C43AB7049E7}" dt="2025-12-08T00:26:54.264" v="10755"/>
          <ac:graphicFrameMkLst>
            <pc:docMk/>
            <pc:sldMk cId="1632096693" sldId="947"/>
            <ac:graphicFrameMk id="7" creationId="{2F0DA6B0-C3CB-D574-6241-9EB5F0AC5BA5}"/>
          </ac:graphicFrameMkLst>
        </pc:graphicFrameChg>
      </pc:sldChg>
      <pc:sldChg chg="addSp delSp modSp del mod ord modNotes">
        <pc:chgData name="Falcão Lacerda, Rafael" userId="40181ff7-4694-4c53-a944-7b7d63582359" providerId="ADAL" clId="{3B4D5F63-EA56-4616-8A78-0C43AB7049E7}" dt="2025-12-08T00:36:13.705" v="11864" actId="47"/>
        <pc:sldMkLst>
          <pc:docMk/>
          <pc:sldMk cId="2578309695" sldId="948"/>
        </pc:sldMkLst>
        <pc:spChg chg="add del mod modVis">
          <ac:chgData name="Falcão Lacerda, Rafael" userId="40181ff7-4694-4c53-a944-7b7d63582359" providerId="ADAL" clId="{3B4D5F63-EA56-4616-8A78-0C43AB7049E7}" dt="2025-12-08T00:26:54.129" v="10709"/>
          <ac:spMkLst>
            <pc:docMk/>
            <pc:sldMk cId="2578309695" sldId="948"/>
            <ac:spMk id="2" creationId="{573B0BCC-5FA4-92DB-F5F3-8671E5ED6A26}"/>
          </ac:spMkLst>
        </pc:spChg>
        <pc:spChg chg="mod">
          <ac:chgData name="Falcão Lacerda, Rafael" userId="40181ff7-4694-4c53-a944-7b7d63582359" providerId="ADAL" clId="{3B4D5F63-EA56-4616-8A78-0C43AB7049E7}" dt="2025-12-08T00:26:41.841" v="6329" actId="790"/>
          <ac:spMkLst>
            <pc:docMk/>
            <pc:sldMk cId="2578309695" sldId="948"/>
            <ac:spMk id="4" creationId="{B31B571B-FF0F-9C01-B0A6-1F07628075D4}"/>
          </ac:spMkLst>
        </pc:spChg>
        <pc:spChg chg="mod">
          <ac:chgData name="Falcão Lacerda, Rafael" userId="40181ff7-4694-4c53-a944-7b7d63582359" providerId="ADAL" clId="{3B4D5F63-EA56-4616-8A78-0C43AB7049E7}" dt="2025-12-08T00:26:41.841" v="6329" actId="790"/>
          <ac:spMkLst>
            <pc:docMk/>
            <pc:sldMk cId="2578309695" sldId="948"/>
            <ac:spMk id="5" creationId="{8C4C2169-9441-F16F-7D37-B3CC3CCE1507}"/>
          </ac:spMkLst>
        </pc:spChg>
        <pc:spChg chg="mod">
          <ac:chgData name="Falcão Lacerda, Rafael" userId="40181ff7-4694-4c53-a944-7b7d63582359" providerId="ADAL" clId="{3B4D5F63-EA56-4616-8A78-0C43AB7049E7}" dt="2025-12-08T00:26:41.841" v="6329" actId="790"/>
          <ac:spMkLst>
            <pc:docMk/>
            <pc:sldMk cId="2578309695" sldId="948"/>
            <ac:spMk id="6" creationId="{8757E1C3-6C61-7E2F-5B0D-263A0CB29883}"/>
          </ac:spMkLst>
        </pc:spChg>
        <pc:spChg chg="mod">
          <ac:chgData name="Falcão Lacerda, Rafael" userId="40181ff7-4694-4c53-a944-7b7d63582359" providerId="ADAL" clId="{3B4D5F63-EA56-4616-8A78-0C43AB7049E7}" dt="2025-12-08T00:26:41.841" v="6329" actId="790"/>
          <ac:spMkLst>
            <pc:docMk/>
            <pc:sldMk cId="2578309695" sldId="948"/>
            <ac:spMk id="7" creationId="{5EABEC34-55AE-C0B3-07CF-99C4938BE83B}"/>
          </ac:spMkLst>
        </pc:spChg>
        <pc:spChg chg="add del mod modVis">
          <ac:chgData name="Falcão Lacerda, Rafael" userId="40181ff7-4694-4c53-a944-7b7d63582359" providerId="ADAL" clId="{3B4D5F63-EA56-4616-8A78-0C43AB7049E7}" dt="2025-12-08T00:31:35.702" v="11480"/>
          <ac:spMkLst>
            <pc:docMk/>
            <pc:sldMk cId="2578309695" sldId="948"/>
            <ac:spMk id="8" creationId="{B906C405-5BD5-B75F-3AEF-E0D47C2BA0CF}"/>
          </ac:spMkLst>
        </pc:spChg>
        <pc:spChg chg="add del mod modVis">
          <ac:chgData name="Falcão Lacerda, Rafael" userId="40181ff7-4694-4c53-a944-7b7d63582359" providerId="ADAL" clId="{3B4D5F63-EA56-4616-8A78-0C43AB7049E7}" dt="2025-12-08T00:31:36.366" v="11506"/>
          <ac:spMkLst>
            <pc:docMk/>
            <pc:sldMk cId="2578309695" sldId="948"/>
            <ac:spMk id="9" creationId="{EF601A9C-2A19-FBED-1AB8-AC693A3176BC}"/>
          </ac:spMkLst>
        </pc:spChg>
        <pc:spChg chg="mod">
          <ac:chgData name="Falcão Lacerda, Rafael" userId="40181ff7-4694-4c53-a944-7b7d63582359" providerId="ADAL" clId="{3B4D5F63-EA56-4616-8A78-0C43AB7049E7}" dt="2025-12-08T00:31:03.049" v="11430" actId="20577"/>
          <ac:spMkLst>
            <pc:docMk/>
            <pc:sldMk cId="2578309695" sldId="948"/>
            <ac:spMk id="14" creationId="{47D6F310-039F-F527-D692-ED665146348D}"/>
          </ac:spMkLst>
        </pc:spChg>
        <pc:spChg chg="mod">
          <ac:chgData name="Falcão Lacerda, Rafael" userId="40181ff7-4694-4c53-a944-7b7d63582359" providerId="ADAL" clId="{3B4D5F63-EA56-4616-8A78-0C43AB7049E7}" dt="2025-12-08T00:31:06.545" v="11432" actId="20577"/>
          <ac:spMkLst>
            <pc:docMk/>
            <pc:sldMk cId="2578309695" sldId="948"/>
            <ac:spMk id="15" creationId="{66DCEF12-4BED-C75B-D8B7-2E764D4FA19F}"/>
          </ac:spMkLst>
        </pc:spChg>
        <pc:spChg chg="mod">
          <ac:chgData name="Falcão Lacerda, Rafael" userId="40181ff7-4694-4c53-a944-7b7d63582359" providerId="ADAL" clId="{3B4D5F63-EA56-4616-8A78-0C43AB7049E7}" dt="2025-12-08T00:31:09.832" v="11434" actId="20577"/>
          <ac:spMkLst>
            <pc:docMk/>
            <pc:sldMk cId="2578309695" sldId="948"/>
            <ac:spMk id="16" creationId="{B5DD634E-5C11-A74C-B642-EAD5E639EF2A}"/>
          </ac:spMkLst>
        </pc:spChg>
        <pc:spChg chg="mod">
          <ac:chgData name="Falcão Lacerda, Rafael" userId="40181ff7-4694-4c53-a944-7b7d63582359" providerId="ADAL" clId="{3B4D5F63-EA56-4616-8A78-0C43AB7049E7}" dt="2025-12-08T00:31:12.896" v="11436" actId="20577"/>
          <ac:spMkLst>
            <pc:docMk/>
            <pc:sldMk cId="2578309695" sldId="948"/>
            <ac:spMk id="17" creationId="{F08EDFA8-BC75-9BA1-1166-60B87E78DB59}"/>
          </ac:spMkLst>
        </pc:spChg>
        <pc:spChg chg="mod">
          <ac:chgData name="Falcão Lacerda, Rafael" userId="40181ff7-4694-4c53-a944-7b7d63582359" providerId="ADAL" clId="{3B4D5F63-EA56-4616-8A78-0C43AB7049E7}" dt="2025-12-08T00:26:41.841" v="6329" actId="790"/>
          <ac:spMkLst>
            <pc:docMk/>
            <pc:sldMk cId="2578309695" sldId="948"/>
            <ac:spMk id="21" creationId="{C3DD9CAD-9EB0-E76B-F188-6ACD43A6FB93}"/>
          </ac:spMkLst>
        </pc:spChg>
        <pc:spChg chg="mod">
          <ac:chgData name="Falcão Lacerda, Rafael" userId="40181ff7-4694-4c53-a944-7b7d63582359" providerId="ADAL" clId="{3B4D5F63-EA56-4616-8A78-0C43AB7049E7}" dt="2025-12-08T00:31:16.007" v="11438" actId="20577"/>
          <ac:spMkLst>
            <pc:docMk/>
            <pc:sldMk cId="2578309695" sldId="948"/>
            <ac:spMk id="22" creationId="{F0166E55-77D8-9143-92B3-7C0226B44FFB}"/>
          </ac:spMkLst>
        </pc:spChg>
        <pc:spChg chg="mod">
          <ac:chgData name="Falcão Lacerda, Rafael" userId="40181ff7-4694-4c53-a944-7b7d63582359" providerId="ADAL" clId="{3B4D5F63-EA56-4616-8A78-0C43AB7049E7}" dt="2025-12-08T00:31:36.335" v="11485" actId="948"/>
          <ac:spMkLst>
            <pc:docMk/>
            <pc:sldMk cId="2578309695" sldId="948"/>
            <ac:spMk id="38" creationId="{C37C2523-4212-2F83-D79C-7BE96A9B7D27}"/>
          </ac:spMkLst>
        </pc:spChg>
        <pc:graphicFrameChg chg="add mod ord modVis">
          <ac:chgData name="Falcão Lacerda, Rafael" userId="40181ff7-4694-4c53-a944-7b7d63582359" providerId="ADAL" clId="{3B4D5F63-EA56-4616-8A78-0C43AB7049E7}" dt="2025-12-08T00:31:36.381" v="11508"/>
          <ac:graphicFrameMkLst>
            <pc:docMk/>
            <pc:sldMk cId="2578309695" sldId="948"/>
            <ac:graphicFrameMk id="3" creationId="{FD60DDAC-39FB-806C-CE6A-A87DC85E3823}"/>
          </ac:graphicFrameMkLst>
        </pc:graphicFrameChg>
      </pc:sldChg>
      <pc:sldChg chg="addSp delSp modSp mod modShow modNotes">
        <pc:chgData name="Falcão Lacerda, Rafael" userId="40181ff7-4694-4c53-a944-7b7d63582359" providerId="ADAL" clId="{3B4D5F63-EA56-4616-8A78-0C43AB7049E7}" dt="2025-12-08T17:18:13.731" v="34035" actId="729"/>
        <pc:sldMkLst>
          <pc:docMk/>
          <pc:sldMk cId="285589477" sldId="949"/>
        </pc:sldMkLst>
        <pc:spChg chg="mod">
          <ac:chgData name="Falcão Lacerda, Rafael" userId="40181ff7-4694-4c53-a944-7b7d63582359" providerId="ADAL" clId="{3B4D5F63-EA56-4616-8A78-0C43AB7049E7}" dt="2025-12-08T00:26:41.841" v="6329" actId="790"/>
          <ac:spMkLst>
            <pc:docMk/>
            <pc:sldMk cId="285589477" sldId="949"/>
            <ac:spMk id="2" creationId="{B005A97F-C218-CD4F-46B6-51E3114A2BF5}"/>
          </ac:spMkLst>
        </pc:spChg>
        <pc:spChg chg="mod">
          <ac:chgData name="Falcão Lacerda, Rafael" userId="40181ff7-4694-4c53-a944-7b7d63582359" providerId="ADAL" clId="{3B4D5F63-EA56-4616-8A78-0C43AB7049E7}" dt="2025-12-08T00:26:41.841" v="6329" actId="790"/>
          <ac:spMkLst>
            <pc:docMk/>
            <pc:sldMk cId="285589477" sldId="949"/>
            <ac:spMk id="3" creationId="{77A97A9D-710E-20C8-9095-B5ED50DA91C6}"/>
          </ac:spMkLst>
        </pc:spChg>
        <pc:spChg chg="mod">
          <ac:chgData name="Falcão Lacerda, Rafael" userId="40181ff7-4694-4c53-a944-7b7d63582359" providerId="ADAL" clId="{3B4D5F63-EA56-4616-8A78-0C43AB7049E7}" dt="2025-12-08T00:26:41.841" v="6329" actId="790"/>
          <ac:spMkLst>
            <pc:docMk/>
            <pc:sldMk cId="285589477" sldId="949"/>
            <ac:spMk id="4" creationId="{EC9CECFF-C0DA-5274-3276-C473A46C94DE}"/>
          </ac:spMkLst>
        </pc:spChg>
        <pc:spChg chg="mod">
          <ac:chgData name="Falcão Lacerda, Rafael" userId="40181ff7-4694-4c53-a944-7b7d63582359" providerId="ADAL" clId="{3B4D5F63-EA56-4616-8A78-0C43AB7049E7}" dt="2025-12-08T00:26:41.841" v="6329" actId="790"/>
          <ac:spMkLst>
            <pc:docMk/>
            <pc:sldMk cId="285589477" sldId="949"/>
            <ac:spMk id="5" creationId="{1BB273D3-6CC0-043B-BAC6-040028D5A1C3}"/>
          </ac:spMkLst>
        </pc:spChg>
        <pc:spChg chg="mod">
          <ac:chgData name="Falcão Lacerda, Rafael" userId="40181ff7-4694-4c53-a944-7b7d63582359" providerId="ADAL" clId="{3B4D5F63-EA56-4616-8A78-0C43AB7049E7}" dt="2025-12-08T00:26:41.841" v="6329" actId="790"/>
          <ac:spMkLst>
            <pc:docMk/>
            <pc:sldMk cId="285589477" sldId="949"/>
            <ac:spMk id="6" creationId="{FC9A33EA-9F9D-7CA2-2D9B-65D619B33104}"/>
          </ac:spMkLst>
        </pc:spChg>
        <pc:spChg chg="mod">
          <ac:chgData name="Falcão Lacerda, Rafael" userId="40181ff7-4694-4c53-a944-7b7d63582359" providerId="ADAL" clId="{3B4D5F63-EA56-4616-8A78-0C43AB7049E7}" dt="2025-12-08T00:26:41.841" v="6329" actId="790"/>
          <ac:spMkLst>
            <pc:docMk/>
            <pc:sldMk cId="285589477" sldId="949"/>
            <ac:spMk id="7" creationId="{CC730575-A537-87F7-2B22-B7DA211B177E}"/>
          </ac:spMkLst>
        </pc:spChg>
        <pc:spChg chg="mod">
          <ac:chgData name="Falcão Lacerda, Rafael" userId="40181ff7-4694-4c53-a944-7b7d63582359" providerId="ADAL" clId="{3B4D5F63-EA56-4616-8A78-0C43AB7049E7}" dt="2025-12-08T00:26:40.482" v="5800" actId="947"/>
          <ac:spMkLst>
            <pc:docMk/>
            <pc:sldMk cId="285589477" sldId="949"/>
            <ac:spMk id="8" creationId="{97DE0E08-C929-3749-D7FD-01AD4C208CDA}"/>
          </ac:spMkLst>
        </pc:spChg>
        <pc:spChg chg="mod">
          <ac:chgData name="Falcão Lacerda, Rafael" userId="40181ff7-4694-4c53-a944-7b7d63582359" providerId="ADAL" clId="{3B4D5F63-EA56-4616-8A78-0C43AB7049E7}" dt="2025-12-08T00:26:41.841" v="6329" actId="790"/>
          <ac:spMkLst>
            <pc:docMk/>
            <pc:sldMk cId="285589477" sldId="949"/>
            <ac:spMk id="9" creationId="{EC6C3424-EF13-D346-9342-E6390A0D18A1}"/>
          </ac:spMkLst>
        </pc:spChg>
        <pc:spChg chg="mod">
          <ac:chgData name="Falcão Lacerda, Rafael" userId="40181ff7-4694-4c53-a944-7b7d63582359" providerId="ADAL" clId="{3B4D5F63-EA56-4616-8A78-0C43AB7049E7}" dt="2025-12-08T00:26:41.841" v="6329" actId="790"/>
          <ac:spMkLst>
            <pc:docMk/>
            <pc:sldMk cId="285589477" sldId="949"/>
            <ac:spMk id="10" creationId="{62AD31B9-A32A-A2C0-B3C3-CD32F2E31CE5}"/>
          </ac:spMkLst>
        </pc:spChg>
        <pc:spChg chg="mod">
          <ac:chgData name="Falcão Lacerda, Rafael" userId="40181ff7-4694-4c53-a944-7b7d63582359" providerId="ADAL" clId="{3B4D5F63-EA56-4616-8A78-0C43AB7049E7}" dt="2025-12-08T00:26:48.123" v="8917" actId="948"/>
          <ac:spMkLst>
            <pc:docMk/>
            <pc:sldMk cId="285589477" sldId="949"/>
            <ac:spMk id="11" creationId="{79F9B440-27A4-16D9-399B-AC33E065D51E}"/>
          </ac:spMkLst>
        </pc:spChg>
        <pc:spChg chg="add del mod modVis">
          <ac:chgData name="Falcão Lacerda, Rafael" userId="40181ff7-4694-4c53-a944-7b7d63582359" providerId="ADAL" clId="{3B4D5F63-EA56-4616-8A78-0C43AB7049E7}" dt="2025-12-08T00:26:55.495" v="11203"/>
          <ac:spMkLst>
            <pc:docMk/>
            <pc:sldMk cId="285589477" sldId="949"/>
            <ac:spMk id="12" creationId="{223A8847-2453-8D16-3668-6FF9A23A4BE1}"/>
          </ac:spMkLst>
        </pc:spChg>
        <pc:spChg chg="mod">
          <ac:chgData name="Falcão Lacerda, Rafael" userId="40181ff7-4694-4c53-a944-7b7d63582359" providerId="ADAL" clId="{3B4D5F63-EA56-4616-8A78-0C43AB7049E7}" dt="2025-12-08T00:26:41.841" v="6329" actId="790"/>
          <ac:spMkLst>
            <pc:docMk/>
            <pc:sldMk cId="285589477" sldId="949"/>
            <ac:spMk id="13" creationId="{47163485-434B-1226-469D-B490E351B697}"/>
          </ac:spMkLst>
        </pc:spChg>
        <pc:spChg chg="mod">
          <ac:chgData name="Falcão Lacerda, Rafael" userId="40181ff7-4694-4c53-a944-7b7d63582359" providerId="ADAL" clId="{3B4D5F63-EA56-4616-8A78-0C43AB7049E7}" dt="2025-12-08T00:26:40.497" v="5808" actId="947"/>
          <ac:spMkLst>
            <pc:docMk/>
            <pc:sldMk cId="285589477" sldId="949"/>
            <ac:spMk id="14" creationId="{B4E86CDD-2F9C-712D-29E5-E8D27FCFEED8}"/>
          </ac:spMkLst>
        </pc:spChg>
        <pc:graphicFrameChg chg="add mod ord modVis">
          <ac:chgData name="Falcão Lacerda, Rafael" userId="40181ff7-4694-4c53-a944-7b7d63582359" providerId="ADAL" clId="{3B4D5F63-EA56-4616-8A78-0C43AB7049E7}" dt="2025-12-08T00:26:55.544" v="11217"/>
          <ac:graphicFrameMkLst>
            <pc:docMk/>
            <pc:sldMk cId="285589477" sldId="949"/>
            <ac:graphicFrameMk id="15" creationId="{EA4FDCE8-658E-08C2-EE49-020248ADBD72}"/>
          </ac:graphicFrameMkLst>
        </pc:graphicFrameChg>
      </pc:sldChg>
      <pc:sldChg chg="addSp delSp modSp mod modShow modNotes">
        <pc:chgData name="Falcão Lacerda, Rafael" userId="40181ff7-4694-4c53-a944-7b7d63582359" providerId="ADAL" clId="{3B4D5F63-EA56-4616-8A78-0C43AB7049E7}" dt="2025-12-08T17:18:13.731" v="34035" actId="729"/>
        <pc:sldMkLst>
          <pc:docMk/>
          <pc:sldMk cId="548428773" sldId="950"/>
        </pc:sldMkLst>
        <pc:spChg chg="add del mod modVis">
          <ac:chgData name="Falcão Lacerda, Rafael" userId="40181ff7-4694-4c53-a944-7b7d63582359" providerId="ADAL" clId="{3B4D5F63-EA56-4616-8A78-0C43AB7049E7}" dt="2025-12-08T00:26:54.461" v="10821"/>
          <ac:spMkLst>
            <pc:docMk/>
            <pc:sldMk cId="548428773" sldId="950"/>
            <ac:spMk id="2" creationId="{EAA742B6-7379-CF44-3B5D-D364C975CBE4}"/>
          </ac:spMkLst>
        </pc:spChg>
        <pc:spChg chg="mod">
          <ac:chgData name="Falcão Lacerda, Rafael" userId="40181ff7-4694-4c53-a944-7b7d63582359" providerId="ADAL" clId="{3B4D5F63-EA56-4616-8A78-0C43AB7049E7}" dt="2025-12-08T00:26:41.841" v="6329" actId="790"/>
          <ac:spMkLst>
            <pc:docMk/>
            <pc:sldMk cId="548428773" sldId="950"/>
            <ac:spMk id="3" creationId="{843414A3-A864-3792-99F0-813A86435E8E}"/>
          </ac:spMkLst>
        </pc:spChg>
        <pc:spChg chg="mod">
          <ac:chgData name="Falcão Lacerda, Rafael" userId="40181ff7-4694-4c53-a944-7b7d63582359" providerId="ADAL" clId="{3B4D5F63-EA56-4616-8A78-0C43AB7049E7}" dt="2025-12-08T00:26:41.841" v="6329" actId="790"/>
          <ac:spMkLst>
            <pc:docMk/>
            <pc:sldMk cId="548428773" sldId="950"/>
            <ac:spMk id="4" creationId="{74A78484-416F-7C6B-6A06-7F33030ED782}"/>
          </ac:spMkLst>
        </pc:spChg>
        <pc:spChg chg="mod">
          <ac:chgData name="Falcão Lacerda, Rafael" userId="40181ff7-4694-4c53-a944-7b7d63582359" providerId="ADAL" clId="{3B4D5F63-EA56-4616-8A78-0C43AB7049E7}" dt="2025-12-08T00:26:47.287" v="8453" actId="948"/>
          <ac:spMkLst>
            <pc:docMk/>
            <pc:sldMk cId="548428773" sldId="950"/>
            <ac:spMk id="8" creationId="{76668550-21E4-60C8-180E-8DB7B0505307}"/>
          </ac:spMkLst>
        </pc:spChg>
        <pc:graphicFrameChg chg="add mod ord modVis">
          <ac:chgData name="Falcão Lacerda, Rafael" userId="40181ff7-4694-4c53-a944-7b7d63582359" providerId="ADAL" clId="{3B4D5F63-EA56-4616-8A78-0C43AB7049E7}" dt="2025-12-08T00:26:54.500" v="10835"/>
          <ac:graphicFrameMkLst>
            <pc:docMk/>
            <pc:sldMk cId="548428773" sldId="950"/>
            <ac:graphicFrameMk id="5" creationId="{3AA8963F-DE4F-D51D-48CC-257595D826E2}"/>
          </ac:graphicFrameMkLst>
        </pc:graphicFrameChg>
      </pc:sldChg>
      <pc:sldChg chg="addSp delSp modSp mod modShow modNotes">
        <pc:chgData name="Falcão Lacerda, Rafael" userId="40181ff7-4694-4c53-a944-7b7d63582359" providerId="ADAL" clId="{3B4D5F63-EA56-4616-8A78-0C43AB7049E7}" dt="2025-12-08T17:18:13.731" v="34035" actId="729"/>
        <pc:sldMkLst>
          <pc:docMk/>
          <pc:sldMk cId="2721276496" sldId="954"/>
        </pc:sldMkLst>
        <pc:spChg chg="add del mod modVis">
          <ac:chgData name="Falcão Lacerda, Rafael" userId="40181ff7-4694-4c53-a944-7b7d63582359" providerId="ADAL" clId="{3B4D5F63-EA56-4616-8A78-0C43AB7049E7}" dt="2025-12-08T00:26:54.505" v="10837"/>
          <ac:spMkLst>
            <pc:docMk/>
            <pc:sldMk cId="2721276496" sldId="954"/>
            <ac:spMk id="2" creationId="{FD91F9A0-BD94-CB1B-6AFB-BE63CAE35BCD}"/>
          </ac:spMkLst>
        </pc:spChg>
        <pc:spChg chg="mod">
          <ac:chgData name="Falcão Lacerda, Rafael" userId="40181ff7-4694-4c53-a944-7b7d63582359" providerId="ADAL" clId="{3B4D5F63-EA56-4616-8A78-0C43AB7049E7}" dt="2025-12-08T00:26:47.312" v="8473" actId="948"/>
          <ac:spMkLst>
            <pc:docMk/>
            <pc:sldMk cId="2721276496" sldId="954"/>
            <ac:spMk id="15" creationId="{ACB760FA-1F83-ECF8-3399-296536C15596}"/>
          </ac:spMkLst>
        </pc:spChg>
        <pc:spChg chg="mod">
          <ac:chgData name="Falcão Lacerda, Rafael" userId="40181ff7-4694-4c53-a944-7b7d63582359" providerId="ADAL" clId="{3B4D5F63-EA56-4616-8A78-0C43AB7049E7}" dt="2025-12-08T00:26:41.841" v="6329" actId="790"/>
          <ac:spMkLst>
            <pc:docMk/>
            <pc:sldMk cId="2721276496" sldId="954"/>
            <ac:spMk id="21" creationId="{88DB19BE-0707-388E-1BD9-8493DA0D3114}"/>
          </ac:spMkLst>
        </pc:spChg>
        <pc:spChg chg="mod">
          <ac:chgData name="Falcão Lacerda, Rafael" userId="40181ff7-4694-4c53-a944-7b7d63582359" providerId="ADAL" clId="{3B4D5F63-EA56-4616-8A78-0C43AB7049E7}" dt="2025-12-08T00:26:41.841" v="6329" actId="790"/>
          <ac:spMkLst>
            <pc:docMk/>
            <pc:sldMk cId="2721276496" sldId="954"/>
            <ac:spMk id="22" creationId="{E976FD87-43C9-6DAD-BE46-0010614A722F}"/>
          </ac:spMkLst>
        </pc:spChg>
        <pc:spChg chg="mod">
          <ac:chgData name="Falcão Lacerda, Rafael" userId="40181ff7-4694-4c53-a944-7b7d63582359" providerId="ADAL" clId="{3B4D5F63-EA56-4616-8A78-0C43AB7049E7}" dt="2025-12-08T00:26:39.632" v="5578" actId="947"/>
          <ac:spMkLst>
            <pc:docMk/>
            <pc:sldMk cId="2721276496" sldId="954"/>
            <ac:spMk id="23" creationId="{548C5BAC-CDC7-20CC-D7FD-F976B8C0CC5C}"/>
          </ac:spMkLst>
        </pc:spChg>
        <pc:spChg chg="mod">
          <ac:chgData name="Falcão Lacerda, Rafael" userId="40181ff7-4694-4c53-a944-7b7d63582359" providerId="ADAL" clId="{3B4D5F63-EA56-4616-8A78-0C43AB7049E7}" dt="2025-12-08T00:26:41.841" v="6329" actId="790"/>
          <ac:spMkLst>
            <pc:docMk/>
            <pc:sldMk cId="2721276496" sldId="954"/>
            <ac:spMk id="24" creationId="{1ACA093B-69B9-89F5-0834-2780FB614164}"/>
          </ac:spMkLst>
        </pc:spChg>
        <pc:spChg chg="mod">
          <ac:chgData name="Falcão Lacerda, Rafael" userId="40181ff7-4694-4c53-a944-7b7d63582359" providerId="ADAL" clId="{3B4D5F63-EA56-4616-8A78-0C43AB7049E7}" dt="2025-12-08T00:26:41.841" v="6329" actId="790"/>
          <ac:spMkLst>
            <pc:docMk/>
            <pc:sldMk cId="2721276496" sldId="954"/>
            <ac:spMk id="25" creationId="{E519703D-28A6-0E79-FCB9-947FAD4EB1B8}"/>
          </ac:spMkLst>
        </pc:spChg>
        <pc:spChg chg="mod">
          <ac:chgData name="Falcão Lacerda, Rafael" userId="40181ff7-4694-4c53-a944-7b7d63582359" providerId="ADAL" clId="{3B4D5F63-EA56-4616-8A78-0C43AB7049E7}" dt="2025-12-08T00:26:41.841" v="6329" actId="790"/>
          <ac:spMkLst>
            <pc:docMk/>
            <pc:sldMk cId="2721276496" sldId="954"/>
            <ac:spMk id="26" creationId="{DE8CD2FF-B907-5D01-63FA-4D87F7F25FD5}"/>
          </ac:spMkLst>
        </pc:spChg>
        <pc:spChg chg="mod">
          <ac:chgData name="Falcão Lacerda, Rafael" userId="40181ff7-4694-4c53-a944-7b7d63582359" providerId="ADAL" clId="{3B4D5F63-EA56-4616-8A78-0C43AB7049E7}" dt="2025-12-08T00:26:41.841" v="6329" actId="790"/>
          <ac:spMkLst>
            <pc:docMk/>
            <pc:sldMk cId="2721276496" sldId="954"/>
            <ac:spMk id="27" creationId="{B93119AE-66DB-787F-C171-5BD32F0D5AF8}"/>
          </ac:spMkLst>
        </pc:spChg>
        <pc:spChg chg="mod">
          <ac:chgData name="Falcão Lacerda, Rafael" userId="40181ff7-4694-4c53-a944-7b7d63582359" providerId="ADAL" clId="{3B4D5F63-EA56-4616-8A78-0C43AB7049E7}" dt="2025-12-08T00:26:41.841" v="6329" actId="790"/>
          <ac:spMkLst>
            <pc:docMk/>
            <pc:sldMk cId="2721276496" sldId="954"/>
            <ac:spMk id="28" creationId="{F535CA94-BE4F-E31E-5B44-BEE2E3C8518A}"/>
          </ac:spMkLst>
        </pc:spChg>
        <pc:spChg chg="mod">
          <ac:chgData name="Falcão Lacerda, Rafael" userId="40181ff7-4694-4c53-a944-7b7d63582359" providerId="ADAL" clId="{3B4D5F63-EA56-4616-8A78-0C43AB7049E7}" dt="2025-12-08T00:26:39.660" v="5590" actId="947"/>
          <ac:spMkLst>
            <pc:docMk/>
            <pc:sldMk cId="2721276496" sldId="954"/>
            <ac:spMk id="29" creationId="{20E6A1B7-A3C8-26D6-B28E-390C7527BCF7}"/>
          </ac:spMkLst>
        </pc:spChg>
        <pc:spChg chg="mod">
          <ac:chgData name="Falcão Lacerda, Rafael" userId="40181ff7-4694-4c53-a944-7b7d63582359" providerId="ADAL" clId="{3B4D5F63-EA56-4616-8A78-0C43AB7049E7}" dt="2025-12-08T00:26:41.841" v="6329" actId="790"/>
          <ac:spMkLst>
            <pc:docMk/>
            <pc:sldMk cId="2721276496" sldId="954"/>
            <ac:spMk id="30" creationId="{B5FAC2A3-0EF0-D240-AB3B-63BBB7B9AA0F}"/>
          </ac:spMkLst>
        </pc:spChg>
        <pc:spChg chg="mod">
          <ac:chgData name="Falcão Lacerda, Rafael" userId="40181ff7-4694-4c53-a944-7b7d63582359" providerId="ADAL" clId="{3B4D5F63-EA56-4616-8A78-0C43AB7049E7}" dt="2025-12-08T00:26:41.841" v="6329" actId="790"/>
          <ac:spMkLst>
            <pc:docMk/>
            <pc:sldMk cId="2721276496" sldId="954"/>
            <ac:spMk id="31" creationId="{3179240E-1225-8621-6FE1-1265D42FF6E1}"/>
          </ac:spMkLst>
        </pc:spChg>
        <pc:spChg chg="mod">
          <ac:chgData name="Falcão Lacerda, Rafael" userId="40181ff7-4694-4c53-a944-7b7d63582359" providerId="ADAL" clId="{3B4D5F63-EA56-4616-8A78-0C43AB7049E7}" dt="2025-12-08T00:26:39.671" v="5596" actId="947"/>
          <ac:spMkLst>
            <pc:docMk/>
            <pc:sldMk cId="2721276496" sldId="954"/>
            <ac:spMk id="32" creationId="{104063FB-BD29-1D44-5A83-0D45B04C8CF5}"/>
          </ac:spMkLst>
        </pc:spChg>
        <pc:spChg chg="mod">
          <ac:chgData name="Falcão Lacerda, Rafael" userId="40181ff7-4694-4c53-a944-7b7d63582359" providerId="ADAL" clId="{3B4D5F63-EA56-4616-8A78-0C43AB7049E7}" dt="2025-12-08T00:26:41.841" v="6329" actId="790"/>
          <ac:spMkLst>
            <pc:docMk/>
            <pc:sldMk cId="2721276496" sldId="954"/>
            <ac:spMk id="33" creationId="{274360F3-FDC4-6046-4032-F905F05B8EF4}"/>
          </ac:spMkLst>
        </pc:spChg>
        <pc:graphicFrameChg chg="add mod ord modVis">
          <ac:chgData name="Falcão Lacerda, Rafael" userId="40181ff7-4694-4c53-a944-7b7d63582359" providerId="ADAL" clId="{3B4D5F63-EA56-4616-8A78-0C43AB7049E7}" dt="2025-12-08T00:26:54.557" v="10851"/>
          <ac:graphicFrameMkLst>
            <pc:docMk/>
            <pc:sldMk cId="2721276496" sldId="954"/>
            <ac:graphicFrameMk id="3" creationId="{9DA13F18-6294-5D27-C5D8-5A2B2E191869}"/>
          </ac:graphicFrameMkLst>
        </pc:graphicFrameChg>
      </pc:sldChg>
      <pc:sldChg chg="addSp delSp modSp mod modShow modNotes">
        <pc:chgData name="Falcão Lacerda, Rafael" userId="40181ff7-4694-4c53-a944-7b7d63582359" providerId="ADAL" clId="{3B4D5F63-EA56-4616-8A78-0C43AB7049E7}" dt="2025-12-08T17:18:13.731" v="34035" actId="729"/>
        <pc:sldMkLst>
          <pc:docMk/>
          <pc:sldMk cId="3573463338" sldId="955"/>
        </pc:sldMkLst>
        <pc:spChg chg="add del mod modVis">
          <ac:chgData name="Falcão Lacerda, Rafael" userId="40181ff7-4694-4c53-a944-7b7d63582359" providerId="ADAL" clId="{3B4D5F63-EA56-4616-8A78-0C43AB7049E7}" dt="2025-12-08T00:26:54.723" v="10917"/>
          <ac:spMkLst>
            <pc:docMk/>
            <pc:sldMk cId="3573463338" sldId="955"/>
            <ac:spMk id="2" creationId="{F340482A-9C31-5C14-A67D-9B22AEE72333}"/>
          </ac:spMkLst>
        </pc:spChg>
        <pc:spChg chg="mod">
          <ac:chgData name="Falcão Lacerda, Rafael" userId="40181ff7-4694-4c53-a944-7b7d63582359" providerId="ADAL" clId="{3B4D5F63-EA56-4616-8A78-0C43AB7049E7}" dt="2025-12-08T00:26:47.530" v="8575" actId="948"/>
          <ac:spMkLst>
            <pc:docMk/>
            <pc:sldMk cId="3573463338" sldId="955"/>
            <ac:spMk id="11" creationId="{59C43121-A658-CF8F-D3C1-02D35A65FB03}"/>
          </ac:spMkLst>
        </pc:spChg>
        <pc:spChg chg="mod">
          <ac:chgData name="Falcão Lacerda, Rafael" userId="40181ff7-4694-4c53-a944-7b7d63582359" providerId="ADAL" clId="{3B4D5F63-EA56-4616-8A78-0C43AB7049E7}" dt="2025-12-08T00:26:41.841" v="6329" actId="790"/>
          <ac:spMkLst>
            <pc:docMk/>
            <pc:sldMk cId="3573463338" sldId="955"/>
            <ac:spMk id="41" creationId="{E336E114-91C8-549C-AA45-B2FFC0408F9F}"/>
          </ac:spMkLst>
        </pc:spChg>
        <pc:spChg chg="mod">
          <ac:chgData name="Falcão Lacerda, Rafael" userId="40181ff7-4694-4c53-a944-7b7d63582359" providerId="ADAL" clId="{3B4D5F63-EA56-4616-8A78-0C43AB7049E7}" dt="2025-12-08T00:26:41.841" v="6329" actId="790"/>
          <ac:spMkLst>
            <pc:docMk/>
            <pc:sldMk cId="3573463338" sldId="955"/>
            <ac:spMk id="45" creationId="{39212691-CE91-DDAC-0F88-00912EF49261}"/>
          </ac:spMkLst>
        </pc:spChg>
        <pc:spChg chg="mod">
          <ac:chgData name="Falcão Lacerda, Rafael" userId="40181ff7-4694-4c53-a944-7b7d63582359" providerId="ADAL" clId="{3B4D5F63-EA56-4616-8A78-0C43AB7049E7}" dt="2025-12-08T00:26:41.841" v="6329" actId="790"/>
          <ac:spMkLst>
            <pc:docMk/>
            <pc:sldMk cId="3573463338" sldId="955"/>
            <ac:spMk id="56" creationId="{549452E2-1C9C-5E73-036D-F44EE9809F67}"/>
          </ac:spMkLst>
        </pc:spChg>
        <pc:spChg chg="mod">
          <ac:chgData name="Falcão Lacerda, Rafael" userId="40181ff7-4694-4c53-a944-7b7d63582359" providerId="ADAL" clId="{3B4D5F63-EA56-4616-8A78-0C43AB7049E7}" dt="2025-12-08T00:26:41.841" v="6329" actId="790"/>
          <ac:spMkLst>
            <pc:docMk/>
            <pc:sldMk cId="3573463338" sldId="955"/>
            <ac:spMk id="57" creationId="{82079157-B749-2AC8-DE32-669D46D3F5C2}"/>
          </ac:spMkLst>
        </pc:spChg>
        <pc:graphicFrameChg chg="add mod ord modVis">
          <ac:chgData name="Falcão Lacerda, Rafael" userId="40181ff7-4694-4c53-a944-7b7d63582359" providerId="ADAL" clId="{3B4D5F63-EA56-4616-8A78-0C43AB7049E7}" dt="2025-12-08T00:26:54.752" v="10931"/>
          <ac:graphicFrameMkLst>
            <pc:docMk/>
            <pc:sldMk cId="3573463338" sldId="955"/>
            <ac:graphicFrameMk id="3" creationId="{86067610-6939-D211-7F1F-C1676F4777DB}"/>
          </ac:graphicFrameMkLst>
        </pc:graphicFrameChg>
      </pc:sldChg>
      <pc:sldChg chg="addSp delSp modSp mod modShow modNotes">
        <pc:chgData name="Falcão Lacerda, Rafael" userId="40181ff7-4694-4c53-a944-7b7d63582359" providerId="ADAL" clId="{3B4D5F63-EA56-4616-8A78-0C43AB7049E7}" dt="2025-12-08T17:18:13.731" v="34035" actId="729"/>
        <pc:sldMkLst>
          <pc:docMk/>
          <pc:sldMk cId="3916972113" sldId="956"/>
        </pc:sldMkLst>
        <pc:spChg chg="add del mod modVis">
          <ac:chgData name="Falcão Lacerda, Rafael" userId="40181ff7-4694-4c53-a944-7b7d63582359" providerId="ADAL" clId="{3B4D5F63-EA56-4616-8A78-0C43AB7049E7}" dt="2025-12-08T00:26:54.976" v="11013"/>
          <ac:spMkLst>
            <pc:docMk/>
            <pc:sldMk cId="3916972113" sldId="956"/>
            <ac:spMk id="2" creationId="{AE2E551E-14BD-2146-A02A-13553E276F79}"/>
          </ac:spMkLst>
        </pc:spChg>
        <pc:spChg chg="mod">
          <ac:chgData name="Falcão Lacerda, Rafael" userId="40181ff7-4694-4c53-a944-7b7d63582359" providerId="ADAL" clId="{3B4D5F63-EA56-4616-8A78-0C43AB7049E7}" dt="2025-12-08T00:26:47.731" v="8695" actId="948"/>
          <ac:spMkLst>
            <pc:docMk/>
            <pc:sldMk cId="3916972113" sldId="956"/>
            <ac:spMk id="4" creationId="{5B5B8087-2810-16C3-2B67-4BB1E8DE40D8}"/>
          </ac:spMkLst>
        </pc:spChg>
        <pc:graphicFrameChg chg="add mod ord modVis">
          <ac:chgData name="Falcão Lacerda, Rafael" userId="40181ff7-4694-4c53-a944-7b7d63582359" providerId="ADAL" clId="{3B4D5F63-EA56-4616-8A78-0C43AB7049E7}" dt="2025-12-08T00:26:55.014" v="11027"/>
          <ac:graphicFrameMkLst>
            <pc:docMk/>
            <pc:sldMk cId="3916972113" sldId="956"/>
            <ac:graphicFrameMk id="3" creationId="{2599D774-CC33-8B3F-FE60-CE6037B40BEA}"/>
          </ac:graphicFrameMkLst>
        </pc:graphicFrameChg>
      </pc:sldChg>
      <pc:sldChg chg="del">
        <pc:chgData name="Falcão Lacerda, Rafael" userId="40181ff7-4694-4c53-a944-7b7d63582359" providerId="ADAL" clId="{3B4D5F63-EA56-4616-8A78-0C43AB7049E7}" dt="2025-12-07T17:59:59.479" v="0" actId="47"/>
        <pc:sldMkLst>
          <pc:docMk/>
          <pc:sldMk cId="3535283276" sldId="957"/>
        </pc:sldMkLst>
      </pc:sldChg>
      <pc:sldChg chg="del">
        <pc:chgData name="Falcão Lacerda, Rafael" userId="40181ff7-4694-4c53-a944-7b7d63582359" providerId="ADAL" clId="{3B4D5F63-EA56-4616-8A78-0C43AB7049E7}" dt="2025-12-07T17:59:59.479" v="0" actId="47"/>
        <pc:sldMkLst>
          <pc:docMk/>
          <pc:sldMk cId="3077488033" sldId="963"/>
        </pc:sldMkLst>
      </pc:sldChg>
      <pc:sldChg chg="addSp delSp modSp mod ord chgLayout modNotes">
        <pc:chgData name="Falcão Lacerda, Rafael" userId="40181ff7-4694-4c53-a944-7b7d63582359" providerId="ADAL" clId="{3B4D5F63-EA56-4616-8A78-0C43AB7049E7}" dt="2025-12-08T17:16:25.431" v="33929"/>
        <pc:sldMkLst>
          <pc:docMk/>
          <pc:sldMk cId="1355283833" sldId="964"/>
        </pc:sldMkLst>
        <pc:spChg chg="del mod">
          <ac:chgData name="Falcão Lacerda, Rafael" userId="40181ff7-4694-4c53-a944-7b7d63582359" providerId="ADAL" clId="{3B4D5F63-EA56-4616-8A78-0C43AB7049E7}" dt="2025-12-07T18:07:44.991" v="1200" actId="700"/>
          <ac:spMkLst>
            <pc:docMk/>
            <pc:sldMk cId="1355283833" sldId="964"/>
            <ac:spMk id="2" creationId="{CC9677C5-029A-9366-CE5E-40F9F6803F2D}"/>
          </ac:spMkLst>
        </pc:spChg>
        <pc:spChg chg="del mod">
          <ac:chgData name="Falcão Lacerda, Rafael" userId="40181ff7-4694-4c53-a944-7b7d63582359" providerId="ADAL" clId="{3B4D5F63-EA56-4616-8A78-0C43AB7049E7}" dt="2025-12-07T18:04:53.324" v="1125" actId="478"/>
          <ac:spMkLst>
            <pc:docMk/>
            <pc:sldMk cId="1355283833" sldId="964"/>
            <ac:spMk id="3" creationId="{E07C57B5-8BF7-D221-71CC-90F837AF442E}"/>
          </ac:spMkLst>
        </pc:spChg>
        <pc:spChg chg="mod ord">
          <ac:chgData name="Falcão Lacerda, Rafael" userId="40181ff7-4694-4c53-a944-7b7d63582359" providerId="ADAL" clId="{3B4D5F63-EA56-4616-8A78-0C43AB7049E7}" dt="2025-12-08T00:26:41.841" v="6329" actId="790"/>
          <ac:spMkLst>
            <pc:docMk/>
            <pc:sldMk cId="1355283833" sldId="964"/>
            <ac:spMk id="4" creationId="{B31EA5A0-AFB7-ACB9-951A-B3ABAC63ABA6}"/>
          </ac:spMkLst>
        </pc:spChg>
        <pc:spChg chg="mod ord">
          <ac:chgData name="Falcão Lacerda, Rafael" userId="40181ff7-4694-4c53-a944-7b7d63582359" providerId="ADAL" clId="{3B4D5F63-EA56-4616-8A78-0C43AB7049E7}" dt="2025-12-08T17:16:25.383" v="33906" actId="948"/>
          <ac:spMkLst>
            <pc:docMk/>
            <pc:sldMk cId="1355283833" sldId="964"/>
            <ac:spMk id="5" creationId="{9E7221B5-5EB6-1C2D-4292-9E0188CE5B3D}"/>
          </ac:spMkLst>
        </pc:spChg>
        <pc:spChg chg="mod ord">
          <ac:chgData name="Falcão Lacerda, Rafael" userId="40181ff7-4694-4c53-a944-7b7d63582359" providerId="ADAL" clId="{3B4D5F63-EA56-4616-8A78-0C43AB7049E7}" dt="2025-12-08T00:26:41.841" v="6329" actId="790"/>
          <ac:spMkLst>
            <pc:docMk/>
            <pc:sldMk cId="1355283833" sldId="964"/>
            <ac:spMk id="6" creationId="{3171FF01-D108-10D3-A654-5CA23778A888}"/>
          </ac:spMkLst>
        </pc:spChg>
        <pc:spChg chg="add del mod modVis">
          <ac:chgData name="Falcão Lacerda, Rafael" userId="40181ff7-4694-4c53-a944-7b7d63582359" providerId="ADAL" clId="{3B4D5F63-EA56-4616-8A78-0C43AB7049E7}" dt="2025-12-07T18:00:46.743" v="85"/>
          <ac:spMkLst>
            <pc:docMk/>
            <pc:sldMk cId="1355283833" sldId="964"/>
            <ac:spMk id="8" creationId="{2D461C54-7404-7616-B485-FA72F253B6AE}"/>
          </ac:spMkLst>
        </pc:spChg>
        <pc:spChg chg="add del mod modVis">
          <ac:chgData name="Falcão Lacerda, Rafael" userId="40181ff7-4694-4c53-a944-7b7d63582359" providerId="ADAL" clId="{3B4D5F63-EA56-4616-8A78-0C43AB7049E7}" dt="2025-12-07T18:00:48.002" v="115"/>
          <ac:spMkLst>
            <pc:docMk/>
            <pc:sldMk cId="1355283833" sldId="964"/>
            <ac:spMk id="9" creationId="{85551C29-5402-364F-A79D-1B667C2C2313}"/>
          </ac:spMkLst>
        </pc:spChg>
        <pc:spChg chg="add del mod modVis">
          <ac:chgData name="Falcão Lacerda, Rafael" userId="40181ff7-4694-4c53-a944-7b7d63582359" providerId="ADAL" clId="{3B4D5F63-EA56-4616-8A78-0C43AB7049E7}" dt="2025-12-07T18:00:49.798" v="145"/>
          <ac:spMkLst>
            <pc:docMk/>
            <pc:sldMk cId="1355283833" sldId="964"/>
            <ac:spMk id="10" creationId="{056E3A1B-95FC-DB90-2BD3-864878B67186}"/>
          </ac:spMkLst>
        </pc:spChg>
        <pc:spChg chg="add del mod modVis">
          <ac:chgData name="Falcão Lacerda, Rafael" userId="40181ff7-4694-4c53-a944-7b7d63582359" providerId="ADAL" clId="{3B4D5F63-EA56-4616-8A78-0C43AB7049E7}" dt="2025-12-07T18:00:50.797" v="170"/>
          <ac:spMkLst>
            <pc:docMk/>
            <pc:sldMk cId="1355283833" sldId="964"/>
            <ac:spMk id="11" creationId="{45B446D8-9FEC-E7D7-7D05-D20769341004}"/>
          </ac:spMkLst>
        </pc:spChg>
        <pc:spChg chg="add del mod modVis">
          <ac:chgData name="Falcão Lacerda, Rafael" userId="40181ff7-4694-4c53-a944-7b7d63582359" providerId="ADAL" clId="{3B4D5F63-EA56-4616-8A78-0C43AB7049E7}" dt="2025-12-07T18:00:51.776" v="197"/>
          <ac:spMkLst>
            <pc:docMk/>
            <pc:sldMk cId="1355283833" sldId="964"/>
            <ac:spMk id="12" creationId="{1436C8C2-B164-493D-CC52-1A4E1A00DA69}"/>
          </ac:spMkLst>
        </pc:spChg>
        <pc:spChg chg="add del mod modVis">
          <ac:chgData name="Falcão Lacerda, Rafael" userId="40181ff7-4694-4c53-a944-7b7d63582359" providerId="ADAL" clId="{3B4D5F63-EA56-4616-8A78-0C43AB7049E7}" dt="2025-12-07T18:00:52.530" v="223"/>
          <ac:spMkLst>
            <pc:docMk/>
            <pc:sldMk cId="1355283833" sldId="964"/>
            <ac:spMk id="13" creationId="{02D91B01-A90A-D360-56BD-B33DC6A815BB}"/>
          </ac:spMkLst>
        </pc:spChg>
        <pc:spChg chg="add del mod modVis">
          <ac:chgData name="Falcão Lacerda, Rafael" userId="40181ff7-4694-4c53-a944-7b7d63582359" providerId="ADAL" clId="{3B4D5F63-EA56-4616-8A78-0C43AB7049E7}" dt="2025-12-07T18:00:54.614" v="256"/>
          <ac:spMkLst>
            <pc:docMk/>
            <pc:sldMk cId="1355283833" sldId="964"/>
            <ac:spMk id="14" creationId="{B4B8CADA-991C-48E1-8EE9-C365371DC252}"/>
          </ac:spMkLst>
        </pc:spChg>
        <pc:spChg chg="add del mod modVis">
          <ac:chgData name="Falcão Lacerda, Rafael" userId="40181ff7-4694-4c53-a944-7b7d63582359" providerId="ADAL" clId="{3B4D5F63-EA56-4616-8A78-0C43AB7049E7}" dt="2025-12-07T18:00:57.939" v="295"/>
          <ac:spMkLst>
            <pc:docMk/>
            <pc:sldMk cId="1355283833" sldId="964"/>
            <ac:spMk id="15" creationId="{394BA9DE-9451-1A21-66E1-DAA4FF84128A}"/>
          </ac:spMkLst>
        </pc:spChg>
        <pc:spChg chg="add del mod modVis">
          <ac:chgData name="Falcão Lacerda, Rafael" userId="40181ff7-4694-4c53-a944-7b7d63582359" providerId="ADAL" clId="{3B4D5F63-EA56-4616-8A78-0C43AB7049E7}" dt="2025-12-07T18:00:59.369" v="321"/>
          <ac:spMkLst>
            <pc:docMk/>
            <pc:sldMk cId="1355283833" sldId="964"/>
            <ac:spMk id="16" creationId="{033AF08D-5200-F6B0-8739-0D38E39554DC}"/>
          </ac:spMkLst>
        </pc:spChg>
        <pc:spChg chg="add del mod modVis">
          <ac:chgData name="Falcão Lacerda, Rafael" userId="40181ff7-4694-4c53-a944-7b7d63582359" providerId="ADAL" clId="{3B4D5F63-EA56-4616-8A78-0C43AB7049E7}" dt="2025-12-07T18:01:00.244" v="347"/>
          <ac:spMkLst>
            <pc:docMk/>
            <pc:sldMk cId="1355283833" sldId="964"/>
            <ac:spMk id="17" creationId="{E55DE2C0-F341-86D3-EDE9-A48CF832F351}"/>
          </ac:spMkLst>
        </pc:spChg>
        <pc:spChg chg="add del mod modVis">
          <ac:chgData name="Falcão Lacerda, Rafael" userId="40181ff7-4694-4c53-a944-7b7d63582359" providerId="ADAL" clId="{3B4D5F63-EA56-4616-8A78-0C43AB7049E7}" dt="2025-12-07T18:01:00.890" v="372"/>
          <ac:spMkLst>
            <pc:docMk/>
            <pc:sldMk cId="1355283833" sldId="964"/>
            <ac:spMk id="18" creationId="{A3C75320-44C6-0073-5962-5576FC5F2653}"/>
          </ac:spMkLst>
        </pc:spChg>
        <pc:spChg chg="add del mod modVis">
          <ac:chgData name="Falcão Lacerda, Rafael" userId="40181ff7-4694-4c53-a944-7b7d63582359" providerId="ADAL" clId="{3B4D5F63-EA56-4616-8A78-0C43AB7049E7}" dt="2025-12-07T18:01:02.630" v="397"/>
          <ac:spMkLst>
            <pc:docMk/>
            <pc:sldMk cId="1355283833" sldId="964"/>
            <ac:spMk id="19" creationId="{212AA4C8-320F-BE14-9B3C-22D9C2675E75}"/>
          </ac:spMkLst>
        </pc:spChg>
        <pc:spChg chg="add del mod modVis">
          <ac:chgData name="Falcão Lacerda, Rafael" userId="40181ff7-4694-4c53-a944-7b7d63582359" providerId="ADAL" clId="{3B4D5F63-EA56-4616-8A78-0C43AB7049E7}" dt="2025-12-07T18:01:04.180" v="430"/>
          <ac:spMkLst>
            <pc:docMk/>
            <pc:sldMk cId="1355283833" sldId="964"/>
            <ac:spMk id="20" creationId="{3D7416AE-98CD-DCD4-E041-D3BEA108168E}"/>
          </ac:spMkLst>
        </pc:spChg>
        <pc:spChg chg="add del mod modVis">
          <ac:chgData name="Falcão Lacerda, Rafael" userId="40181ff7-4694-4c53-a944-7b7d63582359" providerId="ADAL" clId="{3B4D5F63-EA56-4616-8A78-0C43AB7049E7}" dt="2025-12-07T18:01:07.143" v="460"/>
          <ac:spMkLst>
            <pc:docMk/>
            <pc:sldMk cId="1355283833" sldId="964"/>
            <ac:spMk id="21" creationId="{06A83BCA-67B0-F1A0-96D4-EBF9CBEB9235}"/>
          </ac:spMkLst>
        </pc:spChg>
        <pc:spChg chg="add del mod modVis">
          <ac:chgData name="Falcão Lacerda, Rafael" userId="40181ff7-4694-4c53-a944-7b7d63582359" providerId="ADAL" clId="{3B4D5F63-EA56-4616-8A78-0C43AB7049E7}" dt="2025-12-07T18:01:10.832" v="502"/>
          <ac:spMkLst>
            <pc:docMk/>
            <pc:sldMk cId="1355283833" sldId="964"/>
            <ac:spMk id="22" creationId="{B854548D-5FB8-0279-CE13-288A22F3BD83}"/>
          </ac:spMkLst>
        </pc:spChg>
        <pc:spChg chg="add del mod modVis">
          <ac:chgData name="Falcão Lacerda, Rafael" userId="40181ff7-4694-4c53-a944-7b7d63582359" providerId="ADAL" clId="{3B4D5F63-EA56-4616-8A78-0C43AB7049E7}" dt="2025-12-07T18:01:11.178" v="528"/>
          <ac:spMkLst>
            <pc:docMk/>
            <pc:sldMk cId="1355283833" sldId="964"/>
            <ac:spMk id="23" creationId="{5B41B296-FF84-8001-F725-394CC4092B84}"/>
          </ac:spMkLst>
        </pc:spChg>
        <pc:spChg chg="add del mod modVis">
          <ac:chgData name="Falcão Lacerda, Rafael" userId="40181ff7-4694-4c53-a944-7b7d63582359" providerId="ADAL" clId="{3B4D5F63-EA56-4616-8A78-0C43AB7049E7}" dt="2025-12-07T18:01:13.145" v="561"/>
          <ac:spMkLst>
            <pc:docMk/>
            <pc:sldMk cId="1355283833" sldId="964"/>
            <ac:spMk id="24" creationId="{F0D8883B-3D57-5413-75B9-AE034A2B9A39}"/>
          </ac:spMkLst>
        </pc:spChg>
        <pc:spChg chg="add del mod modVis">
          <ac:chgData name="Falcão Lacerda, Rafael" userId="40181ff7-4694-4c53-a944-7b7d63582359" providerId="ADAL" clId="{3B4D5F63-EA56-4616-8A78-0C43AB7049E7}" dt="2025-12-07T18:01:15.896" v="600"/>
          <ac:spMkLst>
            <pc:docMk/>
            <pc:sldMk cId="1355283833" sldId="964"/>
            <ac:spMk id="25" creationId="{F16E197D-D7CF-1386-3319-0BB71D3AE050}"/>
          </ac:spMkLst>
        </pc:spChg>
        <pc:spChg chg="add del mod modVis">
          <ac:chgData name="Falcão Lacerda, Rafael" userId="40181ff7-4694-4c53-a944-7b7d63582359" providerId="ADAL" clId="{3B4D5F63-EA56-4616-8A78-0C43AB7049E7}" dt="2025-12-07T18:01:19.562" v="639"/>
          <ac:spMkLst>
            <pc:docMk/>
            <pc:sldMk cId="1355283833" sldId="964"/>
            <ac:spMk id="26" creationId="{36DDD948-FB15-2417-F8F5-CA171102E29C}"/>
          </ac:spMkLst>
        </pc:spChg>
        <pc:spChg chg="add del mod modVis">
          <ac:chgData name="Falcão Lacerda, Rafael" userId="40181ff7-4694-4c53-a944-7b7d63582359" providerId="ADAL" clId="{3B4D5F63-EA56-4616-8A78-0C43AB7049E7}" dt="2025-12-07T18:01:20.985" v="668"/>
          <ac:spMkLst>
            <pc:docMk/>
            <pc:sldMk cId="1355283833" sldId="964"/>
            <ac:spMk id="27" creationId="{9AABECBB-8378-4BD2-535C-00210592F346}"/>
          </ac:spMkLst>
        </pc:spChg>
        <pc:spChg chg="add del mod modVis">
          <ac:chgData name="Falcão Lacerda, Rafael" userId="40181ff7-4694-4c53-a944-7b7d63582359" providerId="ADAL" clId="{3B4D5F63-EA56-4616-8A78-0C43AB7049E7}" dt="2025-12-07T18:01:22.381" v="696"/>
          <ac:spMkLst>
            <pc:docMk/>
            <pc:sldMk cId="1355283833" sldId="964"/>
            <ac:spMk id="28" creationId="{81ADEE2D-17D5-DFC6-5E4C-94A03E0BA32C}"/>
          </ac:spMkLst>
        </pc:spChg>
        <pc:spChg chg="add del mod modVis">
          <ac:chgData name="Falcão Lacerda, Rafael" userId="40181ff7-4694-4c53-a944-7b7d63582359" providerId="ADAL" clId="{3B4D5F63-EA56-4616-8A78-0C43AB7049E7}" dt="2025-12-07T18:01:24.592" v="745" actId="962"/>
          <ac:spMkLst>
            <pc:docMk/>
            <pc:sldMk cId="1355283833" sldId="964"/>
            <ac:spMk id="29" creationId="{5EAC6C8A-061A-8638-03AB-D17A372EBBDA}"/>
          </ac:spMkLst>
        </pc:spChg>
        <pc:spChg chg="add del mod modVis">
          <ac:chgData name="Falcão Lacerda, Rafael" userId="40181ff7-4694-4c53-a944-7b7d63582359" providerId="ADAL" clId="{3B4D5F63-EA56-4616-8A78-0C43AB7049E7}" dt="2025-12-07T18:01:31.939" v="772"/>
          <ac:spMkLst>
            <pc:docMk/>
            <pc:sldMk cId="1355283833" sldId="964"/>
            <ac:spMk id="30" creationId="{32A08496-DDF4-40C7-DB02-B1764215138C}"/>
          </ac:spMkLst>
        </pc:spChg>
        <pc:spChg chg="add del mod modVis">
          <ac:chgData name="Falcão Lacerda, Rafael" userId="40181ff7-4694-4c53-a944-7b7d63582359" providerId="ADAL" clId="{3B4D5F63-EA56-4616-8A78-0C43AB7049E7}" dt="2025-12-07T18:01:40.143" v="799"/>
          <ac:spMkLst>
            <pc:docMk/>
            <pc:sldMk cId="1355283833" sldId="964"/>
            <ac:spMk id="31" creationId="{DDC4B2E1-9BE0-E29C-5F1C-523C23315A92}"/>
          </ac:spMkLst>
        </pc:spChg>
        <pc:spChg chg="add del mod modVis">
          <ac:chgData name="Falcão Lacerda, Rafael" userId="40181ff7-4694-4c53-a944-7b7d63582359" providerId="ADAL" clId="{3B4D5F63-EA56-4616-8A78-0C43AB7049E7}" dt="2025-12-07T18:01:46.530" v="824"/>
          <ac:spMkLst>
            <pc:docMk/>
            <pc:sldMk cId="1355283833" sldId="964"/>
            <ac:spMk id="32" creationId="{8A13EE43-EE26-5B18-B686-8F5601125383}"/>
          </ac:spMkLst>
        </pc:spChg>
        <pc:spChg chg="add del mod modVis">
          <ac:chgData name="Falcão Lacerda, Rafael" userId="40181ff7-4694-4c53-a944-7b7d63582359" providerId="ADAL" clId="{3B4D5F63-EA56-4616-8A78-0C43AB7049E7}" dt="2025-12-07T18:01:47.984" v="855"/>
          <ac:spMkLst>
            <pc:docMk/>
            <pc:sldMk cId="1355283833" sldId="964"/>
            <ac:spMk id="33" creationId="{515BDC2E-E5D5-9E30-D99F-375737986C9F}"/>
          </ac:spMkLst>
        </pc:spChg>
        <pc:spChg chg="add del mod modVis">
          <ac:chgData name="Falcão Lacerda, Rafael" userId="40181ff7-4694-4c53-a944-7b7d63582359" providerId="ADAL" clId="{3B4D5F63-EA56-4616-8A78-0C43AB7049E7}" dt="2025-12-07T18:01:56.993" v="882"/>
          <ac:spMkLst>
            <pc:docMk/>
            <pc:sldMk cId="1355283833" sldId="964"/>
            <ac:spMk id="34" creationId="{B3B9AD2E-019A-8F50-17DB-1A9E18125CC5}"/>
          </ac:spMkLst>
        </pc:spChg>
        <pc:spChg chg="add del mod modVis">
          <ac:chgData name="Falcão Lacerda, Rafael" userId="40181ff7-4694-4c53-a944-7b7d63582359" providerId="ADAL" clId="{3B4D5F63-EA56-4616-8A78-0C43AB7049E7}" dt="2025-12-07T18:07:18.792" v="1195"/>
          <ac:spMkLst>
            <pc:docMk/>
            <pc:sldMk cId="1355283833" sldId="964"/>
            <ac:spMk id="35" creationId="{89DCB345-F04C-8807-2D8F-841160DC2400}"/>
          </ac:spMkLst>
        </pc:spChg>
        <pc:spChg chg="add del mod ord">
          <ac:chgData name="Falcão Lacerda, Rafael" userId="40181ff7-4694-4c53-a944-7b7d63582359" providerId="ADAL" clId="{3B4D5F63-EA56-4616-8A78-0C43AB7049E7}" dt="2025-12-07T18:12:53.899" v="1466" actId="478"/>
          <ac:spMkLst>
            <pc:docMk/>
            <pc:sldMk cId="1355283833" sldId="964"/>
            <ac:spMk id="36" creationId="{A28194BB-301F-2882-C27C-5DA4E4B65990}"/>
          </ac:spMkLst>
        </pc:spChg>
        <pc:spChg chg="add del mod ord">
          <ac:chgData name="Falcão Lacerda, Rafael" userId="40181ff7-4694-4c53-a944-7b7d63582359" providerId="ADAL" clId="{3B4D5F63-EA56-4616-8A78-0C43AB7049E7}" dt="2025-12-07T18:10:58.680" v="1306" actId="478"/>
          <ac:spMkLst>
            <pc:docMk/>
            <pc:sldMk cId="1355283833" sldId="964"/>
            <ac:spMk id="37" creationId="{4C74173D-3E95-9EB9-CB91-F5498269EAF4}"/>
          </ac:spMkLst>
        </pc:spChg>
        <pc:spChg chg="add del mod ord">
          <ac:chgData name="Falcão Lacerda, Rafael" userId="40181ff7-4694-4c53-a944-7b7d63582359" providerId="ADAL" clId="{3B4D5F63-EA56-4616-8A78-0C43AB7049E7}" dt="2025-12-07T18:11:41.473" v="1371" actId="478"/>
          <ac:spMkLst>
            <pc:docMk/>
            <pc:sldMk cId="1355283833" sldId="964"/>
            <ac:spMk id="38" creationId="{B78DB939-C84E-1BDC-60D5-2A7C6D6332B4}"/>
          </ac:spMkLst>
        </pc:spChg>
        <pc:spChg chg="add del mod modVis">
          <ac:chgData name="Falcão Lacerda, Rafael" userId="40181ff7-4694-4c53-a944-7b7d63582359" providerId="ADAL" clId="{3B4D5F63-EA56-4616-8A78-0C43AB7049E7}" dt="2025-12-07T18:07:45.673" v="1222"/>
          <ac:spMkLst>
            <pc:docMk/>
            <pc:sldMk cId="1355283833" sldId="964"/>
            <ac:spMk id="39" creationId="{E218A3F2-CE49-9F37-A898-7D67A10E970D}"/>
          </ac:spMkLst>
        </pc:spChg>
        <pc:spChg chg="add del mod modVis">
          <ac:chgData name="Falcão Lacerda, Rafael" userId="40181ff7-4694-4c53-a944-7b7d63582359" providerId="ADAL" clId="{3B4D5F63-EA56-4616-8A78-0C43AB7049E7}" dt="2025-12-07T18:11:18.243" v="1343"/>
          <ac:spMkLst>
            <pc:docMk/>
            <pc:sldMk cId="1355283833" sldId="964"/>
            <ac:spMk id="49" creationId="{16644057-D336-747B-65BA-12C12B3E1454}"/>
          </ac:spMkLst>
        </pc:spChg>
        <pc:spChg chg="add del mod modVis">
          <ac:chgData name="Falcão Lacerda, Rafael" userId="40181ff7-4694-4c53-a944-7b7d63582359" providerId="ADAL" clId="{3B4D5F63-EA56-4616-8A78-0C43AB7049E7}" dt="2025-12-07T18:11:57.628" v="1395"/>
          <ac:spMkLst>
            <pc:docMk/>
            <pc:sldMk cId="1355283833" sldId="964"/>
            <ac:spMk id="51" creationId="{A7BFB8DD-D422-05CD-1956-607051EBA775}"/>
          </ac:spMkLst>
        </pc:spChg>
        <pc:spChg chg="add del mod modVis">
          <ac:chgData name="Falcão Lacerda, Rafael" userId="40181ff7-4694-4c53-a944-7b7d63582359" providerId="ADAL" clId="{3B4D5F63-EA56-4616-8A78-0C43AB7049E7}" dt="2025-12-07T18:12:23.591" v="1452"/>
          <ac:spMkLst>
            <pc:docMk/>
            <pc:sldMk cId="1355283833" sldId="964"/>
            <ac:spMk id="52" creationId="{F6585B13-8321-2EAA-C5C4-090EE9AC3014}"/>
          </ac:spMkLst>
        </pc:spChg>
        <pc:spChg chg="add del mod modVis">
          <ac:chgData name="Falcão Lacerda, Rafael" userId="40181ff7-4694-4c53-a944-7b7d63582359" providerId="ADAL" clId="{3B4D5F63-EA56-4616-8A78-0C43AB7049E7}" dt="2025-12-07T18:12:59.243" v="1489"/>
          <ac:spMkLst>
            <pc:docMk/>
            <pc:sldMk cId="1355283833" sldId="964"/>
            <ac:spMk id="53" creationId="{51399E4F-9B78-FA40-5E03-08E61CC32E58}"/>
          </ac:spMkLst>
        </pc:spChg>
        <pc:spChg chg="add del mod modVis">
          <ac:chgData name="Falcão Lacerda, Rafael" userId="40181ff7-4694-4c53-a944-7b7d63582359" providerId="ADAL" clId="{3B4D5F63-EA56-4616-8A78-0C43AB7049E7}" dt="2025-12-07T18:13:18.402" v="1515"/>
          <ac:spMkLst>
            <pc:docMk/>
            <pc:sldMk cId="1355283833" sldId="964"/>
            <ac:spMk id="54" creationId="{1C54EE7C-3AA1-CDCC-4564-70B5331237F1}"/>
          </ac:spMkLst>
        </pc:spChg>
        <pc:spChg chg="add del mod modVis">
          <ac:chgData name="Falcão Lacerda, Rafael" userId="40181ff7-4694-4c53-a944-7b7d63582359" providerId="ADAL" clId="{3B4D5F63-EA56-4616-8A78-0C43AB7049E7}" dt="2025-12-08T00:26:54.099" v="10705"/>
          <ac:spMkLst>
            <pc:docMk/>
            <pc:sldMk cId="1355283833" sldId="964"/>
            <ac:spMk id="55" creationId="{E8ED7CFA-4819-7135-0F9D-A6D53570E874}"/>
          </ac:spMkLst>
        </pc:spChg>
        <pc:spChg chg="add del mod modVis">
          <ac:chgData name="Falcão Lacerda, Rafael" userId="40181ff7-4694-4c53-a944-7b7d63582359" providerId="ADAL" clId="{3B4D5F63-EA56-4616-8A78-0C43AB7049E7}" dt="2025-12-08T17:16:06.223" v="33682"/>
          <ac:spMkLst>
            <pc:docMk/>
            <pc:sldMk cId="1355283833" sldId="964"/>
            <ac:spMk id="56" creationId="{59D12465-89D6-DDD0-05A7-9185EA50F6ED}"/>
          </ac:spMkLst>
        </pc:spChg>
        <pc:spChg chg="add del mod modVis">
          <ac:chgData name="Falcão Lacerda, Rafael" userId="40181ff7-4694-4c53-a944-7b7d63582359" providerId="ADAL" clId="{3B4D5F63-EA56-4616-8A78-0C43AB7049E7}" dt="2025-12-08T17:16:08.702" v="33719"/>
          <ac:spMkLst>
            <pc:docMk/>
            <pc:sldMk cId="1355283833" sldId="964"/>
            <ac:spMk id="57" creationId="{CF45E18A-809D-27A2-2A4B-FACC84E31219}"/>
          </ac:spMkLst>
        </pc:spChg>
        <pc:spChg chg="add del mod modVis">
          <ac:chgData name="Falcão Lacerda, Rafael" userId="40181ff7-4694-4c53-a944-7b7d63582359" providerId="ADAL" clId="{3B4D5F63-EA56-4616-8A78-0C43AB7049E7}" dt="2025-12-08T17:16:09.624" v="33744"/>
          <ac:spMkLst>
            <pc:docMk/>
            <pc:sldMk cId="1355283833" sldId="964"/>
            <ac:spMk id="58" creationId="{06955326-0381-7999-9485-F50A7CC50EF2}"/>
          </ac:spMkLst>
        </pc:spChg>
        <pc:spChg chg="add del mod modVis">
          <ac:chgData name="Falcão Lacerda, Rafael" userId="40181ff7-4694-4c53-a944-7b7d63582359" providerId="ADAL" clId="{3B4D5F63-EA56-4616-8A78-0C43AB7049E7}" dt="2025-12-08T17:16:10.658" v="33770"/>
          <ac:spMkLst>
            <pc:docMk/>
            <pc:sldMk cId="1355283833" sldId="964"/>
            <ac:spMk id="59" creationId="{2B9DACA9-686F-A76B-5DD2-044C6660887C}"/>
          </ac:spMkLst>
        </pc:spChg>
        <pc:spChg chg="add del mod modVis">
          <ac:chgData name="Falcão Lacerda, Rafael" userId="40181ff7-4694-4c53-a944-7b7d63582359" providerId="ADAL" clId="{3B4D5F63-EA56-4616-8A78-0C43AB7049E7}" dt="2025-12-08T17:16:17.716" v="33840"/>
          <ac:spMkLst>
            <pc:docMk/>
            <pc:sldMk cId="1355283833" sldId="964"/>
            <ac:spMk id="60" creationId="{06F04810-9E67-C448-2B56-549EE374E6FA}"/>
          </ac:spMkLst>
        </pc:spChg>
        <pc:spChg chg="add del mod modVis">
          <ac:chgData name="Falcão Lacerda, Rafael" userId="40181ff7-4694-4c53-a944-7b7d63582359" providerId="ADAL" clId="{3B4D5F63-EA56-4616-8A78-0C43AB7049E7}" dt="2025-12-08T17:16:24.763" v="33901"/>
          <ac:spMkLst>
            <pc:docMk/>
            <pc:sldMk cId="1355283833" sldId="964"/>
            <ac:spMk id="61" creationId="{A438FE56-AE01-0D89-0F06-6127673748D7}"/>
          </ac:spMkLst>
        </pc:spChg>
        <pc:spChg chg="add del mod modVis">
          <ac:chgData name="Falcão Lacerda, Rafael" userId="40181ff7-4694-4c53-a944-7b7d63582359" providerId="ADAL" clId="{3B4D5F63-EA56-4616-8A78-0C43AB7049E7}" dt="2025-12-08T17:16:25.431" v="33927"/>
          <ac:spMkLst>
            <pc:docMk/>
            <pc:sldMk cId="1355283833" sldId="964"/>
            <ac:spMk id="62" creationId="{3813296C-A1FE-F5EB-BFE9-EC6EF2729F55}"/>
          </ac:spMkLst>
        </pc:spChg>
        <pc:graphicFrameChg chg="add mod ord modVis">
          <ac:chgData name="Falcão Lacerda, Rafael" userId="40181ff7-4694-4c53-a944-7b7d63582359" providerId="ADAL" clId="{3B4D5F63-EA56-4616-8A78-0C43AB7049E7}" dt="2025-12-08T17:16:25.431" v="33929"/>
          <ac:graphicFrameMkLst>
            <pc:docMk/>
            <pc:sldMk cId="1355283833" sldId="964"/>
            <ac:graphicFrameMk id="7" creationId="{15298CCF-09AE-A1C1-1783-A108F40711FB}"/>
          </ac:graphicFrameMkLst>
        </pc:graphicFrameChg>
        <pc:picChg chg="add mod">
          <ac:chgData name="Falcão Lacerda, Rafael" userId="40181ff7-4694-4c53-a944-7b7d63582359" providerId="ADAL" clId="{3B4D5F63-EA56-4616-8A78-0C43AB7049E7}" dt="2025-12-07T18:08:07.259" v="1231" actId="931"/>
          <ac:picMkLst>
            <pc:docMk/>
            <pc:sldMk cId="1355283833" sldId="964"/>
            <ac:picMk id="41" creationId="{9CEDC73C-F387-AA50-8566-715846DF6A88}"/>
          </ac:picMkLst>
        </pc:picChg>
        <pc:picChg chg="add mod">
          <ac:chgData name="Falcão Lacerda, Rafael" userId="40181ff7-4694-4c53-a944-7b7d63582359" providerId="ADAL" clId="{3B4D5F63-EA56-4616-8A78-0C43AB7049E7}" dt="2025-12-07T18:08:16.149" v="1233" actId="931"/>
          <ac:picMkLst>
            <pc:docMk/>
            <pc:sldMk cId="1355283833" sldId="964"/>
            <ac:picMk id="43" creationId="{E9610DE4-063D-C338-69D8-5AB035B13641}"/>
          </ac:picMkLst>
        </pc:picChg>
        <pc:picChg chg="add mod">
          <ac:chgData name="Falcão Lacerda, Rafael" userId="40181ff7-4694-4c53-a944-7b7d63582359" providerId="ADAL" clId="{3B4D5F63-EA56-4616-8A78-0C43AB7049E7}" dt="2025-12-07T18:08:31.779" v="1237" actId="931"/>
          <ac:picMkLst>
            <pc:docMk/>
            <pc:sldMk cId="1355283833" sldId="964"/>
            <ac:picMk id="45" creationId="{9DD9C5F0-B524-83E0-5E7F-C0D95C9FF92A}"/>
          </ac:picMkLst>
        </pc:picChg>
        <pc:picChg chg="add mod">
          <ac:chgData name="Falcão Lacerda, Rafael" userId="40181ff7-4694-4c53-a944-7b7d63582359" providerId="ADAL" clId="{3B4D5F63-EA56-4616-8A78-0C43AB7049E7}" dt="2025-12-07T18:09:22.043" v="1260" actId="931"/>
          <ac:picMkLst>
            <pc:docMk/>
            <pc:sldMk cId="1355283833" sldId="964"/>
            <ac:picMk id="47" creationId="{6D1B44D3-D0D0-859A-54D1-E16D667AE5AC}"/>
          </ac:picMkLst>
        </pc:picChg>
        <pc:picChg chg="add mod ord">
          <ac:chgData name="Falcão Lacerda, Rafael" userId="40181ff7-4694-4c53-a944-7b7d63582359" providerId="ADAL" clId="{3B4D5F63-EA56-4616-8A78-0C43AB7049E7}" dt="2025-12-07T18:12:58.664" v="1467" actId="552"/>
          <ac:picMkLst>
            <pc:docMk/>
            <pc:sldMk cId="1355283833" sldId="964"/>
            <ac:picMk id="48" creationId="{F913DCE6-EF53-2FAF-BA20-303EDC216D06}"/>
          </ac:picMkLst>
        </pc:picChg>
        <pc:picChg chg="add mod ord">
          <ac:chgData name="Falcão Lacerda, Rafael" userId="40181ff7-4694-4c53-a944-7b7d63582359" providerId="ADAL" clId="{3B4D5F63-EA56-4616-8A78-0C43AB7049E7}" dt="2025-12-07T18:12:35.839" v="1457" actId="12789"/>
          <ac:picMkLst>
            <pc:docMk/>
            <pc:sldMk cId="1355283833" sldId="964"/>
            <ac:picMk id="50" creationId="{FFE8D6C5-413C-4B5C-E519-D4AB1CB2F0E6}"/>
          </ac:picMkLst>
        </pc:picChg>
      </pc:sldChg>
      <pc:sldChg chg="addSp delSp modSp del mod ord modNotes">
        <pc:chgData name="Falcão Lacerda, Rafael" userId="40181ff7-4694-4c53-a944-7b7d63582359" providerId="ADAL" clId="{3B4D5F63-EA56-4616-8A78-0C43AB7049E7}" dt="2025-12-08T00:41:35.465" v="11867" actId="47"/>
        <pc:sldMkLst>
          <pc:docMk/>
          <pc:sldMk cId="2630569956" sldId="965"/>
        </pc:sldMkLst>
        <pc:spChg chg="add del mod modVis">
          <ac:chgData name="Falcão Lacerda, Rafael" userId="40181ff7-4694-4c53-a944-7b7d63582359" providerId="ADAL" clId="{3B4D5F63-EA56-4616-8A78-0C43AB7049E7}" dt="2025-12-08T00:26:54.031" v="10689"/>
          <ac:spMkLst>
            <pc:docMk/>
            <pc:sldMk cId="2630569956" sldId="965"/>
            <ac:spMk id="2" creationId="{BD21D908-A9AF-1C42-FEA1-CEA6DBDAD38E}"/>
          </ac:spMkLst>
        </pc:spChg>
        <pc:spChg chg="mod">
          <ac:chgData name="Falcão Lacerda, Rafael" userId="40181ff7-4694-4c53-a944-7b7d63582359" providerId="ADAL" clId="{3B4D5F63-EA56-4616-8A78-0C43AB7049E7}" dt="2025-12-08T00:26:41.841" v="6329" actId="790"/>
          <ac:spMkLst>
            <pc:docMk/>
            <pc:sldMk cId="2630569956" sldId="965"/>
            <ac:spMk id="4" creationId="{8E6915D1-2B36-D760-0B7E-7A7C2725F7B4}"/>
          </ac:spMkLst>
        </pc:spChg>
        <pc:spChg chg="mod">
          <ac:chgData name="Falcão Lacerda, Rafael" userId="40181ff7-4694-4c53-a944-7b7d63582359" providerId="ADAL" clId="{3B4D5F63-EA56-4616-8A78-0C43AB7049E7}" dt="2025-12-08T00:26:46.982" v="8273" actId="948"/>
          <ac:spMkLst>
            <pc:docMk/>
            <pc:sldMk cId="2630569956" sldId="965"/>
            <ac:spMk id="9" creationId="{DAF3B5D3-6293-13B9-EE47-6EA0DBDD262E}"/>
          </ac:spMkLst>
        </pc:spChg>
        <pc:spChg chg="mod">
          <ac:chgData name="Falcão Lacerda, Rafael" userId="40181ff7-4694-4c53-a944-7b7d63582359" providerId="ADAL" clId="{3B4D5F63-EA56-4616-8A78-0C43AB7049E7}" dt="2025-12-08T00:26:41.841" v="6329" actId="790"/>
          <ac:spMkLst>
            <pc:docMk/>
            <pc:sldMk cId="2630569956" sldId="965"/>
            <ac:spMk id="50" creationId="{10FF3C4D-08C6-FE2F-70E9-485108B6B3C5}"/>
          </ac:spMkLst>
        </pc:spChg>
        <pc:spChg chg="mod">
          <ac:chgData name="Falcão Lacerda, Rafael" userId="40181ff7-4694-4c53-a944-7b7d63582359" providerId="ADAL" clId="{3B4D5F63-EA56-4616-8A78-0C43AB7049E7}" dt="2025-12-08T00:26:41.841" v="6329" actId="790"/>
          <ac:spMkLst>
            <pc:docMk/>
            <pc:sldMk cId="2630569956" sldId="965"/>
            <ac:spMk id="51" creationId="{BBB1DFBE-D52B-A2C6-ADCC-45B845D81A1A}"/>
          </ac:spMkLst>
        </pc:spChg>
        <pc:spChg chg="mod">
          <ac:chgData name="Falcão Lacerda, Rafael" userId="40181ff7-4694-4c53-a944-7b7d63582359" providerId="ADAL" clId="{3B4D5F63-EA56-4616-8A78-0C43AB7049E7}" dt="2025-12-08T00:26:41.841" v="6329" actId="790"/>
          <ac:spMkLst>
            <pc:docMk/>
            <pc:sldMk cId="2630569956" sldId="965"/>
            <ac:spMk id="52" creationId="{8B1D85A5-9815-577B-7A4E-AFA7F905DD1C}"/>
          </ac:spMkLst>
        </pc:spChg>
        <pc:graphicFrameChg chg="add mod ord modVis">
          <ac:chgData name="Falcão Lacerda, Rafael" userId="40181ff7-4694-4c53-a944-7b7d63582359" providerId="ADAL" clId="{3B4D5F63-EA56-4616-8A78-0C43AB7049E7}" dt="2025-12-08T00:26:54.097" v="10703"/>
          <ac:graphicFrameMkLst>
            <pc:docMk/>
            <pc:sldMk cId="2630569956" sldId="965"/>
            <ac:graphicFrameMk id="3" creationId="{8E47FB97-8E3B-E99E-8A6C-31F8BA0CC0F6}"/>
          </ac:graphicFrameMkLst>
        </pc:graphicFrameChg>
      </pc:sldChg>
      <pc:sldChg chg="addSp delSp modSp mod modShow modNotes">
        <pc:chgData name="Falcão Lacerda, Rafael" userId="40181ff7-4694-4c53-a944-7b7d63582359" providerId="ADAL" clId="{3B4D5F63-EA56-4616-8A78-0C43AB7049E7}" dt="2025-12-08T17:18:13.731" v="34035" actId="729"/>
        <pc:sldMkLst>
          <pc:docMk/>
          <pc:sldMk cId="265255859" sldId="966"/>
        </pc:sldMkLst>
        <pc:spChg chg="mod">
          <ac:chgData name="Falcão Lacerda, Rafael" userId="40181ff7-4694-4c53-a944-7b7d63582359" providerId="ADAL" clId="{3B4D5F63-EA56-4616-8A78-0C43AB7049E7}" dt="2025-12-08T00:26:47.395" v="8515" actId="948"/>
          <ac:spMkLst>
            <pc:docMk/>
            <pc:sldMk cId="265255859" sldId="966"/>
            <ac:spMk id="2" creationId="{CA99541E-6987-F18F-BBB2-A05F26200A51}"/>
          </ac:spMkLst>
        </pc:spChg>
        <pc:spChg chg="mod">
          <ac:chgData name="Falcão Lacerda, Rafael" userId="40181ff7-4694-4c53-a944-7b7d63582359" providerId="ADAL" clId="{3B4D5F63-EA56-4616-8A78-0C43AB7049E7}" dt="2025-12-08T00:26:41.841" v="6329" actId="790"/>
          <ac:spMkLst>
            <pc:docMk/>
            <pc:sldMk cId="265255859" sldId="966"/>
            <ac:spMk id="3" creationId="{87D4B622-5694-1422-2455-2432CD4608FF}"/>
          </ac:spMkLst>
        </pc:spChg>
        <pc:spChg chg="mod">
          <ac:chgData name="Falcão Lacerda, Rafael" userId="40181ff7-4694-4c53-a944-7b7d63582359" providerId="ADAL" clId="{3B4D5F63-EA56-4616-8A78-0C43AB7049E7}" dt="2025-12-08T00:26:41.841" v="6329" actId="790"/>
          <ac:spMkLst>
            <pc:docMk/>
            <pc:sldMk cId="265255859" sldId="966"/>
            <ac:spMk id="4" creationId="{37776235-5A23-49F6-061B-D275B6C1947D}"/>
          </ac:spMkLst>
        </pc:spChg>
        <pc:spChg chg="add del mod modVis">
          <ac:chgData name="Falcão Lacerda, Rafael" userId="40181ff7-4694-4c53-a944-7b7d63582359" providerId="ADAL" clId="{3B4D5F63-EA56-4616-8A78-0C43AB7049E7}" dt="2025-12-08T00:26:54.599" v="10869"/>
          <ac:spMkLst>
            <pc:docMk/>
            <pc:sldMk cId="265255859" sldId="966"/>
            <ac:spMk id="5" creationId="{2EF290CB-BDD9-A273-B65A-9A1F297EE0FA}"/>
          </ac:spMkLst>
        </pc:spChg>
        <pc:graphicFrameChg chg="add mod ord modVis">
          <ac:chgData name="Falcão Lacerda, Rafael" userId="40181ff7-4694-4c53-a944-7b7d63582359" providerId="ADAL" clId="{3B4D5F63-EA56-4616-8A78-0C43AB7049E7}" dt="2025-12-08T00:26:54.640" v="10883"/>
          <ac:graphicFrameMkLst>
            <pc:docMk/>
            <pc:sldMk cId="265255859" sldId="966"/>
            <ac:graphicFrameMk id="6" creationId="{7D09AB59-3912-18B4-5F61-5ACE95309A7B}"/>
          </ac:graphicFrameMkLst>
        </pc:graphicFrameChg>
      </pc:sldChg>
      <pc:sldChg chg="addSp modSp mod modShow modNotes">
        <pc:chgData name="Falcão Lacerda, Rafael" userId="40181ff7-4694-4c53-a944-7b7d63582359" providerId="ADAL" clId="{3B4D5F63-EA56-4616-8A78-0C43AB7049E7}" dt="2025-12-08T17:18:13.731" v="34035" actId="729"/>
        <pc:sldMkLst>
          <pc:docMk/>
          <pc:sldMk cId="2898630896" sldId="969"/>
        </pc:sldMkLst>
        <pc:spChg chg="mod">
          <ac:chgData name="Falcão Lacerda, Rafael" userId="40181ff7-4694-4c53-a944-7b7d63582359" providerId="ADAL" clId="{3B4D5F63-EA56-4616-8A78-0C43AB7049E7}" dt="2025-12-08T00:26:48.214" v="8958" actId="948"/>
          <ac:spMkLst>
            <pc:docMk/>
            <pc:sldMk cId="2898630896" sldId="969"/>
            <ac:spMk id="2" creationId="{56FBE84C-E5B6-452D-A67C-6435F4B76A12}"/>
          </ac:spMkLst>
        </pc:spChg>
        <pc:spChg chg="mod">
          <ac:chgData name="Falcão Lacerda, Rafael" userId="40181ff7-4694-4c53-a944-7b7d63582359" providerId="ADAL" clId="{3B4D5F63-EA56-4616-8A78-0C43AB7049E7}" dt="2025-12-08T00:26:41.841" v="6329" actId="790"/>
          <ac:spMkLst>
            <pc:docMk/>
            <pc:sldMk cId="2898630896" sldId="969"/>
            <ac:spMk id="5" creationId="{698C0856-7F1B-A64E-BF82-89DDEA619720}"/>
          </ac:spMkLst>
        </pc:spChg>
        <pc:spChg chg="mod">
          <ac:chgData name="Falcão Lacerda, Rafael" userId="40181ff7-4694-4c53-a944-7b7d63582359" providerId="ADAL" clId="{3B4D5F63-EA56-4616-8A78-0C43AB7049E7}" dt="2025-12-08T00:26:41.841" v="6329" actId="790"/>
          <ac:spMkLst>
            <pc:docMk/>
            <pc:sldMk cId="2898630896" sldId="969"/>
            <ac:spMk id="6" creationId="{002E3EBC-3F3C-0B24-AD9B-AFB5775FE9FC}"/>
          </ac:spMkLst>
        </pc:spChg>
        <pc:spChg chg="mod">
          <ac:chgData name="Falcão Lacerda, Rafael" userId="40181ff7-4694-4c53-a944-7b7d63582359" providerId="ADAL" clId="{3B4D5F63-EA56-4616-8A78-0C43AB7049E7}" dt="2025-12-08T00:26:41.841" v="6329" actId="790"/>
          <ac:spMkLst>
            <pc:docMk/>
            <pc:sldMk cId="2898630896" sldId="969"/>
            <ac:spMk id="13" creationId="{88B61A55-140F-3135-A9D3-B0EB37C0B144}"/>
          </ac:spMkLst>
        </pc:spChg>
        <pc:graphicFrameChg chg="add mod ord modVis">
          <ac:chgData name="Falcão Lacerda, Rafael" userId="40181ff7-4694-4c53-a944-7b7d63582359" providerId="ADAL" clId="{3B4D5F63-EA56-4616-8A78-0C43AB7049E7}" dt="2025-12-08T00:26:55.685" v="11261"/>
          <ac:graphicFrameMkLst>
            <pc:docMk/>
            <pc:sldMk cId="2898630896" sldId="969"/>
            <ac:graphicFrameMk id="3" creationId="{20820AF3-A5E4-492B-1608-694764D30222}"/>
          </ac:graphicFrameMkLst>
        </pc:graphicFrameChg>
      </pc:sldChg>
      <pc:sldChg chg="addSp modSp mod modShow modNotes">
        <pc:chgData name="Falcão Lacerda, Rafael" userId="40181ff7-4694-4c53-a944-7b7d63582359" providerId="ADAL" clId="{3B4D5F63-EA56-4616-8A78-0C43AB7049E7}" dt="2025-12-08T17:18:13.731" v="34035" actId="729"/>
        <pc:sldMkLst>
          <pc:docMk/>
          <pc:sldMk cId="121194140" sldId="970"/>
        </pc:sldMkLst>
        <pc:spChg chg="mod">
          <ac:chgData name="Falcão Lacerda, Rafael" userId="40181ff7-4694-4c53-a944-7b7d63582359" providerId="ADAL" clId="{3B4D5F63-EA56-4616-8A78-0C43AB7049E7}" dt="2025-12-08T00:26:41.841" v="6329" actId="790"/>
          <ac:spMkLst>
            <pc:docMk/>
            <pc:sldMk cId="121194140" sldId="970"/>
            <ac:spMk id="3" creationId="{EFB1B8AD-889A-4A02-2B9B-C90B89D482A2}"/>
          </ac:spMkLst>
        </pc:spChg>
        <pc:spChg chg="mod">
          <ac:chgData name="Falcão Lacerda, Rafael" userId="40181ff7-4694-4c53-a944-7b7d63582359" providerId="ADAL" clId="{3B4D5F63-EA56-4616-8A78-0C43AB7049E7}" dt="2025-12-08T00:26:41.841" v="6329" actId="790"/>
          <ac:spMkLst>
            <pc:docMk/>
            <pc:sldMk cId="121194140" sldId="970"/>
            <ac:spMk id="5" creationId="{4C7273AB-5EC2-FAFE-3F05-C85209161C12}"/>
          </ac:spMkLst>
        </pc:spChg>
        <pc:spChg chg="mod">
          <ac:chgData name="Falcão Lacerda, Rafael" userId="40181ff7-4694-4c53-a944-7b7d63582359" providerId="ADAL" clId="{3B4D5F63-EA56-4616-8A78-0C43AB7049E7}" dt="2025-12-08T00:26:48.334" v="8999" actId="948"/>
          <ac:spMkLst>
            <pc:docMk/>
            <pc:sldMk cId="121194140" sldId="970"/>
            <ac:spMk id="36" creationId="{D0C65BAF-4D76-75F7-0482-F76737DC0559}"/>
          </ac:spMkLst>
        </pc:spChg>
        <pc:spChg chg="mod">
          <ac:chgData name="Falcão Lacerda, Rafael" userId="40181ff7-4694-4c53-a944-7b7d63582359" providerId="ADAL" clId="{3B4D5F63-EA56-4616-8A78-0C43AB7049E7}" dt="2025-12-08T00:26:41.841" v="6329" actId="790"/>
          <ac:spMkLst>
            <pc:docMk/>
            <pc:sldMk cId="121194140" sldId="970"/>
            <ac:spMk id="72" creationId="{A63A23B8-5192-200B-7398-C3DB9F12D38B}"/>
          </ac:spMkLst>
        </pc:spChg>
        <pc:spChg chg="mod">
          <ac:chgData name="Falcão Lacerda, Rafael" userId="40181ff7-4694-4c53-a944-7b7d63582359" providerId="ADAL" clId="{3B4D5F63-EA56-4616-8A78-0C43AB7049E7}" dt="2025-12-08T00:26:41.841" v="6329" actId="790"/>
          <ac:spMkLst>
            <pc:docMk/>
            <pc:sldMk cId="121194140" sldId="970"/>
            <ac:spMk id="73" creationId="{CA51546B-509C-196F-D48E-AC4876E19221}"/>
          </ac:spMkLst>
        </pc:spChg>
        <pc:spChg chg="mod">
          <ac:chgData name="Falcão Lacerda, Rafael" userId="40181ff7-4694-4c53-a944-7b7d63582359" providerId="ADAL" clId="{3B4D5F63-EA56-4616-8A78-0C43AB7049E7}" dt="2025-12-08T00:26:41.841" v="6329" actId="790"/>
          <ac:spMkLst>
            <pc:docMk/>
            <pc:sldMk cId="121194140" sldId="970"/>
            <ac:spMk id="74" creationId="{A40BF953-98A4-7CD1-FAD7-45408C331CCA}"/>
          </ac:spMkLst>
        </pc:spChg>
        <pc:spChg chg="mod">
          <ac:chgData name="Falcão Lacerda, Rafael" userId="40181ff7-4694-4c53-a944-7b7d63582359" providerId="ADAL" clId="{3B4D5F63-EA56-4616-8A78-0C43AB7049E7}" dt="2025-12-08T00:26:41.841" v="6329" actId="790"/>
          <ac:spMkLst>
            <pc:docMk/>
            <pc:sldMk cId="121194140" sldId="970"/>
            <ac:spMk id="79" creationId="{E4686B1F-D44E-2814-E420-B2F66A9A5D34}"/>
          </ac:spMkLst>
        </pc:spChg>
        <pc:spChg chg="mod">
          <ac:chgData name="Falcão Lacerda, Rafael" userId="40181ff7-4694-4c53-a944-7b7d63582359" providerId="ADAL" clId="{3B4D5F63-EA56-4616-8A78-0C43AB7049E7}" dt="2025-12-08T00:26:41.841" v="6329" actId="790"/>
          <ac:spMkLst>
            <pc:docMk/>
            <pc:sldMk cId="121194140" sldId="970"/>
            <ac:spMk id="80" creationId="{7CC87C2F-5606-26A1-1464-35D5F4657F41}"/>
          </ac:spMkLst>
        </pc:spChg>
        <pc:spChg chg="mod">
          <ac:chgData name="Falcão Lacerda, Rafael" userId="40181ff7-4694-4c53-a944-7b7d63582359" providerId="ADAL" clId="{3B4D5F63-EA56-4616-8A78-0C43AB7049E7}" dt="2025-12-08T00:26:41.841" v="6329" actId="790"/>
          <ac:spMkLst>
            <pc:docMk/>
            <pc:sldMk cId="121194140" sldId="970"/>
            <ac:spMk id="81" creationId="{920D8A7E-8511-1A7B-E65C-DA36576FD9FB}"/>
          </ac:spMkLst>
        </pc:spChg>
        <pc:spChg chg="mod">
          <ac:chgData name="Falcão Lacerda, Rafael" userId="40181ff7-4694-4c53-a944-7b7d63582359" providerId="ADAL" clId="{3B4D5F63-EA56-4616-8A78-0C43AB7049E7}" dt="2025-12-08T00:26:41.841" v="6329" actId="790"/>
          <ac:spMkLst>
            <pc:docMk/>
            <pc:sldMk cId="121194140" sldId="970"/>
            <ac:spMk id="82" creationId="{AF497D5F-5CA8-9C1B-CF96-7921E2DE7D6F}"/>
          </ac:spMkLst>
        </pc:spChg>
        <pc:graphicFrameChg chg="add mod ord modVis">
          <ac:chgData name="Falcão Lacerda, Rafael" userId="40181ff7-4694-4c53-a944-7b7d63582359" providerId="ADAL" clId="{3B4D5F63-EA56-4616-8A78-0C43AB7049E7}" dt="2025-12-08T00:26:55.812" v="11307"/>
          <ac:graphicFrameMkLst>
            <pc:docMk/>
            <pc:sldMk cId="121194140" sldId="970"/>
            <ac:graphicFrameMk id="2" creationId="{D469B84A-DC00-794D-F6FF-8C6EDE586E74}"/>
          </ac:graphicFrameMkLst>
        </pc:graphicFrameChg>
      </pc:sldChg>
      <pc:sldChg chg="addSp delSp modSp mod modShow modNotes">
        <pc:chgData name="Falcão Lacerda, Rafael" userId="40181ff7-4694-4c53-a944-7b7d63582359" providerId="ADAL" clId="{3B4D5F63-EA56-4616-8A78-0C43AB7049E7}" dt="2025-12-08T17:18:13.731" v="34035" actId="729"/>
        <pc:sldMkLst>
          <pc:docMk/>
          <pc:sldMk cId="3124383033" sldId="982"/>
        </pc:sldMkLst>
        <pc:spChg chg="add del mod modVis">
          <ac:chgData name="Falcão Lacerda, Rafael" userId="40181ff7-4694-4c53-a944-7b7d63582359" providerId="ADAL" clId="{3B4D5F63-EA56-4616-8A78-0C43AB7049E7}" dt="2025-12-08T00:26:53.806" v="10609"/>
          <ac:spMkLst>
            <pc:docMk/>
            <pc:sldMk cId="3124383033" sldId="982"/>
            <ac:spMk id="2" creationId="{A96710CF-1078-395B-7B3C-A983CD936750}"/>
          </ac:spMkLst>
        </pc:spChg>
        <pc:spChg chg="mod">
          <ac:chgData name="Falcão Lacerda, Rafael" userId="40181ff7-4694-4c53-a944-7b7d63582359" providerId="ADAL" clId="{3B4D5F63-EA56-4616-8A78-0C43AB7049E7}" dt="2025-12-08T00:26:41.841" v="6329" actId="790"/>
          <ac:spMkLst>
            <pc:docMk/>
            <pc:sldMk cId="3124383033" sldId="982"/>
            <ac:spMk id="4" creationId="{5DE1C152-96B2-9B2B-6FE2-E4CAE70D4437}"/>
          </ac:spMkLst>
        </pc:spChg>
        <pc:spChg chg="mod">
          <ac:chgData name="Falcão Lacerda, Rafael" userId="40181ff7-4694-4c53-a944-7b7d63582359" providerId="ADAL" clId="{3B4D5F63-EA56-4616-8A78-0C43AB7049E7}" dt="2025-12-08T00:26:46.793" v="8159" actId="948"/>
          <ac:spMkLst>
            <pc:docMk/>
            <pc:sldMk cId="3124383033" sldId="982"/>
            <ac:spMk id="7" creationId="{FED39209-0EEE-C020-24A9-7E5A545CC434}"/>
          </ac:spMkLst>
        </pc:spChg>
        <pc:spChg chg="mod">
          <ac:chgData name="Falcão Lacerda, Rafael" userId="40181ff7-4694-4c53-a944-7b7d63582359" providerId="ADAL" clId="{3B4D5F63-EA56-4616-8A78-0C43AB7049E7}" dt="2025-12-08T00:26:41.841" v="6329" actId="790"/>
          <ac:spMkLst>
            <pc:docMk/>
            <pc:sldMk cId="3124383033" sldId="982"/>
            <ac:spMk id="8" creationId="{92C31646-A874-B5BC-732D-7E9998B1A64F}"/>
          </ac:spMkLst>
        </pc:spChg>
        <pc:graphicFrameChg chg="add mod ord modVis">
          <ac:chgData name="Falcão Lacerda, Rafael" userId="40181ff7-4694-4c53-a944-7b7d63582359" providerId="ADAL" clId="{3B4D5F63-EA56-4616-8A78-0C43AB7049E7}" dt="2025-12-08T00:26:53.855" v="10623"/>
          <ac:graphicFrameMkLst>
            <pc:docMk/>
            <pc:sldMk cId="3124383033" sldId="982"/>
            <ac:graphicFrameMk id="3" creationId="{0DF3EF81-612D-9304-B585-9F9220F9BA9A}"/>
          </ac:graphicFrameMkLst>
        </pc:graphicFrameChg>
      </pc:sldChg>
      <pc:sldChg chg="addSp modSp mod modShow modNotes">
        <pc:chgData name="Falcão Lacerda, Rafael" userId="40181ff7-4694-4c53-a944-7b7d63582359" providerId="ADAL" clId="{3B4D5F63-EA56-4616-8A78-0C43AB7049E7}" dt="2025-12-08T17:18:13.731" v="34035" actId="729"/>
        <pc:sldMkLst>
          <pc:docMk/>
          <pc:sldMk cId="2668142248" sldId="983"/>
        </pc:sldMkLst>
        <pc:spChg chg="mod">
          <ac:chgData name="Falcão Lacerda, Rafael" userId="40181ff7-4694-4c53-a944-7b7d63582359" providerId="ADAL" clId="{3B4D5F63-EA56-4616-8A78-0C43AB7049E7}" dt="2025-12-08T00:26:41.841" v="6329" actId="790"/>
          <ac:spMkLst>
            <pc:docMk/>
            <pc:sldMk cId="2668142248" sldId="983"/>
            <ac:spMk id="4" creationId="{515AC123-4563-DE4C-D52C-022EA2A04626}"/>
          </ac:spMkLst>
        </pc:spChg>
        <pc:spChg chg="mod">
          <ac:chgData name="Falcão Lacerda, Rafael" userId="40181ff7-4694-4c53-a944-7b7d63582359" providerId="ADAL" clId="{3B4D5F63-EA56-4616-8A78-0C43AB7049E7}" dt="2025-12-08T00:26:46.141" v="7778" actId="948"/>
          <ac:spMkLst>
            <pc:docMk/>
            <pc:sldMk cId="2668142248" sldId="983"/>
            <ac:spMk id="7" creationId="{B0F656AD-363B-C1BB-18D4-19C8085678D9}"/>
          </ac:spMkLst>
        </pc:spChg>
        <pc:spChg chg="mod">
          <ac:chgData name="Falcão Lacerda, Rafael" userId="40181ff7-4694-4c53-a944-7b7d63582359" providerId="ADAL" clId="{3B4D5F63-EA56-4616-8A78-0C43AB7049E7}" dt="2025-12-08T00:26:41.841" v="6329" actId="790"/>
          <ac:spMkLst>
            <pc:docMk/>
            <pc:sldMk cId="2668142248" sldId="983"/>
            <ac:spMk id="9" creationId="{44A3AD3E-3E00-CE08-9B70-687374365E9C}"/>
          </ac:spMkLst>
        </pc:spChg>
        <pc:graphicFrameChg chg="add mod ord modVis">
          <ac:chgData name="Falcão Lacerda, Rafael" userId="40181ff7-4694-4c53-a944-7b7d63582359" providerId="ADAL" clId="{3B4D5F63-EA56-4616-8A78-0C43AB7049E7}" dt="2025-12-08T00:26:53.015" v="10303"/>
          <ac:graphicFrameMkLst>
            <pc:docMk/>
            <pc:sldMk cId="2668142248" sldId="983"/>
            <ac:graphicFrameMk id="2" creationId="{31A36F81-D2CC-5993-AC3A-A920917AFA52}"/>
          </ac:graphicFrameMkLst>
        </pc:graphicFrameChg>
      </pc:sldChg>
      <pc:sldChg chg="addSp delSp modSp mod modShow modNotes">
        <pc:chgData name="Falcão Lacerda, Rafael" userId="40181ff7-4694-4c53-a944-7b7d63582359" providerId="ADAL" clId="{3B4D5F63-EA56-4616-8A78-0C43AB7049E7}" dt="2025-12-08T17:18:13.731" v="34035" actId="729"/>
        <pc:sldMkLst>
          <pc:docMk/>
          <pc:sldMk cId="1737685985" sldId="988"/>
        </pc:sldMkLst>
        <pc:spChg chg="add del mod modVis">
          <ac:chgData name="Falcão Lacerda, Rafael" userId="40181ff7-4694-4c53-a944-7b7d63582359" providerId="ADAL" clId="{3B4D5F63-EA56-4616-8A78-0C43AB7049E7}" dt="2025-12-08T00:26:53.262" v="10401"/>
          <ac:spMkLst>
            <pc:docMk/>
            <pc:sldMk cId="1737685985" sldId="988"/>
            <ac:spMk id="2" creationId="{3399B624-0125-D03F-A771-E8C2E22E1D37}"/>
          </ac:spMkLst>
        </pc:spChg>
        <pc:spChg chg="mod">
          <ac:chgData name="Falcão Lacerda, Rafael" userId="40181ff7-4694-4c53-a944-7b7d63582359" providerId="ADAL" clId="{3B4D5F63-EA56-4616-8A78-0C43AB7049E7}" dt="2025-12-08T00:26:46.359" v="7899" actId="948"/>
          <ac:spMkLst>
            <pc:docMk/>
            <pc:sldMk cId="1737685985" sldId="988"/>
            <ac:spMk id="6" creationId="{ED534CB6-83C9-DDAA-3494-B39DFF0092F7}"/>
          </ac:spMkLst>
        </pc:spChg>
        <pc:graphicFrameChg chg="add mod ord modVis">
          <ac:chgData name="Falcão Lacerda, Rafael" userId="40181ff7-4694-4c53-a944-7b7d63582359" providerId="ADAL" clId="{3B4D5F63-EA56-4616-8A78-0C43AB7049E7}" dt="2025-12-08T00:26:53.301" v="10415"/>
          <ac:graphicFrameMkLst>
            <pc:docMk/>
            <pc:sldMk cId="1737685985" sldId="988"/>
            <ac:graphicFrameMk id="3" creationId="{667FA7B0-70E7-9284-E926-822510900E15}"/>
          </ac:graphicFrameMkLst>
        </pc:graphicFrameChg>
        <pc:graphicFrameChg chg="modGraphic">
          <ac:chgData name="Falcão Lacerda, Rafael" userId="40181ff7-4694-4c53-a944-7b7d63582359" providerId="ADAL" clId="{3B4D5F63-EA56-4616-8A78-0C43AB7049E7}" dt="2025-12-08T00:26:41.841" v="6329" actId="790"/>
          <ac:graphicFrameMkLst>
            <pc:docMk/>
            <pc:sldMk cId="1737685985" sldId="988"/>
            <ac:graphicFrameMk id="8" creationId="{2DFB1913-4AAF-78D2-78A6-6A780C0E3603}"/>
          </ac:graphicFrameMkLst>
        </pc:graphicFrameChg>
      </pc:sldChg>
      <pc:sldChg chg="addSp delSp modSp mod modShow modNotes">
        <pc:chgData name="Falcão Lacerda, Rafael" userId="40181ff7-4694-4c53-a944-7b7d63582359" providerId="ADAL" clId="{3B4D5F63-EA56-4616-8A78-0C43AB7049E7}" dt="2025-12-08T17:18:13.731" v="34035" actId="729"/>
        <pc:sldMkLst>
          <pc:docMk/>
          <pc:sldMk cId="1021833205" sldId="991"/>
        </pc:sldMkLst>
        <pc:spChg chg="mod">
          <ac:chgData name="Falcão Lacerda, Rafael" userId="40181ff7-4694-4c53-a944-7b7d63582359" providerId="ADAL" clId="{3B4D5F63-EA56-4616-8A78-0C43AB7049E7}" dt="2025-12-08T00:26:45.763" v="7617" actId="948"/>
          <ac:spMkLst>
            <pc:docMk/>
            <pc:sldMk cId="1021833205" sldId="991"/>
            <ac:spMk id="2" creationId="{D94CFD72-A3EE-6728-1456-EDD2CA5A79F2}"/>
          </ac:spMkLst>
        </pc:spChg>
        <pc:spChg chg="mod">
          <ac:chgData name="Falcão Lacerda, Rafael" userId="40181ff7-4694-4c53-a944-7b7d63582359" providerId="ADAL" clId="{3B4D5F63-EA56-4616-8A78-0C43AB7049E7}" dt="2025-12-08T00:26:41.841" v="6329" actId="790"/>
          <ac:spMkLst>
            <pc:docMk/>
            <pc:sldMk cId="1021833205" sldId="991"/>
            <ac:spMk id="4" creationId="{3CBB3457-C390-20DD-729D-7A26AFA6DE0C}"/>
          </ac:spMkLst>
        </pc:spChg>
        <pc:spChg chg="mod">
          <ac:chgData name="Falcão Lacerda, Rafael" userId="40181ff7-4694-4c53-a944-7b7d63582359" providerId="ADAL" clId="{3B4D5F63-EA56-4616-8A78-0C43AB7049E7}" dt="2025-12-08T00:26:36.874" v="4556" actId="947"/>
          <ac:spMkLst>
            <pc:docMk/>
            <pc:sldMk cId="1021833205" sldId="991"/>
            <ac:spMk id="6" creationId="{3747B489-06DF-D5C6-E656-55E6D4A01A66}"/>
          </ac:spMkLst>
        </pc:spChg>
        <pc:spChg chg="mod">
          <ac:chgData name="Falcão Lacerda, Rafael" userId="40181ff7-4694-4c53-a944-7b7d63582359" providerId="ADAL" clId="{3B4D5F63-EA56-4616-8A78-0C43AB7049E7}" dt="2025-12-08T00:26:36.859" v="4554" actId="947"/>
          <ac:spMkLst>
            <pc:docMk/>
            <pc:sldMk cId="1021833205" sldId="991"/>
            <ac:spMk id="7" creationId="{D45167E6-C4E7-C14F-FD5B-865DB1BE614D}"/>
          </ac:spMkLst>
        </pc:spChg>
        <pc:spChg chg="mod">
          <ac:chgData name="Falcão Lacerda, Rafael" userId="40181ff7-4694-4c53-a944-7b7d63582359" providerId="ADAL" clId="{3B4D5F63-EA56-4616-8A78-0C43AB7049E7}" dt="2025-12-08T00:26:36.859" v="4552" actId="947"/>
          <ac:spMkLst>
            <pc:docMk/>
            <pc:sldMk cId="1021833205" sldId="991"/>
            <ac:spMk id="8" creationId="{B4D0402A-24D4-1F1F-4A3F-DE4957007F0F}"/>
          </ac:spMkLst>
        </pc:spChg>
        <pc:spChg chg="mod">
          <ac:chgData name="Falcão Lacerda, Rafael" userId="40181ff7-4694-4c53-a944-7b7d63582359" providerId="ADAL" clId="{3B4D5F63-EA56-4616-8A78-0C43AB7049E7}" dt="2025-12-08T00:26:36.843" v="4550" actId="947"/>
          <ac:spMkLst>
            <pc:docMk/>
            <pc:sldMk cId="1021833205" sldId="991"/>
            <ac:spMk id="9" creationId="{CDE3E444-FF8B-8356-C2E8-16C870AA8988}"/>
          </ac:spMkLst>
        </pc:spChg>
        <pc:spChg chg="mod">
          <ac:chgData name="Falcão Lacerda, Rafael" userId="40181ff7-4694-4c53-a944-7b7d63582359" providerId="ADAL" clId="{3B4D5F63-EA56-4616-8A78-0C43AB7049E7}" dt="2025-12-08T00:26:41.841" v="6329" actId="790"/>
          <ac:spMkLst>
            <pc:docMk/>
            <pc:sldMk cId="1021833205" sldId="991"/>
            <ac:spMk id="10" creationId="{0967A2C9-8D7C-DB01-FC83-46EF71091FAB}"/>
          </ac:spMkLst>
        </pc:spChg>
        <pc:spChg chg="mod">
          <ac:chgData name="Falcão Lacerda, Rafael" userId="40181ff7-4694-4c53-a944-7b7d63582359" providerId="ADAL" clId="{3B4D5F63-EA56-4616-8A78-0C43AB7049E7}" dt="2025-12-08T00:26:36.912" v="4564" actId="947"/>
          <ac:spMkLst>
            <pc:docMk/>
            <pc:sldMk cId="1021833205" sldId="991"/>
            <ac:spMk id="11" creationId="{B8EE04B1-6895-FF6C-99A7-DD06F10EE501}"/>
          </ac:spMkLst>
        </pc:spChg>
        <pc:spChg chg="mod">
          <ac:chgData name="Falcão Lacerda, Rafael" userId="40181ff7-4694-4c53-a944-7b7d63582359" providerId="ADAL" clId="{3B4D5F63-EA56-4616-8A78-0C43AB7049E7}" dt="2025-12-08T00:26:41.841" v="6329" actId="790"/>
          <ac:spMkLst>
            <pc:docMk/>
            <pc:sldMk cId="1021833205" sldId="991"/>
            <ac:spMk id="12" creationId="{FF77CD29-EB2F-860C-1395-DF69562C497B}"/>
          </ac:spMkLst>
        </pc:spChg>
        <pc:spChg chg="mod">
          <ac:chgData name="Falcão Lacerda, Rafael" userId="40181ff7-4694-4c53-a944-7b7d63582359" providerId="ADAL" clId="{3B4D5F63-EA56-4616-8A78-0C43AB7049E7}" dt="2025-12-08T00:26:36.893" v="4560" actId="947"/>
          <ac:spMkLst>
            <pc:docMk/>
            <pc:sldMk cId="1021833205" sldId="991"/>
            <ac:spMk id="13" creationId="{471FD9AD-7EF7-CABD-71FE-BCCF63B3E194}"/>
          </ac:spMkLst>
        </pc:spChg>
        <pc:spChg chg="mod">
          <ac:chgData name="Falcão Lacerda, Rafael" userId="40181ff7-4694-4c53-a944-7b7d63582359" providerId="ADAL" clId="{3B4D5F63-EA56-4616-8A78-0C43AB7049E7}" dt="2025-12-08T00:26:36.887" v="4558" actId="947"/>
          <ac:spMkLst>
            <pc:docMk/>
            <pc:sldMk cId="1021833205" sldId="991"/>
            <ac:spMk id="14" creationId="{1435619A-06B0-85C6-C0F7-2CAC9B3628CC}"/>
          </ac:spMkLst>
        </pc:spChg>
        <pc:spChg chg="mod">
          <ac:chgData name="Falcão Lacerda, Rafael" userId="40181ff7-4694-4c53-a944-7b7d63582359" providerId="ADAL" clId="{3B4D5F63-EA56-4616-8A78-0C43AB7049E7}" dt="2025-12-08T00:26:36.955" v="4576" actId="947"/>
          <ac:spMkLst>
            <pc:docMk/>
            <pc:sldMk cId="1021833205" sldId="991"/>
            <ac:spMk id="16" creationId="{EC687FA3-13CC-B243-6945-68D91EC611C9}"/>
          </ac:spMkLst>
        </pc:spChg>
        <pc:spChg chg="mod">
          <ac:chgData name="Falcão Lacerda, Rafael" userId="40181ff7-4694-4c53-a944-7b7d63582359" providerId="ADAL" clId="{3B4D5F63-EA56-4616-8A78-0C43AB7049E7}" dt="2025-12-08T00:26:41.841" v="6329" actId="790"/>
          <ac:spMkLst>
            <pc:docMk/>
            <pc:sldMk cId="1021833205" sldId="991"/>
            <ac:spMk id="17" creationId="{8471E61C-6E95-7075-3AE6-5BCCFF87AF67}"/>
          </ac:spMkLst>
        </pc:spChg>
        <pc:spChg chg="mod">
          <ac:chgData name="Falcão Lacerda, Rafael" userId="40181ff7-4694-4c53-a944-7b7d63582359" providerId="ADAL" clId="{3B4D5F63-EA56-4616-8A78-0C43AB7049E7}" dt="2025-12-08T00:26:36.940" v="4572" actId="947"/>
          <ac:spMkLst>
            <pc:docMk/>
            <pc:sldMk cId="1021833205" sldId="991"/>
            <ac:spMk id="18" creationId="{5678C3FB-42BF-0717-82C2-2D9145413B2E}"/>
          </ac:spMkLst>
        </pc:spChg>
        <pc:spChg chg="mod">
          <ac:chgData name="Falcão Lacerda, Rafael" userId="40181ff7-4694-4c53-a944-7b7d63582359" providerId="ADAL" clId="{3B4D5F63-EA56-4616-8A78-0C43AB7049E7}" dt="2025-12-08T00:26:36.925" v="4570" actId="947"/>
          <ac:spMkLst>
            <pc:docMk/>
            <pc:sldMk cId="1021833205" sldId="991"/>
            <ac:spMk id="19" creationId="{96261318-5719-AEA6-7930-EC2435BE0F4E}"/>
          </ac:spMkLst>
        </pc:spChg>
        <pc:spChg chg="mod">
          <ac:chgData name="Falcão Lacerda, Rafael" userId="40181ff7-4694-4c53-a944-7b7d63582359" providerId="ADAL" clId="{3B4D5F63-EA56-4616-8A78-0C43AB7049E7}" dt="2025-12-08T00:26:41.841" v="6329" actId="790"/>
          <ac:spMkLst>
            <pc:docMk/>
            <pc:sldMk cId="1021833205" sldId="991"/>
            <ac:spMk id="20" creationId="{C2422490-A65C-3FF1-F7F8-5FBC1D998CDD}"/>
          </ac:spMkLst>
        </pc:spChg>
        <pc:spChg chg="mod">
          <ac:chgData name="Falcão Lacerda, Rafael" userId="40181ff7-4694-4c53-a944-7b7d63582359" providerId="ADAL" clId="{3B4D5F63-EA56-4616-8A78-0C43AB7049E7}" dt="2025-12-08T00:26:36.967" v="4586" actId="947"/>
          <ac:spMkLst>
            <pc:docMk/>
            <pc:sldMk cId="1021833205" sldId="991"/>
            <ac:spMk id="22" creationId="{269C1FC4-D8F8-F21E-E6AA-99E61A087A0D}"/>
          </ac:spMkLst>
        </pc:spChg>
        <pc:spChg chg="mod">
          <ac:chgData name="Falcão Lacerda, Rafael" userId="40181ff7-4694-4c53-a944-7b7d63582359" providerId="ADAL" clId="{3B4D5F63-EA56-4616-8A78-0C43AB7049E7}" dt="2025-12-08T00:26:36.967" v="4584" actId="947"/>
          <ac:spMkLst>
            <pc:docMk/>
            <pc:sldMk cId="1021833205" sldId="991"/>
            <ac:spMk id="23" creationId="{2B7095FA-0E92-F04E-6BF7-7830678D452F}"/>
          </ac:spMkLst>
        </pc:spChg>
        <pc:spChg chg="mod">
          <ac:chgData name="Falcão Lacerda, Rafael" userId="40181ff7-4694-4c53-a944-7b7d63582359" providerId="ADAL" clId="{3B4D5F63-EA56-4616-8A78-0C43AB7049E7}" dt="2025-12-08T00:26:36.967" v="4582" actId="947"/>
          <ac:spMkLst>
            <pc:docMk/>
            <pc:sldMk cId="1021833205" sldId="991"/>
            <ac:spMk id="24" creationId="{5356E52A-B22F-C8E5-E137-6B9E3AEA648A}"/>
          </ac:spMkLst>
        </pc:spChg>
        <pc:spChg chg="mod">
          <ac:chgData name="Falcão Lacerda, Rafael" userId="40181ff7-4694-4c53-a944-7b7d63582359" providerId="ADAL" clId="{3B4D5F63-EA56-4616-8A78-0C43AB7049E7}" dt="2025-12-08T00:26:41.841" v="6329" actId="790"/>
          <ac:spMkLst>
            <pc:docMk/>
            <pc:sldMk cId="1021833205" sldId="991"/>
            <ac:spMk id="25" creationId="{760FF888-37F1-4A07-AC1B-89C6171B4834}"/>
          </ac:spMkLst>
        </pc:spChg>
        <pc:spChg chg="mod">
          <ac:chgData name="Falcão Lacerda, Rafael" userId="40181ff7-4694-4c53-a944-7b7d63582359" providerId="ADAL" clId="{3B4D5F63-EA56-4616-8A78-0C43AB7049E7}" dt="2025-12-08T00:26:41.841" v="6329" actId="790"/>
          <ac:spMkLst>
            <pc:docMk/>
            <pc:sldMk cId="1021833205" sldId="991"/>
            <ac:spMk id="26" creationId="{CC653889-451A-2B51-752B-5BE1F1E8B368}"/>
          </ac:spMkLst>
        </pc:spChg>
        <pc:spChg chg="add del mod modVis">
          <ac:chgData name="Falcão Lacerda, Rafael" userId="40181ff7-4694-4c53-a944-7b7d63582359" providerId="ADAL" clId="{3B4D5F63-EA56-4616-8A78-0C43AB7049E7}" dt="2025-12-08T00:26:52.556" v="10149"/>
          <ac:spMkLst>
            <pc:docMk/>
            <pc:sldMk cId="1021833205" sldId="991"/>
            <ac:spMk id="27" creationId="{2CAE322C-39D0-1BA3-C7BF-6A04E7C87B37}"/>
          </ac:spMkLst>
        </pc:spChg>
        <pc:spChg chg="mod">
          <ac:chgData name="Falcão Lacerda, Rafael" userId="40181ff7-4694-4c53-a944-7b7d63582359" providerId="ADAL" clId="{3B4D5F63-EA56-4616-8A78-0C43AB7049E7}" dt="2025-12-08T00:26:36.780" v="4516" actId="947"/>
          <ac:spMkLst>
            <pc:docMk/>
            <pc:sldMk cId="1021833205" sldId="991"/>
            <ac:spMk id="70" creationId="{4B30144D-E6A2-24F8-8E50-99D1B59C4957}"/>
          </ac:spMkLst>
        </pc:spChg>
        <pc:spChg chg="mod">
          <ac:chgData name="Falcão Lacerda, Rafael" userId="40181ff7-4694-4c53-a944-7b7d63582359" providerId="ADAL" clId="{3B4D5F63-EA56-4616-8A78-0C43AB7049E7}" dt="2025-12-08T00:26:36.843" v="4546" actId="947"/>
          <ac:spMkLst>
            <pc:docMk/>
            <pc:sldMk cId="1021833205" sldId="991"/>
            <ac:spMk id="71" creationId="{A25A1377-265A-2730-9546-FFE0D9C34CA4}"/>
          </ac:spMkLst>
        </pc:spChg>
        <pc:spChg chg="mod">
          <ac:chgData name="Falcão Lacerda, Rafael" userId="40181ff7-4694-4c53-a944-7b7d63582359" providerId="ADAL" clId="{3B4D5F63-EA56-4616-8A78-0C43AB7049E7}" dt="2025-12-08T00:26:41.841" v="6329" actId="790"/>
          <ac:spMkLst>
            <pc:docMk/>
            <pc:sldMk cId="1021833205" sldId="991"/>
            <ac:spMk id="72" creationId="{A5A9A844-320D-48D4-EB5D-4FC668DE478E}"/>
          </ac:spMkLst>
        </pc:spChg>
        <pc:spChg chg="mod">
          <ac:chgData name="Falcão Lacerda, Rafael" userId="40181ff7-4694-4c53-a944-7b7d63582359" providerId="ADAL" clId="{3B4D5F63-EA56-4616-8A78-0C43AB7049E7}" dt="2025-12-08T00:26:36.827" v="4542" actId="947"/>
          <ac:spMkLst>
            <pc:docMk/>
            <pc:sldMk cId="1021833205" sldId="991"/>
            <ac:spMk id="73" creationId="{1DF36AE4-0D7E-E31E-F895-C5D41C87D1EE}"/>
          </ac:spMkLst>
        </pc:spChg>
        <pc:spChg chg="mod">
          <ac:chgData name="Falcão Lacerda, Rafael" userId="40181ff7-4694-4c53-a944-7b7d63582359" providerId="ADAL" clId="{3B4D5F63-EA56-4616-8A78-0C43AB7049E7}" dt="2025-12-08T00:26:41.841" v="6329" actId="790"/>
          <ac:spMkLst>
            <pc:docMk/>
            <pc:sldMk cId="1021833205" sldId="991"/>
            <ac:spMk id="74" creationId="{32A78EE9-191A-F3AE-0C62-C7A36D0286F2}"/>
          </ac:spMkLst>
        </pc:spChg>
        <pc:spChg chg="mod">
          <ac:chgData name="Falcão Lacerda, Rafael" userId="40181ff7-4694-4c53-a944-7b7d63582359" providerId="ADAL" clId="{3B4D5F63-EA56-4616-8A78-0C43AB7049E7}" dt="2025-12-08T00:26:36.827" v="4538" actId="947"/>
          <ac:spMkLst>
            <pc:docMk/>
            <pc:sldMk cId="1021833205" sldId="991"/>
            <ac:spMk id="75" creationId="{9BCA8157-D717-ECCD-05F3-7CEB5FFF7B60}"/>
          </ac:spMkLst>
        </pc:spChg>
        <pc:spChg chg="mod">
          <ac:chgData name="Falcão Lacerda, Rafael" userId="40181ff7-4694-4c53-a944-7b7d63582359" providerId="ADAL" clId="{3B4D5F63-EA56-4616-8A78-0C43AB7049E7}" dt="2025-12-08T00:26:36.827" v="4536" actId="947"/>
          <ac:spMkLst>
            <pc:docMk/>
            <pc:sldMk cId="1021833205" sldId="991"/>
            <ac:spMk id="76" creationId="{DBD055E8-3CC6-FADB-3164-F79FCB5A1724}"/>
          </ac:spMkLst>
        </pc:spChg>
        <pc:spChg chg="mod">
          <ac:chgData name="Falcão Lacerda, Rafael" userId="40181ff7-4694-4c53-a944-7b7d63582359" providerId="ADAL" clId="{3B4D5F63-EA56-4616-8A78-0C43AB7049E7}" dt="2025-12-08T00:26:36.812" v="4534" actId="947"/>
          <ac:spMkLst>
            <pc:docMk/>
            <pc:sldMk cId="1021833205" sldId="991"/>
            <ac:spMk id="77" creationId="{38F661FA-F043-E4FE-541F-BEC9EB5F9CA5}"/>
          </ac:spMkLst>
        </pc:spChg>
        <pc:spChg chg="mod">
          <ac:chgData name="Falcão Lacerda, Rafael" userId="40181ff7-4694-4c53-a944-7b7d63582359" providerId="ADAL" clId="{3B4D5F63-EA56-4616-8A78-0C43AB7049E7}" dt="2025-12-08T00:26:36.812" v="4532" actId="947"/>
          <ac:spMkLst>
            <pc:docMk/>
            <pc:sldMk cId="1021833205" sldId="991"/>
            <ac:spMk id="78" creationId="{9D782832-059D-3CF5-D950-5C83B0C94861}"/>
          </ac:spMkLst>
        </pc:spChg>
        <pc:spChg chg="mod">
          <ac:chgData name="Falcão Lacerda, Rafael" userId="40181ff7-4694-4c53-a944-7b7d63582359" providerId="ADAL" clId="{3B4D5F63-EA56-4616-8A78-0C43AB7049E7}" dt="2025-12-08T00:26:36.812" v="4530" actId="947"/>
          <ac:spMkLst>
            <pc:docMk/>
            <pc:sldMk cId="1021833205" sldId="991"/>
            <ac:spMk id="79" creationId="{F4FEFB23-41BD-1BDD-FBD6-069185BA436E}"/>
          </ac:spMkLst>
        </pc:spChg>
        <pc:spChg chg="mod">
          <ac:chgData name="Falcão Lacerda, Rafael" userId="40181ff7-4694-4c53-a944-7b7d63582359" providerId="ADAL" clId="{3B4D5F63-EA56-4616-8A78-0C43AB7049E7}" dt="2025-12-08T00:26:36.812" v="4528" actId="947"/>
          <ac:spMkLst>
            <pc:docMk/>
            <pc:sldMk cId="1021833205" sldId="991"/>
            <ac:spMk id="80" creationId="{93D1BD94-32DF-5118-FCA5-08AB3591E9FB}"/>
          </ac:spMkLst>
        </pc:spChg>
        <pc:spChg chg="mod">
          <ac:chgData name="Falcão Lacerda, Rafael" userId="40181ff7-4694-4c53-a944-7b7d63582359" providerId="ADAL" clId="{3B4D5F63-EA56-4616-8A78-0C43AB7049E7}" dt="2025-12-08T00:26:36.806" v="4526" actId="947"/>
          <ac:spMkLst>
            <pc:docMk/>
            <pc:sldMk cId="1021833205" sldId="991"/>
            <ac:spMk id="82" creationId="{A63FEB4B-1264-2551-0753-A990F38C1380}"/>
          </ac:spMkLst>
        </pc:spChg>
        <pc:spChg chg="mod">
          <ac:chgData name="Falcão Lacerda, Rafael" userId="40181ff7-4694-4c53-a944-7b7d63582359" providerId="ADAL" clId="{3B4D5F63-EA56-4616-8A78-0C43AB7049E7}" dt="2025-12-08T00:26:41.841" v="6329" actId="790"/>
          <ac:spMkLst>
            <pc:docMk/>
            <pc:sldMk cId="1021833205" sldId="991"/>
            <ac:spMk id="83" creationId="{B8B0C864-717A-1912-728F-32CB12A01759}"/>
          </ac:spMkLst>
        </pc:spChg>
        <pc:spChg chg="mod">
          <ac:chgData name="Falcão Lacerda, Rafael" userId="40181ff7-4694-4c53-a944-7b7d63582359" providerId="ADAL" clId="{3B4D5F63-EA56-4616-8A78-0C43AB7049E7}" dt="2025-12-08T00:26:36.796" v="4522" actId="947"/>
          <ac:spMkLst>
            <pc:docMk/>
            <pc:sldMk cId="1021833205" sldId="991"/>
            <ac:spMk id="84" creationId="{6011CDEE-6855-3649-A33B-208477BFDCF7}"/>
          </ac:spMkLst>
        </pc:spChg>
        <pc:spChg chg="mod">
          <ac:chgData name="Falcão Lacerda, Rafael" userId="40181ff7-4694-4c53-a944-7b7d63582359" providerId="ADAL" clId="{3B4D5F63-EA56-4616-8A78-0C43AB7049E7}" dt="2025-12-08T00:26:36.796" v="4520" actId="947"/>
          <ac:spMkLst>
            <pc:docMk/>
            <pc:sldMk cId="1021833205" sldId="991"/>
            <ac:spMk id="85" creationId="{03DA6860-51FD-E2CA-8E76-7382CA0AEBED}"/>
          </ac:spMkLst>
        </pc:spChg>
        <pc:spChg chg="mod">
          <ac:chgData name="Falcão Lacerda, Rafael" userId="40181ff7-4694-4c53-a944-7b7d63582359" providerId="ADAL" clId="{3B4D5F63-EA56-4616-8A78-0C43AB7049E7}" dt="2025-12-08T00:26:36.792" v="4518" actId="947"/>
          <ac:spMkLst>
            <pc:docMk/>
            <pc:sldMk cId="1021833205" sldId="991"/>
            <ac:spMk id="87" creationId="{D7980D33-566A-4FB5-0F0F-D3059B13BE26}"/>
          </ac:spMkLst>
        </pc:spChg>
        <pc:graphicFrameChg chg="add mod ord modVis">
          <ac:chgData name="Falcão Lacerda, Rafael" userId="40181ff7-4694-4c53-a944-7b7d63582359" providerId="ADAL" clId="{3B4D5F63-EA56-4616-8A78-0C43AB7049E7}" dt="2025-12-08T00:26:52.605" v="10163"/>
          <ac:graphicFrameMkLst>
            <pc:docMk/>
            <pc:sldMk cId="1021833205" sldId="991"/>
            <ac:graphicFrameMk id="28" creationId="{3336A2EC-91FB-803A-ED60-DBBCE4CF0E32}"/>
          </ac:graphicFrameMkLst>
        </pc:graphicFrameChg>
      </pc:sldChg>
      <pc:sldChg chg="addSp delSp modSp mod modShow modNotes">
        <pc:chgData name="Falcão Lacerda, Rafael" userId="40181ff7-4694-4c53-a944-7b7d63582359" providerId="ADAL" clId="{3B4D5F63-EA56-4616-8A78-0C43AB7049E7}" dt="2025-12-08T17:18:13.731" v="34035" actId="729"/>
        <pc:sldMkLst>
          <pc:docMk/>
          <pc:sldMk cId="2598249561" sldId="992"/>
        </pc:sldMkLst>
        <pc:spChg chg="mod">
          <ac:chgData name="Falcão Lacerda, Rafael" userId="40181ff7-4694-4c53-a944-7b7d63582359" providerId="ADAL" clId="{3B4D5F63-EA56-4616-8A78-0C43AB7049E7}" dt="2025-12-08T00:26:45.842" v="7657" actId="948"/>
          <ac:spMkLst>
            <pc:docMk/>
            <pc:sldMk cId="2598249561" sldId="992"/>
            <ac:spMk id="2" creationId="{38F0718C-43B5-CE98-447B-D49A1DC580A1}"/>
          </ac:spMkLst>
        </pc:spChg>
        <pc:spChg chg="add del mod modVis">
          <ac:chgData name="Falcão Lacerda, Rafael" userId="40181ff7-4694-4c53-a944-7b7d63582359" providerId="ADAL" clId="{3B4D5F63-EA56-4616-8A78-0C43AB7049E7}" dt="2025-12-08T00:26:52.648" v="10181"/>
          <ac:spMkLst>
            <pc:docMk/>
            <pc:sldMk cId="2598249561" sldId="992"/>
            <ac:spMk id="3" creationId="{2CAF6765-34E1-D4FA-3987-3EDAA79525B1}"/>
          </ac:spMkLst>
        </pc:spChg>
        <pc:spChg chg="mod">
          <ac:chgData name="Falcão Lacerda, Rafael" userId="40181ff7-4694-4c53-a944-7b7d63582359" providerId="ADAL" clId="{3B4D5F63-EA56-4616-8A78-0C43AB7049E7}" dt="2025-12-08T00:26:37.053" v="4638" actId="947"/>
          <ac:spMkLst>
            <pc:docMk/>
            <pc:sldMk cId="2598249561" sldId="992"/>
            <ac:spMk id="29" creationId="{44CDE086-3E92-0F33-6E2B-9D6536B8E222}"/>
          </ac:spMkLst>
        </pc:spChg>
        <pc:spChg chg="mod">
          <ac:chgData name="Falcão Lacerda, Rafael" userId="40181ff7-4694-4c53-a944-7b7d63582359" providerId="ADAL" clId="{3B4D5F63-EA56-4616-8A78-0C43AB7049E7}" dt="2025-12-08T00:26:37.051" v="4636" actId="947"/>
          <ac:spMkLst>
            <pc:docMk/>
            <pc:sldMk cId="2598249561" sldId="992"/>
            <ac:spMk id="30" creationId="{BF7A6E75-B5C9-2648-573A-96413B966CA5}"/>
          </ac:spMkLst>
        </pc:spChg>
        <pc:spChg chg="mod">
          <ac:chgData name="Falcão Lacerda, Rafael" userId="40181ff7-4694-4c53-a944-7b7d63582359" providerId="ADAL" clId="{3B4D5F63-EA56-4616-8A78-0C43AB7049E7}" dt="2025-12-08T00:26:37.048" v="4634" actId="947"/>
          <ac:spMkLst>
            <pc:docMk/>
            <pc:sldMk cId="2598249561" sldId="992"/>
            <ac:spMk id="31" creationId="{595817ED-861A-AD64-B98A-5CF29FC1C7AB}"/>
          </ac:spMkLst>
        </pc:spChg>
        <pc:spChg chg="mod">
          <ac:chgData name="Falcão Lacerda, Rafael" userId="40181ff7-4694-4c53-a944-7b7d63582359" providerId="ADAL" clId="{3B4D5F63-EA56-4616-8A78-0C43AB7049E7}" dt="2025-12-08T00:26:37.045" v="4632" actId="947"/>
          <ac:spMkLst>
            <pc:docMk/>
            <pc:sldMk cId="2598249561" sldId="992"/>
            <ac:spMk id="32" creationId="{30780422-F267-FAEE-E20C-4A78617F977C}"/>
          </ac:spMkLst>
        </pc:spChg>
        <pc:spChg chg="mod">
          <ac:chgData name="Falcão Lacerda, Rafael" userId="40181ff7-4694-4c53-a944-7b7d63582359" providerId="ADAL" clId="{3B4D5F63-EA56-4616-8A78-0C43AB7049E7}" dt="2025-12-08T00:26:37.042" v="4630" actId="947"/>
          <ac:spMkLst>
            <pc:docMk/>
            <pc:sldMk cId="2598249561" sldId="992"/>
            <ac:spMk id="33" creationId="{8A471C4C-295E-44C0-9A52-630B39867F05}"/>
          </ac:spMkLst>
        </pc:spChg>
        <pc:spChg chg="mod">
          <ac:chgData name="Falcão Lacerda, Rafael" userId="40181ff7-4694-4c53-a944-7b7d63582359" providerId="ADAL" clId="{3B4D5F63-EA56-4616-8A78-0C43AB7049E7}" dt="2025-12-08T00:26:37.039" v="4628" actId="947"/>
          <ac:spMkLst>
            <pc:docMk/>
            <pc:sldMk cId="2598249561" sldId="992"/>
            <ac:spMk id="34" creationId="{9F0DDCFE-A7E5-FDEC-2612-E7558F8AC76D}"/>
          </ac:spMkLst>
        </pc:spChg>
        <pc:spChg chg="mod">
          <ac:chgData name="Falcão Lacerda, Rafael" userId="40181ff7-4694-4c53-a944-7b7d63582359" providerId="ADAL" clId="{3B4D5F63-EA56-4616-8A78-0C43AB7049E7}" dt="2025-12-08T00:26:37.036" v="4626" actId="947"/>
          <ac:spMkLst>
            <pc:docMk/>
            <pc:sldMk cId="2598249561" sldId="992"/>
            <ac:spMk id="35" creationId="{6C0F943E-03CE-7604-30A6-55BD9317ECD8}"/>
          </ac:spMkLst>
        </pc:spChg>
        <pc:spChg chg="mod">
          <ac:chgData name="Falcão Lacerda, Rafael" userId="40181ff7-4694-4c53-a944-7b7d63582359" providerId="ADAL" clId="{3B4D5F63-EA56-4616-8A78-0C43AB7049E7}" dt="2025-12-08T00:26:37.033" v="4624" actId="947"/>
          <ac:spMkLst>
            <pc:docMk/>
            <pc:sldMk cId="2598249561" sldId="992"/>
            <ac:spMk id="36" creationId="{9314048D-DBDF-694D-8456-5BE942DE921C}"/>
          </ac:spMkLst>
        </pc:spChg>
        <pc:spChg chg="mod">
          <ac:chgData name="Falcão Lacerda, Rafael" userId="40181ff7-4694-4c53-a944-7b7d63582359" providerId="ADAL" clId="{3B4D5F63-EA56-4616-8A78-0C43AB7049E7}" dt="2025-12-08T00:26:37.031" v="4622" actId="947"/>
          <ac:spMkLst>
            <pc:docMk/>
            <pc:sldMk cId="2598249561" sldId="992"/>
            <ac:spMk id="37" creationId="{5CC7428D-A9E5-2C5F-A332-6D2462CD955A}"/>
          </ac:spMkLst>
        </pc:spChg>
        <pc:spChg chg="mod">
          <ac:chgData name="Falcão Lacerda, Rafael" userId="40181ff7-4694-4c53-a944-7b7d63582359" providerId="ADAL" clId="{3B4D5F63-EA56-4616-8A78-0C43AB7049E7}" dt="2025-12-08T00:26:41.841" v="6329" actId="790"/>
          <ac:spMkLst>
            <pc:docMk/>
            <pc:sldMk cId="2598249561" sldId="992"/>
            <ac:spMk id="38" creationId="{79B556ED-5698-13A6-C3AF-BD008E16F42E}"/>
          </ac:spMkLst>
        </pc:spChg>
        <pc:spChg chg="mod">
          <ac:chgData name="Falcão Lacerda, Rafael" userId="40181ff7-4694-4c53-a944-7b7d63582359" providerId="ADAL" clId="{3B4D5F63-EA56-4616-8A78-0C43AB7049E7}" dt="2025-12-08T00:26:37.025" v="4618" actId="947"/>
          <ac:spMkLst>
            <pc:docMk/>
            <pc:sldMk cId="2598249561" sldId="992"/>
            <ac:spMk id="39" creationId="{C76B2E3F-A870-3BAB-47D6-38659D62FE39}"/>
          </ac:spMkLst>
        </pc:spChg>
        <pc:spChg chg="mod">
          <ac:chgData name="Falcão Lacerda, Rafael" userId="40181ff7-4694-4c53-a944-7b7d63582359" providerId="ADAL" clId="{3B4D5F63-EA56-4616-8A78-0C43AB7049E7}" dt="2025-12-08T00:26:37.023" v="4616" actId="947"/>
          <ac:spMkLst>
            <pc:docMk/>
            <pc:sldMk cId="2598249561" sldId="992"/>
            <ac:spMk id="40" creationId="{7CFB9DF9-7BFB-D5D1-D008-D86D9D1CE36D}"/>
          </ac:spMkLst>
        </pc:spChg>
        <pc:spChg chg="mod">
          <ac:chgData name="Falcão Lacerda, Rafael" userId="40181ff7-4694-4c53-a944-7b7d63582359" providerId="ADAL" clId="{3B4D5F63-EA56-4616-8A78-0C43AB7049E7}" dt="2025-12-08T00:26:37.020" v="4614" actId="947"/>
          <ac:spMkLst>
            <pc:docMk/>
            <pc:sldMk cId="2598249561" sldId="992"/>
            <ac:spMk id="41" creationId="{C1346769-0C71-B715-8B07-9A4925402ECB}"/>
          </ac:spMkLst>
        </pc:spChg>
        <pc:spChg chg="mod">
          <ac:chgData name="Falcão Lacerda, Rafael" userId="40181ff7-4694-4c53-a944-7b7d63582359" providerId="ADAL" clId="{3B4D5F63-EA56-4616-8A78-0C43AB7049E7}" dt="2025-12-08T00:26:37.017" v="4612" actId="947"/>
          <ac:spMkLst>
            <pc:docMk/>
            <pc:sldMk cId="2598249561" sldId="992"/>
            <ac:spMk id="42" creationId="{1A805AF5-3AA7-0485-6476-52692C7A3145}"/>
          </ac:spMkLst>
        </pc:spChg>
        <pc:spChg chg="mod">
          <ac:chgData name="Falcão Lacerda, Rafael" userId="40181ff7-4694-4c53-a944-7b7d63582359" providerId="ADAL" clId="{3B4D5F63-EA56-4616-8A78-0C43AB7049E7}" dt="2025-12-08T00:26:37.015" v="4610" actId="947"/>
          <ac:spMkLst>
            <pc:docMk/>
            <pc:sldMk cId="2598249561" sldId="992"/>
            <ac:spMk id="43" creationId="{64DA7E44-9B0B-1D33-17A1-271B1B8B174E}"/>
          </ac:spMkLst>
        </pc:spChg>
        <pc:spChg chg="mod">
          <ac:chgData name="Falcão Lacerda, Rafael" userId="40181ff7-4694-4c53-a944-7b7d63582359" providerId="ADAL" clId="{3B4D5F63-EA56-4616-8A78-0C43AB7049E7}" dt="2025-12-08T00:26:37.012" v="4608" actId="947"/>
          <ac:spMkLst>
            <pc:docMk/>
            <pc:sldMk cId="2598249561" sldId="992"/>
            <ac:spMk id="44" creationId="{D3739C88-FEC0-F569-C674-1A3A931F1275}"/>
          </ac:spMkLst>
        </pc:spChg>
        <pc:spChg chg="mod">
          <ac:chgData name="Falcão Lacerda, Rafael" userId="40181ff7-4694-4c53-a944-7b7d63582359" providerId="ADAL" clId="{3B4D5F63-EA56-4616-8A78-0C43AB7049E7}" dt="2025-12-08T00:26:37.009" v="4606" actId="947"/>
          <ac:spMkLst>
            <pc:docMk/>
            <pc:sldMk cId="2598249561" sldId="992"/>
            <ac:spMk id="45" creationId="{ABF809B9-B812-16DC-5062-001D8DE97054}"/>
          </ac:spMkLst>
        </pc:spChg>
        <pc:spChg chg="mod">
          <ac:chgData name="Falcão Lacerda, Rafael" userId="40181ff7-4694-4c53-a944-7b7d63582359" providerId="ADAL" clId="{3B4D5F63-EA56-4616-8A78-0C43AB7049E7}" dt="2025-12-08T00:26:41.841" v="6329" actId="790"/>
          <ac:spMkLst>
            <pc:docMk/>
            <pc:sldMk cId="2598249561" sldId="992"/>
            <ac:spMk id="46" creationId="{9F26CB50-D4B4-E212-8A80-D8E71EB2D187}"/>
          </ac:spMkLst>
        </pc:spChg>
        <pc:spChg chg="mod">
          <ac:chgData name="Falcão Lacerda, Rafael" userId="40181ff7-4694-4c53-a944-7b7d63582359" providerId="ADAL" clId="{3B4D5F63-EA56-4616-8A78-0C43AB7049E7}" dt="2025-12-08T00:26:37.005" v="4602" actId="947"/>
          <ac:spMkLst>
            <pc:docMk/>
            <pc:sldMk cId="2598249561" sldId="992"/>
            <ac:spMk id="47" creationId="{855005E8-DAFA-6293-0EFB-1D3A289C929A}"/>
          </ac:spMkLst>
        </pc:spChg>
        <pc:spChg chg="mod">
          <ac:chgData name="Falcão Lacerda, Rafael" userId="40181ff7-4694-4c53-a944-7b7d63582359" providerId="ADAL" clId="{3B4D5F63-EA56-4616-8A78-0C43AB7049E7}" dt="2025-12-08T00:26:37.002" v="4600" actId="947"/>
          <ac:spMkLst>
            <pc:docMk/>
            <pc:sldMk cId="2598249561" sldId="992"/>
            <ac:spMk id="48" creationId="{8B4189F5-5D26-4449-E133-A41401B57A70}"/>
          </ac:spMkLst>
        </pc:spChg>
        <pc:spChg chg="mod">
          <ac:chgData name="Falcão Lacerda, Rafael" userId="40181ff7-4694-4c53-a944-7b7d63582359" providerId="ADAL" clId="{3B4D5F63-EA56-4616-8A78-0C43AB7049E7}" dt="2025-12-08T00:26:41.841" v="6329" actId="790"/>
          <ac:spMkLst>
            <pc:docMk/>
            <pc:sldMk cId="2598249561" sldId="992"/>
            <ac:spMk id="49" creationId="{C6D95A72-4801-A087-DA13-09EB7ED1AF38}"/>
          </ac:spMkLst>
        </pc:spChg>
        <pc:spChg chg="mod">
          <ac:chgData name="Falcão Lacerda, Rafael" userId="40181ff7-4694-4c53-a944-7b7d63582359" providerId="ADAL" clId="{3B4D5F63-EA56-4616-8A78-0C43AB7049E7}" dt="2025-12-08T00:26:36.992" v="4596" actId="947"/>
          <ac:spMkLst>
            <pc:docMk/>
            <pc:sldMk cId="2598249561" sldId="992"/>
            <ac:spMk id="50" creationId="{B03B4896-8316-30A0-396E-D50E5CBD4F70}"/>
          </ac:spMkLst>
        </pc:spChg>
        <pc:spChg chg="mod">
          <ac:chgData name="Falcão Lacerda, Rafael" userId="40181ff7-4694-4c53-a944-7b7d63582359" providerId="ADAL" clId="{3B4D5F63-EA56-4616-8A78-0C43AB7049E7}" dt="2025-12-08T00:26:37.058" v="4642" actId="947"/>
          <ac:spMkLst>
            <pc:docMk/>
            <pc:sldMk cId="2598249561" sldId="992"/>
            <ac:spMk id="51" creationId="{B8EF2F0B-25B8-9E84-5EAC-28AD00FAAD2D}"/>
          </ac:spMkLst>
        </pc:spChg>
        <pc:spChg chg="mod">
          <ac:chgData name="Falcão Lacerda, Rafael" userId="40181ff7-4694-4c53-a944-7b7d63582359" providerId="ADAL" clId="{3B4D5F63-EA56-4616-8A78-0C43AB7049E7}" dt="2025-12-08T00:26:37.056" v="4640" actId="947"/>
          <ac:spMkLst>
            <pc:docMk/>
            <pc:sldMk cId="2598249561" sldId="992"/>
            <ac:spMk id="52" creationId="{8DECB808-E18A-E52D-94B5-BDB025B71C24}"/>
          </ac:spMkLst>
        </pc:spChg>
        <pc:spChg chg="mod">
          <ac:chgData name="Falcão Lacerda, Rafael" userId="40181ff7-4694-4c53-a944-7b7d63582359" providerId="ADAL" clId="{3B4D5F63-EA56-4616-8A78-0C43AB7049E7}" dt="2025-12-08T00:26:41.841" v="6329" actId="790"/>
          <ac:spMkLst>
            <pc:docMk/>
            <pc:sldMk cId="2598249561" sldId="992"/>
            <ac:spMk id="54" creationId="{0FE03A1B-E0C7-34E3-B797-DA13713946AC}"/>
          </ac:spMkLst>
        </pc:spChg>
        <pc:spChg chg="mod">
          <ac:chgData name="Falcão Lacerda, Rafael" userId="40181ff7-4694-4c53-a944-7b7d63582359" providerId="ADAL" clId="{3B4D5F63-EA56-4616-8A78-0C43AB7049E7}" dt="2025-12-08T00:26:37.080" v="4658" actId="947"/>
          <ac:spMkLst>
            <pc:docMk/>
            <pc:sldMk cId="2598249561" sldId="992"/>
            <ac:spMk id="55" creationId="{8A26C2E9-7A3D-9DA7-2C17-696A2AB44550}"/>
          </ac:spMkLst>
        </pc:spChg>
        <pc:spChg chg="mod">
          <ac:chgData name="Falcão Lacerda, Rafael" userId="40181ff7-4694-4c53-a944-7b7d63582359" providerId="ADAL" clId="{3B4D5F63-EA56-4616-8A78-0C43AB7049E7}" dt="2025-12-08T00:26:41.841" v="6329" actId="790"/>
          <ac:spMkLst>
            <pc:docMk/>
            <pc:sldMk cId="2598249561" sldId="992"/>
            <ac:spMk id="56" creationId="{3F2B66C9-D87A-B5F4-5DBF-27E79ECD8C2F}"/>
          </ac:spMkLst>
        </pc:spChg>
        <pc:spChg chg="mod">
          <ac:chgData name="Falcão Lacerda, Rafael" userId="40181ff7-4694-4c53-a944-7b7d63582359" providerId="ADAL" clId="{3B4D5F63-EA56-4616-8A78-0C43AB7049E7}" dt="2025-12-08T00:26:41.841" v="6329" actId="790"/>
          <ac:spMkLst>
            <pc:docMk/>
            <pc:sldMk cId="2598249561" sldId="992"/>
            <ac:spMk id="57" creationId="{08104256-9123-B6E8-D33F-FE61F9256C5B}"/>
          </ac:spMkLst>
        </pc:spChg>
        <pc:spChg chg="mod">
          <ac:chgData name="Falcão Lacerda, Rafael" userId="40181ff7-4694-4c53-a944-7b7d63582359" providerId="ADAL" clId="{3B4D5F63-EA56-4616-8A78-0C43AB7049E7}" dt="2025-12-08T00:26:41.841" v="6329" actId="790"/>
          <ac:spMkLst>
            <pc:docMk/>
            <pc:sldMk cId="2598249561" sldId="992"/>
            <ac:spMk id="58" creationId="{E47B0145-EE41-6991-D141-0D4B14837474}"/>
          </ac:spMkLst>
        </pc:spChg>
        <pc:spChg chg="mod">
          <ac:chgData name="Falcão Lacerda, Rafael" userId="40181ff7-4694-4c53-a944-7b7d63582359" providerId="ADAL" clId="{3B4D5F63-EA56-4616-8A78-0C43AB7049E7}" dt="2025-12-08T00:26:37.059" v="4650" actId="947"/>
          <ac:spMkLst>
            <pc:docMk/>
            <pc:sldMk cId="2598249561" sldId="992"/>
            <ac:spMk id="59" creationId="{DB62DF2C-A2BB-68D3-A879-C9A177DC5B6A}"/>
          </ac:spMkLst>
        </pc:spChg>
        <pc:spChg chg="mod">
          <ac:chgData name="Falcão Lacerda, Rafael" userId="40181ff7-4694-4c53-a944-7b7d63582359" providerId="ADAL" clId="{3B4D5F63-EA56-4616-8A78-0C43AB7049E7}" dt="2025-12-08T00:26:37.059" v="4648" actId="947"/>
          <ac:spMkLst>
            <pc:docMk/>
            <pc:sldMk cId="2598249561" sldId="992"/>
            <ac:spMk id="60" creationId="{2480536B-4207-7BCA-F329-698BA44162E1}"/>
          </ac:spMkLst>
        </pc:spChg>
        <pc:spChg chg="mod">
          <ac:chgData name="Falcão Lacerda, Rafael" userId="40181ff7-4694-4c53-a944-7b7d63582359" providerId="ADAL" clId="{3B4D5F63-EA56-4616-8A78-0C43AB7049E7}" dt="2025-12-08T00:26:41.841" v="6329" actId="790"/>
          <ac:spMkLst>
            <pc:docMk/>
            <pc:sldMk cId="2598249561" sldId="992"/>
            <ac:spMk id="61" creationId="{B6EE151D-03FA-C74F-D300-D8D27EBBEFA0}"/>
          </ac:spMkLst>
        </pc:spChg>
        <pc:spChg chg="mod">
          <ac:chgData name="Falcão Lacerda, Rafael" userId="40181ff7-4694-4c53-a944-7b7d63582359" providerId="ADAL" clId="{3B4D5F63-EA56-4616-8A78-0C43AB7049E7}" dt="2025-12-08T00:26:41.841" v="6329" actId="790"/>
          <ac:spMkLst>
            <pc:docMk/>
            <pc:sldMk cId="2598249561" sldId="992"/>
            <ac:spMk id="62" creationId="{4E9D224B-9AAF-BDE2-AD88-7BFD21BD5CE1}"/>
          </ac:spMkLst>
        </pc:spChg>
        <pc:graphicFrameChg chg="add mod ord modVis">
          <ac:chgData name="Falcão Lacerda, Rafael" userId="40181ff7-4694-4c53-a944-7b7d63582359" providerId="ADAL" clId="{3B4D5F63-EA56-4616-8A78-0C43AB7049E7}" dt="2025-12-08T00:26:52.695" v="10195"/>
          <ac:graphicFrameMkLst>
            <pc:docMk/>
            <pc:sldMk cId="2598249561" sldId="992"/>
            <ac:graphicFrameMk id="4" creationId="{CDD6E8FE-8CE6-37E5-A1BC-E3D345D8AB4E}"/>
          </ac:graphicFrameMkLst>
        </pc:graphicFrameChg>
      </pc:sldChg>
      <pc:sldChg chg="addSp delSp modSp mod modShow modNotes">
        <pc:chgData name="Falcão Lacerda, Rafael" userId="40181ff7-4694-4c53-a944-7b7d63582359" providerId="ADAL" clId="{3B4D5F63-EA56-4616-8A78-0C43AB7049E7}" dt="2025-12-08T17:18:13.731" v="34035" actId="729"/>
        <pc:sldMkLst>
          <pc:docMk/>
          <pc:sldMk cId="1102416955" sldId="995"/>
        </pc:sldMkLst>
        <pc:spChg chg="add del mod modVis">
          <ac:chgData name="Falcão Lacerda, Rafael" userId="40181ff7-4694-4c53-a944-7b7d63582359" providerId="ADAL" clId="{3B4D5F63-EA56-4616-8A78-0C43AB7049E7}" dt="2025-12-08T00:26:52.276" v="10069"/>
          <ac:spMkLst>
            <pc:docMk/>
            <pc:sldMk cId="1102416955" sldId="995"/>
            <ac:spMk id="2" creationId="{C579C115-0FCB-7195-51E2-ACB77FC2872F}"/>
          </ac:spMkLst>
        </pc:spChg>
        <pc:spChg chg="mod">
          <ac:chgData name="Falcão Lacerda, Rafael" userId="40181ff7-4694-4c53-a944-7b7d63582359" providerId="ADAL" clId="{3B4D5F63-EA56-4616-8A78-0C43AB7049E7}" dt="2025-12-08T00:26:45.547" v="7517" actId="948"/>
          <ac:spMkLst>
            <pc:docMk/>
            <pc:sldMk cId="1102416955" sldId="995"/>
            <ac:spMk id="4" creationId="{2CCFC8A6-0A29-5B6D-CB71-FD2AC3DDAF00}"/>
          </ac:spMkLst>
        </pc:spChg>
        <pc:spChg chg="mod">
          <ac:chgData name="Falcão Lacerda, Rafael" userId="40181ff7-4694-4c53-a944-7b7d63582359" providerId="ADAL" clId="{3B4D5F63-EA56-4616-8A78-0C43AB7049E7}" dt="2025-12-08T00:26:41.841" v="6329" actId="790"/>
          <ac:spMkLst>
            <pc:docMk/>
            <pc:sldMk cId="1102416955" sldId="995"/>
            <ac:spMk id="41" creationId="{4D63C3BC-2C08-74CE-0F58-2EF4D02B27F4}"/>
          </ac:spMkLst>
        </pc:spChg>
        <pc:graphicFrameChg chg="add mod ord modVis">
          <ac:chgData name="Falcão Lacerda, Rafael" userId="40181ff7-4694-4c53-a944-7b7d63582359" providerId="ADAL" clId="{3B4D5F63-EA56-4616-8A78-0C43AB7049E7}" dt="2025-12-08T00:26:52.314" v="10083"/>
          <ac:graphicFrameMkLst>
            <pc:docMk/>
            <pc:sldMk cId="1102416955" sldId="995"/>
            <ac:graphicFrameMk id="3" creationId="{FED0B315-0799-25FD-8E6F-4EC2A654EEDD}"/>
          </ac:graphicFrameMkLst>
        </pc:graphicFrameChg>
        <pc:graphicFrameChg chg="modGraphic">
          <ac:chgData name="Falcão Lacerda, Rafael" userId="40181ff7-4694-4c53-a944-7b7d63582359" providerId="ADAL" clId="{3B4D5F63-EA56-4616-8A78-0C43AB7049E7}" dt="2025-12-08T00:26:41.841" v="6329" actId="790"/>
          <ac:graphicFrameMkLst>
            <pc:docMk/>
            <pc:sldMk cId="1102416955" sldId="995"/>
            <ac:graphicFrameMk id="7" creationId="{7F4E5342-5727-9502-AA49-B9A92D1FADC7}"/>
          </ac:graphicFrameMkLst>
        </pc:graphicFrameChg>
        <pc:graphicFrameChg chg="modGraphic">
          <ac:chgData name="Falcão Lacerda, Rafael" userId="40181ff7-4694-4c53-a944-7b7d63582359" providerId="ADAL" clId="{3B4D5F63-EA56-4616-8A78-0C43AB7049E7}" dt="2025-12-08T00:26:41.841" v="6329" actId="790"/>
          <ac:graphicFrameMkLst>
            <pc:docMk/>
            <pc:sldMk cId="1102416955" sldId="995"/>
            <ac:graphicFrameMk id="8" creationId="{39B80B31-6277-A50F-4EB0-D7DCCCAEDA1C}"/>
          </ac:graphicFrameMkLst>
        </pc:graphicFrameChg>
        <pc:graphicFrameChg chg="modGraphic">
          <ac:chgData name="Falcão Lacerda, Rafael" userId="40181ff7-4694-4c53-a944-7b7d63582359" providerId="ADAL" clId="{3B4D5F63-EA56-4616-8A78-0C43AB7049E7}" dt="2025-12-08T00:26:41.841" v="6329" actId="790"/>
          <ac:graphicFrameMkLst>
            <pc:docMk/>
            <pc:sldMk cId="1102416955" sldId="995"/>
            <ac:graphicFrameMk id="9" creationId="{5E905A0F-6118-A752-A4BE-52A6263BD20E}"/>
          </ac:graphicFrameMkLst>
        </pc:graphicFrameChg>
        <pc:graphicFrameChg chg="modGraphic">
          <ac:chgData name="Falcão Lacerda, Rafael" userId="40181ff7-4694-4c53-a944-7b7d63582359" providerId="ADAL" clId="{3B4D5F63-EA56-4616-8A78-0C43AB7049E7}" dt="2025-12-08T00:26:41.841" v="6329" actId="790"/>
          <ac:graphicFrameMkLst>
            <pc:docMk/>
            <pc:sldMk cId="1102416955" sldId="995"/>
            <ac:graphicFrameMk id="43" creationId="{5C00AD2C-D8D4-77C2-C5D4-47B4E8BA5E2D}"/>
          </ac:graphicFrameMkLst>
        </pc:graphicFrameChg>
      </pc:sldChg>
      <pc:sldChg chg="addSp delSp modSp mod modShow modNotes">
        <pc:chgData name="Falcão Lacerda, Rafael" userId="40181ff7-4694-4c53-a944-7b7d63582359" providerId="ADAL" clId="{3B4D5F63-EA56-4616-8A78-0C43AB7049E7}" dt="2025-12-08T17:18:13.731" v="34035" actId="729"/>
        <pc:sldMkLst>
          <pc:docMk/>
          <pc:sldMk cId="3318658366" sldId="999"/>
        </pc:sldMkLst>
        <pc:spChg chg="mod">
          <ac:chgData name="Falcão Lacerda, Rafael" userId="40181ff7-4694-4c53-a944-7b7d63582359" providerId="ADAL" clId="{3B4D5F63-EA56-4616-8A78-0C43AB7049E7}" dt="2025-12-08T00:26:46.264" v="7839" actId="948"/>
          <ac:spMkLst>
            <pc:docMk/>
            <pc:sldMk cId="3318658366" sldId="999"/>
            <ac:spMk id="2" creationId="{DF20B2BF-D672-9845-4939-9C733D6CF778}"/>
          </ac:spMkLst>
        </pc:spChg>
        <pc:spChg chg="add del mod modVis">
          <ac:chgData name="Falcão Lacerda, Rafael" userId="40181ff7-4694-4c53-a944-7b7d63582359" providerId="ADAL" clId="{3B4D5F63-EA56-4616-8A78-0C43AB7049E7}" dt="2025-12-08T00:26:53.147" v="10353"/>
          <ac:spMkLst>
            <pc:docMk/>
            <pc:sldMk cId="3318658366" sldId="999"/>
            <ac:spMk id="4" creationId="{2E3AE0CB-C361-6935-C86A-F9885E54BF6F}"/>
          </ac:spMkLst>
        </pc:spChg>
        <pc:graphicFrameChg chg="add mod ord modVis">
          <ac:chgData name="Falcão Lacerda, Rafael" userId="40181ff7-4694-4c53-a944-7b7d63582359" providerId="ADAL" clId="{3B4D5F63-EA56-4616-8A78-0C43AB7049E7}" dt="2025-12-08T00:26:53.169" v="10367"/>
          <ac:graphicFrameMkLst>
            <pc:docMk/>
            <pc:sldMk cId="3318658366" sldId="999"/>
            <ac:graphicFrameMk id="5" creationId="{51F419F6-800E-242C-D78C-5475C5AD8DD6}"/>
          </ac:graphicFrameMkLst>
        </pc:graphicFrameChg>
      </pc:sldChg>
      <pc:sldChg chg="addSp delSp modSp mod modShow modNotes">
        <pc:chgData name="Falcão Lacerda, Rafael" userId="40181ff7-4694-4c53-a944-7b7d63582359" providerId="ADAL" clId="{3B4D5F63-EA56-4616-8A78-0C43AB7049E7}" dt="2025-12-08T17:18:13.731" v="34035" actId="729"/>
        <pc:sldMkLst>
          <pc:docMk/>
          <pc:sldMk cId="204883295" sldId="1000"/>
        </pc:sldMkLst>
        <pc:spChg chg="add del mod modVis">
          <ac:chgData name="Falcão Lacerda, Rafael" userId="40181ff7-4694-4c53-a944-7b7d63582359" providerId="ADAL" clId="{3B4D5F63-EA56-4616-8A78-0C43AB7049E7}" dt="2025-12-08T00:26:52.927" v="10275"/>
          <ac:spMkLst>
            <pc:docMk/>
            <pc:sldMk cId="204883295" sldId="1000"/>
            <ac:spMk id="2" creationId="{08652003-A4A5-80DC-47C6-C8FC82BEBAA5}"/>
          </ac:spMkLst>
        </pc:spChg>
        <pc:spChg chg="mod">
          <ac:chgData name="Falcão Lacerda, Rafael" userId="40181ff7-4694-4c53-a944-7b7d63582359" providerId="ADAL" clId="{3B4D5F63-EA56-4616-8A78-0C43AB7049E7}" dt="2025-12-08T00:26:46.103" v="7758" actId="948"/>
          <ac:spMkLst>
            <pc:docMk/>
            <pc:sldMk cId="204883295" sldId="1000"/>
            <ac:spMk id="6" creationId="{D0F6BFBD-A1E1-ED17-A388-6F643BFC0659}"/>
          </ac:spMkLst>
        </pc:spChg>
        <pc:graphicFrameChg chg="add mod ord modVis">
          <ac:chgData name="Falcão Lacerda, Rafael" userId="40181ff7-4694-4c53-a944-7b7d63582359" providerId="ADAL" clId="{3B4D5F63-EA56-4616-8A78-0C43AB7049E7}" dt="2025-12-08T00:26:52.956" v="10289"/>
          <ac:graphicFrameMkLst>
            <pc:docMk/>
            <pc:sldMk cId="204883295" sldId="1000"/>
            <ac:graphicFrameMk id="3" creationId="{4C445645-7522-A5B8-8FD9-37D9611B8780}"/>
          </ac:graphicFrameMkLst>
        </pc:graphicFrameChg>
      </pc:sldChg>
      <pc:sldChg chg="addSp delSp modSp mod modShow modNotes">
        <pc:chgData name="Falcão Lacerda, Rafael" userId="40181ff7-4694-4c53-a944-7b7d63582359" providerId="ADAL" clId="{3B4D5F63-EA56-4616-8A78-0C43AB7049E7}" dt="2025-12-08T17:18:13.731" v="34035" actId="729"/>
        <pc:sldMkLst>
          <pc:docMk/>
          <pc:sldMk cId="789930882" sldId="1001"/>
        </pc:sldMkLst>
        <pc:spChg chg="add del mod modVis">
          <ac:chgData name="Falcão Lacerda, Rafael" userId="40181ff7-4694-4c53-a944-7b7d63582359" providerId="ADAL" clId="{3B4D5F63-EA56-4616-8A78-0C43AB7049E7}" dt="2025-12-08T00:26:53.394" v="10449"/>
          <ac:spMkLst>
            <pc:docMk/>
            <pc:sldMk cId="789930882" sldId="1001"/>
            <ac:spMk id="2" creationId="{06F6C76E-F960-E9FF-E422-2AA8FFE9D943}"/>
          </ac:spMkLst>
        </pc:spChg>
        <pc:spChg chg="mod">
          <ac:chgData name="Falcão Lacerda, Rafael" userId="40181ff7-4694-4c53-a944-7b7d63582359" providerId="ADAL" clId="{3B4D5F63-EA56-4616-8A78-0C43AB7049E7}" dt="2025-12-08T00:26:46.455" v="7959" actId="948"/>
          <ac:spMkLst>
            <pc:docMk/>
            <pc:sldMk cId="789930882" sldId="1001"/>
            <ac:spMk id="8" creationId="{CC9B3ED7-C4E1-981D-441C-83CC730E5F1D}"/>
          </ac:spMkLst>
        </pc:spChg>
        <pc:graphicFrameChg chg="add mod ord modVis">
          <ac:chgData name="Falcão Lacerda, Rafael" userId="40181ff7-4694-4c53-a944-7b7d63582359" providerId="ADAL" clId="{3B4D5F63-EA56-4616-8A78-0C43AB7049E7}" dt="2025-12-08T00:26:53.418" v="10463"/>
          <ac:graphicFrameMkLst>
            <pc:docMk/>
            <pc:sldMk cId="789930882" sldId="1001"/>
            <ac:graphicFrameMk id="3" creationId="{39B155FB-0F38-FD29-E308-3620B9363342}"/>
          </ac:graphicFrameMkLst>
        </pc:graphicFrameChg>
        <pc:graphicFrameChg chg="modGraphic">
          <ac:chgData name="Falcão Lacerda, Rafael" userId="40181ff7-4694-4c53-a944-7b7d63582359" providerId="ADAL" clId="{3B4D5F63-EA56-4616-8A78-0C43AB7049E7}" dt="2025-12-08T00:26:41.841" v="6329" actId="790"/>
          <ac:graphicFrameMkLst>
            <pc:docMk/>
            <pc:sldMk cId="789930882" sldId="1001"/>
            <ac:graphicFrameMk id="7" creationId="{A4C422DC-45AE-CF5F-9B41-AD40F4B00F26}"/>
          </ac:graphicFrameMkLst>
        </pc:graphicFrameChg>
      </pc:sldChg>
      <pc:sldChg chg="addSp delSp modSp mod modShow modNotes">
        <pc:chgData name="Falcão Lacerda, Rafael" userId="40181ff7-4694-4c53-a944-7b7d63582359" providerId="ADAL" clId="{3B4D5F63-EA56-4616-8A78-0C43AB7049E7}" dt="2025-12-08T17:18:13.731" v="34035" actId="729"/>
        <pc:sldMkLst>
          <pc:docMk/>
          <pc:sldMk cId="2492464868" sldId="1002"/>
        </pc:sldMkLst>
        <pc:spChg chg="add del mod modVis">
          <ac:chgData name="Falcão Lacerda, Rafael" userId="40181ff7-4694-4c53-a944-7b7d63582359" providerId="ADAL" clId="{3B4D5F63-EA56-4616-8A78-0C43AB7049E7}" dt="2025-12-08T00:26:53.221" v="10385"/>
          <ac:spMkLst>
            <pc:docMk/>
            <pc:sldMk cId="2492464868" sldId="1002"/>
            <ac:spMk id="2" creationId="{BE7D6385-3A38-C859-462C-A266BA3ADDB1}"/>
          </ac:spMkLst>
        </pc:spChg>
        <pc:spChg chg="mod">
          <ac:chgData name="Falcão Lacerda, Rafael" userId="40181ff7-4694-4c53-a944-7b7d63582359" providerId="ADAL" clId="{3B4D5F63-EA56-4616-8A78-0C43AB7049E7}" dt="2025-12-08T00:26:46.336" v="7879" actId="948"/>
          <ac:spMkLst>
            <pc:docMk/>
            <pc:sldMk cId="2492464868" sldId="1002"/>
            <ac:spMk id="4" creationId="{BC3025FF-3CCD-5D0C-31E6-1DBED089917C}"/>
          </ac:spMkLst>
        </pc:spChg>
        <pc:graphicFrameChg chg="add mod ord modVis">
          <ac:chgData name="Falcão Lacerda, Rafael" userId="40181ff7-4694-4c53-a944-7b7d63582359" providerId="ADAL" clId="{3B4D5F63-EA56-4616-8A78-0C43AB7049E7}" dt="2025-12-08T00:26:53.262" v="10399"/>
          <ac:graphicFrameMkLst>
            <pc:docMk/>
            <pc:sldMk cId="2492464868" sldId="1002"/>
            <ac:graphicFrameMk id="3" creationId="{14F058D3-156F-04C1-DB97-FC381D78A866}"/>
          </ac:graphicFrameMkLst>
        </pc:graphicFrameChg>
        <pc:graphicFrameChg chg="modGraphic">
          <ac:chgData name="Falcão Lacerda, Rafael" userId="40181ff7-4694-4c53-a944-7b7d63582359" providerId="ADAL" clId="{3B4D5F63-EA56-4616-8A78-0C43AB7049E7}" dt="2025-12-08T00:26:41.841" v="6329" actId="790"/>
          <ac:graphicFrameMkLst>
            <pc:docMk/>
            <pc:sldMk cId="2492464868" sldId="1002"/>
            <ac:graphicFrameMk id="7" creationId="{FB2FB926-A7FB-33C0-1493-630D11D1E707}"/>
          </ac:graphicFrameMkLst>
        </pc:graphicFrameChg>
      </pc:sldChg>
      <pc:sldChg chg="addSp delSp modSp mod modShow modNotes">
        <pc:chgData name="Falcão Lacerda, Rafael" userId="40181ff7-4694-4c53-a944-7b7d63582359" providerId="ADAL" clId="{3B4D5F63-EA56-4616-8A78-0C43AB7049E7}" dt="2025-12-08T17:18:13.731" v="34035" actId="729"/>
        <pc:sldMkLst>
          <pc:docMk/>
          <pc:sldMk cId="3730007659" sldId="1006"/>
        </pc:sldMkLst>
        <pc:spChg chg="add del mod modVis">
          <ac:chgData name="Falcão Lacerda, Rafael" userId="40181ff7-4694-4c53-a944-7b7d63582359" providerId="ADAL" clId="{3B4D5F63-EA56-4616-8A78-0C43AB7049E7}" dt="2025-12-08T00:26:53.637" v="10545"/>
          <ac:spMkLst>
            <pc:docMk/>
            <pc:sldMk cId="3730007659" sldId="1006"/>
            <ac:spMk id="2" creationId="{CEFFD1E7-566A-65C1-8BA5-C53C83676854}"/>
          </ac:spMkLst>
        </pc:spChg>
        <pc:spChg chg="mod">
          <ac:chgData name="Falcão Lacerda, Rafael" userId="40181ff7-4694-4c53-a944-7b7d63582359" providerId="ADAL" clId="{3B4D5F63-EA56-4616-8A78-0C43AB7049E7}" dt="2025-12-08T00:26:46.659" v="8079" actId="948"/>
          <ac:spMkLst>
            <pc:docMk/>
            <pc:sldMk cId="3730007659" sldId="1006"/>
            <ac:spMk id="3" creationId="{36E31B1A-C610-4521-3CD1-01F25BC52E69}"/>
          </ac:spMkLst>
        </pc:spChg>
        <pc:graphicFrameChg chg="add mod ord modVis">
          <ac:chgData name="Falcão Lacerda, Rafael" userId="40181ff7-4694-4c53-a944-7b7d63582359" providerId="ADAL" clId="{3B4D5F63-EA56-4616-8A78-0C43AB7049E7}" dt="2025-12-08T00:26:53.676" v="10559"/>
          <ac:graphicFrameMkLst>
            <pc:docMk/>
            <pc:sldMk cId="3730007659" sldId="1006"/>
            <ac:graphicFrameMk id="4" creationId="{6EC7E85C-D5E6-BBEF-25B0-5F30CF3BBC6D}"/>
          </ac:graphicFrameMkLst>
        </pc:graphicFrameChg>
      </pc:sldChg>
      <pc:sldChg chg="addSp delSp modSp mod modShow modNotes">
        <pc:chgData name="Falcão Lacerda, Rafael" userId="40181ff7-4694-4c53-a944-7b7d63582359" providerId="ADAL" clId="{3B4D5F63-EA56-4616-8A78-0C43AB7049E7}" dt="2025-12-08T17:18:13.731" v="34035" actId="729"/>
        <pc:sldMkLst>
          <pc:docMk/>
          <pc:sldMk cId="1029535704" sldId="1007"/>
        </pc:sldMkLst>
        <pc:spChg chg="add del mod modVis">
          <ac:chgData name="Falcão Lacerda, Rafael" userId="40181ff7-4694-4c53-a944-7b7d63582359" providerId="ADAL" clId="{3B4D5F63-EA56-4616-8A78-0C43AB7049E7}" dt="2025-12-08T00:26:53.592" v="10529"/>
          <ac:spMkLst>
            <pc:docMk/>
            <pc:sldMk cId="1029535704" sldId="1007"/>
            <ac:spMk id="2" creationId="{A106E4F2-39B4-F3E6-792E-102FF8C8BA4A}"/>
          </ac:spMkLst>
        </pc:spChg>
        <pc:spChg chg="mod">
          <ac:chgData name="Falcão Lacerda, Rafael" userId="40181ff7-4694-4c53-a944-7b7d63582359" providerId="ADAL" clId="{3B4D5F63-EA56-4616-8A78-0C43AB7049E7}" dt="2025-12-08T00:26:46.625" v="8059" actId="948"/>
          <ac:spMkLst>
            <pc:docMk/>
            <pc:sldMk cId="1029535704" sldId="1007"/>
            <ac:spMk id="3" creationId="{7FE1F72F-B579-F4CE-965F-8D8F2726ADDF}"/>
          </ac:spMkLst>
        </pc:spChg>
        <pc:graphicFrameChg chg="add mod ord modVis">
          <ac:chgData name="Falcão Lacerda, Rafael" userId="40181ff7-4694-4c53-a944-7b7d63582359" providerId="ADAL" clId="{3B4D5F63-EA56-4616-8A78-0C43AB7049E7}" dt="2025-12-08T00:26:53.637" v="10543"/>
          <ac:graphicFrameMkLst>
            <pc:docMk/>
            <pc:sldMk cId="1029535704" sldId="1007"/>
            <ac:graphicFrameMk id="5" creationId="{2CE7D4CD-A0E3-4695-5C97-6D4B2E10314D}"/>
          </ac:graphicFrameMkLst>
        </pc:graphicFrameChg>
      </pc:sldChg>
      <pc:sldChg chg="addSp delSp modSp mod modShow modNotes">
        <pc:chgData name="Falcão Lacerda, Rafael" userId="40181ff7-4694-4c53-a944-7b7d63582359" providerId="ADAL" clId="{3B4D5F63-EA56-4616-8A78-0C43AB7049E7}" dt="2025-12-08T17:18:13.731" v="34035" actId="729"/>
        <pc:sldMkLst>
          <pc:docMk/>
          <pc:sldMk cId="422380719" sldId="1008"/>
        </pc:sldMkLst>
        <pc:spChg chg="add del mod modVis">
          <ac:chgData name="Falcão Lacerda, Rafael" userId="40181ff7-4694-4c53-a944-7b7d63582359" providerId="ADAL" clId="{3B4D5F63-EA56-4616-8A78-0C43AB7049E7}" dt="2025-12-08T00:26:53.418" v="10465"/>
          <ac:spMkLst>
            <pc:docMk/>
            <pc:sldMk cId="422380719" sldId="1008"/>
            <ac:spMk id="2" creationId="{0A8FF284-B83D-166F-C402-57CFD70E6ECA}"/>
          </ac:spMkLst>
        </pc:spChg>
        <pc:spChg chg="mod">
          <ac:chgData name="Falcão Lacerda, Rafael" userId="40181ff7-4694-4c53-a944-7b7d63582359" providerId="ADAL" clId="{3B4D5F63-EA56-4616-8A78-0C43AB7049E7}" dt="2025-12-08T00:26:46.488" v="7979" actId="948"/>
          <ac:spMkLst>
            <pc:docMk/>
            <pc:sldMk cId="422380719" sldId="1008"/>
            <ac:spMk id="3" creationId="{1CB7FFB3-846E-2BC4-F0C2-7F43ECE936CF}"/>
          </ac:spMkLst>
        </pc:spChg>
        <pc:graphicFrameChg chg="modGraphic">
          <ac:chgData name="Falcão Lacerda, Rafael" userId="40181ff7-4694-4c53-a944-7b7d63582359" providerId="ADAL" clId="{3B4D5F63-EA56-4616-8A78-0C43AB7049E7}" dt="2025-12-08T00:26:41.841" v="6329" actId="790"/>
          <ac:graphicFrameMkLst>
            <pc:docMk/>
            <pc:sldMk cId="422380719" sldId="1008"/>
            <ac:graphicFrameMk id="4" creationId="{1D85E37B-B477-E741-1E06-EAE275BDED30}"/>
          </ac:graphicFrameMkLst>
        </pc:graphicFrameChg>
        <pc:graphicFrameChg chg="add mod ord modVis">
          <ac:chgData name="Falcão Lacerda, Rafael" userId="40181ff7-4694-4c53-a944-7b7d63582359" providerId="ADAL" clId="{3B4D5F63-EA56-4616-8A78-0C43AB7049E7}" dt="2025-12-08T00:26:53.471" v="10479"/>
          <ac:graphicFrameMkLst>
            <pc:docMk/>
            <pc:sldMk cId="422380719" sldId="1008"/>
            <ac:graphicFrameMk id="5" creationId="{66E282DA-54D2-A476-5709-8AAF46CAC7D7}"/>
          </ac:graphicFrameMkLst>
        </pc:graphicFrameChg>
      </pc:sldChg>
      <pc:sldChg chg="addSp delSp modSp mod modShow modNotes">
        <pc:chgData name="Falcão Lacerda, Rafael" userId="40181ff7-4694-4c53-a944-7b7d63582359" providerId="ADAL" clId="{3B4D5F63-EA56-4616-8A78-0C43AB7049E7}" dt="2025-12-08T17:18:13.731" v="34035" actId="729"/>
        <pc:sldMkLst>
          <pc:docMk/>
          <pc:sldMk cId="2091069992" sldId="1009"/>
        </pc:sldMkLst>
        <pc:spChg chg="add del mod modVis">
          <ac:chgData name="Falcão Lacerda, Rafael" userId="40181ff7-4694-4c53-a944-7b7d63582359" providerId="ADAL" clId="{3B4D5F63-EA56-4616-8A78-0C43AB7049E7}" dt="2025-12-08T00:26:53.520" v="10497"/>
          <ac:spMkLst>
            <pc:docMk/>
            <pc:sldMk cId="2091069992" sldId="1009"/>
            <ac:spMk id="2" creationId="{8C43C23A-6655-5B70-9616-CFC4B02CE717}"/>
          </ac:spMkLst>
        </pc:spChg>
        <pc:spChg chg="mod">
          <ac:chgData name="Falcão Lacerda, Rafael" userId="40181ff7-4694-4c53-a944-7b7d63582359" providerId="ADAL" clId="{3B4D5F63-EA56-4616-8A78-0C43AB7049E7}" dt="2025-12-08T00:26:46.545" v="8019" actId="948"/>
          <ac:spMkLst>
            <pc:docMk/>
            <pc:sldMk cId="2091069992" sldId="1009"/>
            <ac:spMk id="3" creationId="{EC7C17F1-13A2-F8E0-185D-6F41FD4AFE64}"/>
          </ac:spMkLst>
        </pc:spChg>
        <pc:graphicFrameChg chg="modGraphic">
          <ac:chgData name="Falcão Lacerda, Rafael" userId="40181ff7-4694-4c53-a944-7b7d63582359" providerId="ADAL" clId="{3B4D5F63-EA56-4616-8A78-0C43AB7049E7}" dt="2025-12-08T00:26:41.841" v="6329" actId="790"/>
          <ac:graphicFrameMkLst>
            <pc:docMk/>
            <pc:sldMk cId="2091069992" sldId="1009"/>
            <ac:graphicFrameMk id="4" creationId="{63AA124D-0177-D598-D9AD-19DE6193560E}"/>
          </ac:graphicFrameMkLst>
        </pc:graphicFrameChg>
        <pc:graphicFrameChg chg="add mod ord modVis">
          <ac:chgData name="Falcão Lacerda, Rafael" userId="40181ff7-4694-4c53-a944-7b7d63582359" providerId="ADAL" clId="{3B4D5F63-EA56-4616-8A78-0C43AB7049E7}" dt="2025-12-08T00:26:53.546" v="10511"/>
          <ac:graphicFrameMkLst>
            <pc:docMk/>
            <pc:sldMk cId="2091069992" sldId="1009"/>
            <ac:graphicFrameMk id="5" creationId="{0DC353F9-3188-60EF-1610-D4687A72CED6}"/>
          </ac:graphicFrameMkLst>
        </pc:graphicFrameChg>
      </pc:sldChg>
      <pc:sldChg chg="addSp delSp modSp mod modShow modNotes">
        <pc:chgData name="Falcão Lacerda, Rafael" userId="40181ff7-4694-4c53-a944-7b7d63582359" providerId="ADAL" clId="{3B4D5F63-EA56-4616-8A78-0C43AB7049E7}" dt="2025-12-08T17:18:13.731" v="34035" actId="729"/>
        <pc:sldMkLst>
          <pc:docMk/>
          <pc:sldMk cId="196050073" sldId="1010"/>
        </pc:sldMkLst>
        <pc:spChg chg="add del mod modVis">
          <ac:chgData name="Falcão Lacerda, Rafael" userId="40181ff7-4694-4c53-a944-7b7d63582359" providerId="ADAL" clId="{3B4D5F63-EA56-4616-8A78-0C43AB7049E7}" dt="2025-12-08T00:26:53.481" v="10481"/>
          <ac:spMkLst>
            <pc:docMk/>
            <pc:sldMk cId="196050073" sldId="1010"/>
            <ac:spMk id="2" creationId="{53EEC2B1-634A-C900-45E7-0528AC70D7D7}"/>
          </ac:spMkLst>
        </pc:spChg>
        <pc:spChg chg="mod">
          <ac:chgData name="Falcão Lacerda, Rafael" userId="40181ff7-4694-4c53-a944-7b7d63582359" providerId="ADAL" clId="{3B4D5F63-EA56-4616-8A78-0C43AB7049E7}" dt="2025-12-08T00:26:46.514" v="7999" actId="948"/>
          <ac:spMkLst>
            <pc:docMk/>
            <pc:sldMk cId="196050073" sldId="1010"/>
            <ac:spMk id="3" creationId="{2B7C6EC9-4003-D180-3635-3F6D73AAF799}"/>
          </ac:spMkLst>
        </pc:spChg>
        <pc:graphicFrameChg chg="add mod ord modVis">
          <ac:chgData name="Falcão Lacerda, Rafael" userId="40181ff7-4694-4c53-a944-7b7d63582359" providerId="ADAL" clId="{3B4D5F63-EA56-4616-8A78-0C43AB7049E7}" dt="2025-12-08T00:26:53.517" v="10495"/>
          <ac:graphicFrameMkLst>
            <pc:docMk/>
            <pc:sldMk cId="196050073" sldId="1010"/>
            <ac:graphicFrameMk id="5" creationId="{2608C9E2-D538-690B-0088-C2F3CE6CDAD7}"/>
          </ac:graphicFrameMkLst>
        </pc:graphicFrameChg>
      </pc:sldChg>
      <pc:sldChg chg="addSp delSp modSp mod modShow modNotes">
        <pc:chgData name="Falcão Lacerda, Rafael" userId="40181ff7-4694-4c53-a944-7b7d63582359" providerId="ADAL" clId="{3B4D5F63-EA56-4616-8A78-0C43AB7049E7}" dt="2025-12-08T17:18:13.731" v="34035" actId="729"/>
        <pc:sldMkLst>
          <pc:docMk/>
          <pc:sldMk cId="4164205773" sldId="1011"/>
        </pc:sldMkLst>
        <pc:spChg chg="add del mod modVis">
          <ac:chgData name="Falcão Lacerda, Rafael" userId="40181ff7-4694-4c53-a944-7b7d63582359" providerId="ADAL" clId="{3B4D5F63-EA56-4616-8A78-0C43AB7049E7}" dt="2025-12-08T00:26:53.546" v="10513"/>
          <ac:spMkLst>
            <pc:docMk/>
            <pc:sldMk cId="4164205773" sldId="1011"/>
            <ac:spMk id="2" creationId="{3676B237-BD10-4A6D-D464-677C6D18BC65}"/>
          </ac:spMkLst>
        </pc:spChg>
        <pc:spChg chg="mod">
          <ac:chgData name="Falcão Lacerda, Rafael" userId="40181ff7-4694-4c53-a944-7b7d63582359" providerId="ADAL" clId="{3B4D5F63-EA56-4616-8A78-0C43AB7049E7}" dt="2025-12-08T00:26:46.581" v="8039" actId="948"/>
          <ac:spMkLst>
            <pc:docMk/>
            <pc:sldMk cId="4164205773" sldId="1011"/>
            <ac:spMk id="3" creationId="{B3DFEDF9-2D9D-21D3-6E0B-33800B141507}"/>
          </ac:spMkLst>
        </pc:spChg>
        <pc:graphicFrameChg chg="add mod ord modVis">
          <ac:chgData name="Falcão Lacerda, Rafael" userId="40181ff7-4694-4c53-a944-7b7d63582359" providerId="ADAL" clId="{3B4D5F63-EA56-4616-8A78-0C43AB7049E7}" dt="2025-12-08T00:26:53.576" v="10527"/>
          <ac:graphicFrameMkLst>
            <pc:docMk/>
            <pc:sldMk cId="4164205773" sldId="1011"/>
            <ac:graphicFrameMk id="5" creationId="{6EC2F644-F4BD-7A7F-82D0-9533A855D89F}"/>
          </ac:graphicFrameMkLst>
        </pc:graphicFrameChg>
      </pc:sldChg>
      <pc:sldChg chg="addSp delSp modSp mod modShow modNotes">
        <pc:chgData name="Falcão Lacerda, Rafael" userId="40181ff7-4694-4c53-a944-7b7d63582359" providerId="ADAL" clId="{3B4D5F63-EA56-4616-8A78-0C43AB7049E7}" dt="2025-12-08T17:18:13.731" v="34035" actId="729"/>
        <pc:sldMkLst>
          <pc:docMk/>
          <pc:sldMk cId="2792419191" sldId="1012"/>
        </pc:sldMkLst>
        <pc:spChg chg="add del mod modVis">
          <ac:chgData name="Falcão Lacerda, Rafael" userId="40181ff7-4694-4c53-a944-7b7d63582359" providerId="ADAL" clId="{3B4D5F63-EA56-4616-8A78-0C43AB7049E7}" dt="2025-12-08T00:26:53.719" v="10577"/>
          <ac:spMkLst>
            <pc:docMk/>
            <pc:sldMk cId="2792419191" sldId="1012"/>
            <ac:spMk id="2" creationId="{153A4B32-5F2E-7CE5-DF6C-152CFA9572A9}"/>
          </ac:spMkLst>
        </pc:spChg>
        <pc:spChg chg="mod">
          <ac:chgData name="Falcão Lacerda, Rafael" userId="40181ff7-4694-4c53-a944-7b7d63582359" providerId="ADAL" clId="{3B4D5F63-EA56-4616-8A78-0C43AB7049E7}" dt="2025-12-08T00:26:46.715" v="8119" actId="948"/>
          <ac:spMkLst>
            <pc:docMk/>
            <pc:sldMk cId="2792419191" sldId="1012"/>
            <ac:spMk id="3" creationId="{2DFB8AC7-F1E6-787F-46DA-430A837B7306}"/>
          </ac:spMkLst>
        </pc:spChg>
        <pc:graphicFrameChg chg="modGraphic">
          <ac:chgData name="Falcão Lacerda, Rafael" userId="40181ff7-4694-4c53-a944-7b7d63582359" providerId="ADAL" clId="{3B4D5F63-EA56-4616-8A78-0C43AB7049E7}" dt="2025-12-08T00:26:41.841" v="6329" actId="790"/>
          <ac:graphicFrameMkLst>
            <pc:docMk/>
            <pc:sldMk cId="2792419191" sldId="1012"/>
            <ac:graphicFrameMk id="4" creationId="{9ECB166A-AB00-3426-B06C-B5D4DD79B097}"/>
          </ac:graphicFrameMkLst>
        </pc:graphicFrameChg>
        <pc:graphicFrameChg chg="add mod ord modVis">
          <ac:chgData name="Falcão Lacerda, Rafael" userId="40181ff7-4694-4c53-a944-7b7d63582359" providerId="ADAL" clId="{3B4D5F63-EA56-4616-8A78-0C43AB7049E7}" dt="2025-12-08T00:26:53.769" v="10591"/>
          <ac:graphicFrameMkLst>
            <pc:docMk/>
            <pc:sldMk cId="2792419191" sldId="1012"/>
            <ac:graphicFrameMk id="5" creationId="{D85AC3A6-407A-4A9F-4BD5-9FE5EBA38BD9}"/>
          </ac:graphicFrameMkLst>
        </pc:graphicFrameChg>
      </pc:sldChg>
      <pc:sldChg chg="addSp delSp modSp mod modShow modNotes">
        <pc:chgData name="Falcão Lacerda, Rafael" userId="40181ff7-4694-4c53-a944-7b7d63582359" providerId="ADAL" clId="{3B4D5F63-EA56-4616-8A78-0C43AB7049E7}" dt="2025-12-08T17:18:13.731" v="34035" actId="729"/>
        <pc:sldMkLst>
          <pc:docMk/>
          <pc:sldMk cId="2244729302" sldId="1013"/>
        </pc:sldMkLst>
        <pc:spChg chg="mod">
          <ac:chgData name="Falcão Lacerda, Rafael" userId="40181ff7-4694-4c53-a944-7b7d63582359" providerId="ADAL" clId="{3B4D5F63-EA56-4616-8A78-0C43AB7049E7}" dt="2025-12-08T00:26:46.683" v="8099" actId="948"/>
          <ac:spMkLst>
            <pc:docMk/>
            <pc:sldMk cId="2244729302" sldId="1013"/>
            <ac:spMk id="2" creationId="{EDA556EE-6908-41C2-85C3-0AD308BB87FD}"/>
          </ac:spMkLst>
        </pc:spChg>
        <pc:spChg chg="add del mod modVis">
          <ac:chgData name="Falcão Lacerda, Rafael" userId="40181ff7-4694-4c53-a944-7b7d63582359" providerId="ADAL" clId="{3B4D5F63-EA56-4616-8A78-0C43AB7049E7}" dt="2025-12-08T00:26:53.680" v="10561"/>
          <ac:spMkLst>
            <pc:docMk/>
            <pc:sldMk cId="2244729302" sldId="1013"/>
            <ac:spMk id="3" creationId="{768F6935-5726-59FA-4110-06E27C7BA7DD}"/>
          </ac:spMkLst>
        </pc:spChg>
        <pc:graphicFrameChg chg="add mod ord modVis">
          <ac:chgData name="Falcão Lacerda, Rafael" userId="40181ff7-4694-4c53-a944-7b7d63582359" providerId="ADAL" clId="{3B4D5F63-EA56-4616-8A78-0C43AB7049E7}" dt="2025-12-08T00:26:53.715" v="10575"/>
          <ac:graphicFrameMkLst>
            <pc:docMk/>
            <pc:sldMk cId="2244729302" sldId="1013"/>
            <ac:graphicFrameMk id="4" creationId="{1B491ED8-FB06-0D89-E077-BF3C65AEFB6B}"/>
          </ac:graphicFrameMkLst>
        </pc:graphicFrameChg>
      </pc:sldChg>
      <pc:sldChg chg="addSp delSp modSp mod modShow modNotes">
        <pc:chgData name="Falcão Lacerda, Rafael" userId="40181ff7-4694-4c53-a944-7b7d63582359" providerId="ADAL" clId="{3B4D5F63-EA56-4616-8A78-0C43AB7049E7}" dt="2025-12-08T17:18:13.731" v="34035" actId="729"/>
        <pc:sldMkLst>
          <pc:docMk/>
          <pc:sldMk cId="133728131" sldId="1015"/>
        </pc:sldMkLst>
        <pc:spChg chg="mod">
          <ac:chgData name="Falcão Lacerda, Rafael" userId="40181ff7-4694-4c53-a944-7b7d63582359" providerId="ADAL" clId="{3B4D5F63-EA56-4616-8A78-0C43AB7049E7}" dt="2025-12-08T00:26:46.951" v="8253" actId="948"/>
          <ac:spMkLst>
            <pc:docMk/>
            <pc:sldMk cId="133728131" sldId="1015"/>
            <ac:spMk id="4" creationId="{56831BF9-C1A9-4605-B483-A332233A3017}"/>
          </ac:spMkLst>
        </pc:spChg>
        <pc:spChg chg="add del mod modVis">
          <ac:chgData name="Falcão Lacerda, Rafael" userId="40181ff7-4694-4c53-a944-7b7d63582359" providerId="ADAL" clId="{3B4D5F63-EA56-4616-8A78-0C43AB7049E7}" dt="2025-12-08T00:26:54.006" v="10673"/>
          <ac:spMkLst>
            <pc:docMk/>
            <pc:sldMk cId="133728131" sldId="1015"/>
            <ac:spMk id="5" creationId="{87EE8EAD-E660-22C3-6104-4F9D53BE78B1}"/>
          </ac:spMkLst>
        </pc:spChg>
        <pc:spChg chg="mod">
          <ac:chgData name="Falcão Lacerda, Rafael" userId="40181ff7-4694-4c53-a944-7b7d63582359" providerId="ADAL" clId="{3B4D5F63-EA56-4616-8A78-0C43AB7049E7}" dt="2025-12-08T00:26:41.841" v="6329" actId="790"/>
          <ac:spMkLst>
            <pc:docMk/>
            <pc:sldMk cId="133728131" sldId="1015"/>
            <ac:spMk id="26" creationId="{1098560B-A401-4621-BC3A-1938863C9ADE}"/>
          </ac:spMkLst>
        </pc:spChg>
        <pc:spChg chg="mod">
          <ac:chgData name="Falcão Lacerda, Rafael" userId="40181ff7-4694-4c53-a944-7b7d63582359" providerId="ADAL" clId="{3B4D5F63-EA56-4616-8A78-0C43AB7049E7}" dt="2025-12-08T00:26:41.841" v="6329" actId="790"/>
          <ac:spMkLst>
            <pc:docMk/>
            <pc:sldMk cId="133728131" sldId="1015"/>
            <ac:spMk id="28" creationId="{2C0F7775-2C1D-4C7F-8543-6307F8CE67DA}"/>
          </ac:spMkLst>
        </pc:spChg>
        <pc:spChg chg="mod">
          <ac:chgData name="Falcão Lacerda, Rafael" userId="40181ff7-4694-4c53-a944-7b7d63582359" providerId="ADAL" clId="{3B4D5F63-EA56-4616-8A78-0C43AB7049E7}" dt="2025-12-08T00:26:38.546" v="5316" actId="947"/>
          <ac:spMkLst>
            <pc:docMk/>
            <pc:sldMk cId="133728131" sldId="1015"/>
            <ac:spMk id="30" creationId="{F74B3362-B999-47D0-9255-0CA81E236E67}"/>
          </ac:spMkLst>
        </pc:spChg>
        <pc:spChg chg="mod">
          <ac:chgData name="Falcão Lacerda, Rafael" userId="40181ff7-4694-4c53-a944-7b7d63582359" providerId="ADAL" clId="{3B4D5F63-EA56-4616-8A78-0C43AB7049E7}" dt="2025-12-08T00:26:38.542" v="5314" actId="947"/>
          <ac:spMkLst>
            <pc:docMk/>
            <pc:sldMk cId="133728131" sldId="1015"/>
            <ac:spMk id="32" creationId="{3D63A6B1-188D-427D-AFA5-AE4015A34681}"/>
          </ac:spMkLst>
        </pc:spChg>
        <pc:spChg chg="mod">
          <ac:chgData name="Falcão Lacerda, Rafael" userId="40181ff7-4694-4c53-a944-7b7d63582359" providerId="ADAL" clId="{3B4D5F63-EA56-4616-8A78-0C43AB7049E7}" dt="2025-12-08T00:26:41.841" v="6329" actId="790"/>
          <ac:spMkLst>
            <pc:docMk/>
            <pc:sldMk cId="133728131" sldId="1015"/>
            <ac:spMk id="34" creationId="{CD3EA462-3A15-42B8-A53C-56C51EEEEF77}"/>
          </ac:spMkLst>
        </pc:spChg>
        <pc:spChg chg="mod">
          <ac:chgData name="Falcão Lacerda, Rafael" userId="40181ff7-4694-4c53-a944-7b7d63582359" providerId="ADAL" clId="{3B4D5F63-EA56-4616-8A78-0C43AB7049E7}" dt="2025-12-08T00:26:38.534" v="5310" actId="947"/>
          <ac:spMkLst>
            <pc:docMk/>
            <pc:sldMk cId="133728131" sldId="1015"/>
            <ac:spMk id="36" creationId="{39C257FA-FBDE-481F-BBC1-38474F71410D}"/>
          </ac:spMkLst>
        </pc:spChg>
        <pc:spChg chg="mod">
          <ac:chgData name="Falcão Lacerda, Rafael" userId="40181ff7-4694-4c53-a944-7b7d63582359" providerId="ADAL" clId="{3B4D5F63-EA56-4616-8A78-0C43AB7049E7}" dt="2025-12-08T00:26:38.530" v="5308" actId="947"/>
          <ac:spMkLst>
            <pc:docMk/>
            <pc:sldMk cId="133728131" sldId="1015"/>
            <ac:spMk id="38" creationId="{9E21F7DA-1844-47FD-9FB7-929B9AC5E5B6}"/>
          </ac:spMkLst>
        </pc:spChg>
        <pc:spChg chg="mod">
          <ac:chgData name="Falcão Lacerda, Rafael" userId="40181ff7-4694-4c53-a944-7b7d63582359" providerId="ADAL" clId="{3B4D5F63-EA56-4616-8A78-0C43AB7049E7}" dt="2025-12-08T00:26:38.527" v="5306" actId="947"/>
          <ac:spMkLst>
            <pc:docMk/>
            <pc:sldMk cId="133728131" sldId="1015"/>
            <ac:spMk id="40" creationId="{2325D245-5BB0-4AF7-BABE-D03C722EF39F}"/>
          </ac:spMkLst>
        </pc:spChg>
        <pc:spChg chg="mod">
          <ac:chgData name="Falcão Lacerda, Rafael" userId="40181ff7-4694-4c53-a944-7b7d63582359" providerId="ADAL" clId="{3B4D5F63-EA56-4616-8A78-0C43AB7049E7}" dt="2025-12-08T00:26:41.841" v="6329" actId="790"/>
          <ac:spMkLst>
            <pc:docMk/>
            <pc:sldMk cId="133728131" sldId="1015"/>
            <ac:spMk id="42" creationId="{6E29D6A9-3C0D-4A78-87DE-29C88F7DD142}"/>
          </ac:spMkLst>
        </pc:spChg>
        <pc:spChg chg="mod">
          <ac:chgData name="Falcão Lacerda, Rafael" userId="40181ff7-4694-4c53-a944-7b7d63582359" providerId="ADAL" clId="{3B4D5F63-EA56-4616-8A78-0C43AB7049E7}" dt="2025-12-08T00:26:41.841" v="6329" actId="790"/>
          <ac:spMkLst>
            <pc:docMk/>
            <pc:sldMk cId="133728131" sldId="1015"/>
            <ac:spMk id="44" creationId="{708667F1-A7FB-4CC6-9A3D-359854A74BFC}"/>
          </ac:spMkLst>
        </pc:spChg>
        <pc:spChg chg="mod">
          <ac:chgData name="Falcão Lacerda, Rafael" userId="40181ff7-4694-4c53-a944-7b7d63582359" providerId="ADAL" clId="{3B4D5F63-EA56-4616-8A78-0C43AB7049E7}" dt="2025-12-08T00:26:41.841" v="6329" actId="790"/>
          <ac:spMkLst>
            <pc:docMk/>
            <pc:sldMk cId="133728131" sldId="1015"/>
            <ac:spMk id="46" creationId="{2234C003-C5B4-49C5-9E4D-C3217A1E435A}"/>
          </ac:spMkLst>
        </pc:spChg>
        <pc:spChg chg="mod">
          <ac:chgData name="Falcão Lacerda, Rafael" userId="40181ff7-4694-4c53-a944-7b7d63582359" providerId="ADAL" clId="{3B4D5F63-EA56-4616-8A78-0C43AB7049E7}" dt="2025-12-08T00:26:41.841" v="6329" actId="790"/>
          <ac:spMkLst>
            <pc:docMk/>
            <pc:sldMk cId="133728131" sldId="1015"/>
            <ac:spMk id="48" creationId="{FA0274D9-25D9-47AC-81BA-9BA6D7009B64}"/>
          </ac:spMkLst>
        </pc:spChg>
        <pc:spChg chg="mod">
          <ac:chgData name="Falcão Lacerda, Rafael" userId="40181ff7-4694-4c53-a944-7b7d63582359" providerId="ADAL" clId="{3B4D5F63-EA56-4616-8A78-0C43AB7049E7}" dt="2025-12-08T00:26:38.506" v="5296" actId="947"/>
          <ac:spMkLst>
            <pc:docMk/>
            <pc:sldMk cId="133728131" sldId="1015"/>
            <ac:spMk id="50" creationId="{2820D54E-00FD-4142-954A-E85E05E79A06}"/>
          </ac:spMkLst>
        </pc:spChg>
        <pc:spChg chg="mod">
          <ac:chgData name="Falcão Lacerda, Rafael" userId="40181ff7-4694-4c53-a944-7b7d63582359" providerId="ADAL" clId="{3B4D5F63-EA56-4616-8A78-0C43AB7049E7}" dt="2025-12-08T00:26:41.841" v="6329" actId="790"/>
          <ac:spMkLst>
            <pc:docMk/>
            <pc:sldMk cId="133728131" sldId="1015"/>
            <ac:spMk id="52" creationId="{429A4623-5A7B-4B1B-8F23-1125B9A87A59}"/>
          </ac:spMkLst>
        </pc:spChg>
        <pc:spChg chg="mod">
          <ac:chgData name="Falcão Lacerda, Rafael" userId="40181ff7-4694-4c53-a944-7b7d63582359" providerId="ADAL" clId="{3B4D5F63-EA56-4616-8A78-0C43AB7049E7}" dt="2025-12-08T00:26:38.499" v="5292" actId="947"/>
          <ac:spMkLst>
            <pc:docMk/>
            <pc:sldMk cId="133728131" sldId="1015"/>
            <ac:spMk id="54" creationId="{A7B73390-92A3-46B7-A5AD-E7DBE66EA2FD}"/>
          </ac:spMkLst>
        </pc:spChg>
        <pc:spChg chg="mod">
          <ac:chgData name="Falcão Lacerda, Rafael" userId="40181ff7-4694-4c53-a944-7b7d63582359" providerId="ADAL" clId="{3B4D5F63-EA56-4616-8A78-0C43AB7049E7}" dt="2025-12-08T00:26:41.841" v="6329" actId="790"/>
          <ac:spMkLst>
            <pc:docMk/>
            <pc:sldMk cId="133728131" sldId="1015"/>
            <ac:spMk id="56" creationId="{6BD47E2F-D998-4FA4-9BF4-9AC67F9F1AE7}"/>
          </ac:spMkLst>
        </pc:spChg>
        <pc:spChg chg="mod">
          <ac:chgData name="Falcão Lacerda, Rafael" userId="40181ff7-4694-4c53-a944-7b7d63582359" providerId="ADAL" clId="{3B4D5F63-EA56-4616-8A78-0C43AB7049E7}" dt="2025-12-08T00:26:38.490" v="5288" actId="947"/>
          <ac:spMkLst>
            <pc:docMk/>
            <pc:sldMk cId="133728131" sldId="1015"/>
            <ac:spMk id="58" creationId="{19B8CDD1-ECD9-4536-A355-0EF84CEC524B}"/>
          </ac:spMkLst>
        </pc:spChg>
        <pc:graphicFrameChg chg="modGraphic">
          <ac:chgData name="Falcão Lacerda, Rafael" userId="40181ff7-4694-4c53-a944-7b7d63582359" providerId="ADAL" clId="{3B4D5F63-EA56-4616-8A78-0C43AB7049E7}" dt="2025-12-08T00:26:38.483" v="5286" actId="947"/>
          <ac:graphicFrameMkLst>
            <pc:docMk/>
            <pc:sldMk cId="133728131" sldId="1015"/>
            <ac:graphicFrameMk id="3" creationId="{8BA7E229-4E9D-469C-965C-2319CFD39AB1}"/>
          </ac:graphicFrameMkLst>
        </pc:graphicFrameChg>
        <pc:graphicFrameChg chg="add mod ord modVis">
          <ac:chgData name="Falcão Lacerda, Rafael" userId="40181ff7-4694-4c53-a944-7b7d63582359" providerId="ADAL" clId="{3B4D5F63-EA56-4616-8A78-0C43AB7049E7}" dt="2025-12-08T00:26:54.031" v="10687"/>
          <ac:graphicFrameMkLst>
            <pc:docMk/>
            <pc:sldMk cId="133728131" sldId="1015"/>
            <ac:graphicFrameMk id="6" creationId="{B52B4FAB-A1C8-7893-BCD0-473519EC0F2F}"/>
          </ac:graphicFrameMkLst>
        </pc:graphicFrameChg>
      </pc:sldChg>
      <pc:sldChg chg="addSp delSp modSp mod modShow modNotes">
        <pc:chgData name="Falcão Lacerda, Rafael" userId="40181ff7-4694-4c53-a944-7b7d63582359" providerId="ADAL" clId="{3B4D5F63-EA56-4616-8A78-0C43AB7049E7}" dt="2025-12-08T17:18:13.731" v="34035" actId="729"/>
        <pc:sldMkLst>
          <pc:docMk/>
          <pc:sldMk cId="573061442" sldId="1016"/>
        </pc:sldMkLst>
        <pc:spChg chg="mod">
          <ac:chgData name="Falcão Lacerda, Rafael" userId="40181ff7-4694-4c53-a944-7b7d63582359" providerId="ADAL" clId="{3B4D5F63-EA56-4616-8A78-0C43AB7049E7}" dt="2025-12-08T00:26:46.186" v="7799" actId="948"/>
          <ac:spMkLst>
            <pc:docMk/>
            <pc:sldMk cId="573061442" sldId="1016"/>
            <ac:spMk id="2" creationId="{56FBE84C-E5B6-452D-A67C-6435F4B76A12}"/>
          </ac:spMkLst>
        </pc:spChg>
        <pc:spChg chg="add del mod modVis">
          <ac:chgData name="Falcão Lacerda, Rafael" userId="40181ff7-4694-4c53-a944-7b7d63582359" providerId="ADAL" clId="{3B4D5F63-EA56-4616-8A78-0C43AB7049E7}" dt="2025-12-08T00:26:53.057" v="10321"/>
          <ac:spMkLst>
            <pc:docMk/>
            <pc:sldMk cId="573061442" sldId="1016"/>
            <ac:spMk id="3" creationId="{29D40226-8A22-19A4-4BA3-9C55F05717F2}"/>
          </ac:spMkLst>
        </pc:spChg>
        <pc:spChg chg="mod">
          <ac:chgData name="Falcão Lacerda, Rafael" userId="40181ff7-4694-4c53-a944-7b7d63582359" providerId="ADAL" clId="{3B4D5F63-EA56-4616-8A78-0C43AB7049E7}" dt="2025-12-08T00:26:41.841" v="6329" actId="790"/>
          <ac:spMkLst>
            <pc:docMk/>
            <pc:sldMk cId="573061442" sldId="1016"/>
            <ac:spMk id="6" creationId="{F5607FD9-FE82-8A7E-6FAD-890F280D67DD}"/>
          </ac:spMkLst>
        </pc:spChg>
        <pc:spChg chg="mod">
          <ac:chgData name="Falcão Lacerda, Rafael" userId="40181ff7-4694-4c53-a944-7b7d63582359" providerId="ADAL" clId="{3B4D5F63-EA56-4616-8A78-0C43AB7049E7}" dt="2025-12-08T00:26:41.841" v="6329" actId="790"/>
          <ac:spMkLst>
            <pc:docMk/>
            <pc:sldMk cId="573061442" sldId="1016"/>
            <ac:spMk id="10" creationId="{D9654E94-8DC5-0290-7677-19383140D3DC}"/>
          </ac:spMkLst>
        </pc:spChg>
        <pc:spChg chg="mod">
          <ac:chgData name="Falcão Lacerda, Rafael" userId="40181ff7-4694-4c53-a944-7b7d63582359" providerId="ADAL" clId="{3B4D5F63-EA56-4616-8A78-0C43AB7049E7}" dt="2025-12-08T00:26:41.841" v="6329" actId="790"/>
          <ac:spMkLst>
            <pc:docMk/>
            <pc:sldMk cId="573061442" sldId="1016"/>
            <ac:spMk id="11" creationId="{09030EA8-9E8C-4AF6-E3DD-48AA4371E916}"/>
          </ac:spMkLst>
        </pc:spChg>
        <pc:spChg chg="mod">
          <ac:chgData name="Falcão Lacerda, Rafael" userId="40181ff7-4694-4c53-a944-7b7d63582359" providerId="ADAL" clId="{3B4D5F63-EA56-4616-8A78-0C43AB7049E7}" dt="2025-12-08T00:26:41.841" v="6329" actId="790"/>
          <ac:spMkLst>
            <pc:docMk/>
            <pc:sldMk cId="573061442" sldId="1016"/>
            <ac:spMk id="43" creationId="{C3EB088F-E947-3F1E-DB6D-80E7A7EFC968}"/>
          </ac:spMkLst>
        </pc:spChg>
        <pc:graphicFrameChg chg="add mod ord modVis">
          <ac:chgData name="Falcão Lacerda, Rafael" userId="40181ff7-4694-4c53-a944-7b7d63582359" providerId="ADAL" clId="{3B4D5F63-EA56-4616-8A78-0C43AB7049E7}" dt="2025-12-08T00:26:53.091" v="10335"/>
          <ac:graphicFrameMkLst>
            <pc:docMk/>
            <pc:sldMk cId="573061442" sldId="1016"/>
            <ac:graphicFrameMk id="4" creationId="{7E004462-BDAF-69B5-666F-D95B775A79E4}"/>
          </ac:graphicFrameMkLst>
        </pc:graphicFrameChg>
        <pc:graphicFrameChg chg="modGraphic">
          <ac:chgData name="Falcão Lacerda, Rafael" userId="40181ff7-4694-4c53-a944-7b7d63582359" providerId="ADAL" clId="{3B4D5F63-EA56-4616-8A78-0C43AB7049E7}" dt="2025-12-08T00:26:41.841" v="6329" actId="790"/>
          <ac:graphicFrameMkLst>
            <pc:docMk/>
            <pc:sldMk cId="573061442" sldId="1016"/>
            <ac:graphicFrameMk id="7" creationId="{5AA5587E-C94E-9385-DB56-9E297AB57589}"/>
          </ac:graphicFrameMkLst>
        </pc:graphicFrameChg>
      </pc:sldChg>
      <pc:sldChg chg="addSp delSp modSp mod modShow modNotes">
        <pc:chgData name="Falcão Lacerda, Rafael" userId="40181ff7-4694-4c53-a944-7b7d63582359" providerId="ADAL" clId="{3B4D5F63-EA56-4616-8A78-0C43AB7049E7}" dt="2025-12-08T17:18:13.731" v="34035" actId="729"/>
        <pc:sldMkLst>
          <pc:docMk/>
          <pc:sldMk cId="1537048521" sldId="1028"/>
        </pc:sldMkLst>
        <pc:spChg chg="add del mod modVis">
          <ac:chgData name="Falcão Lacerda, Rafael" userId="40181ff7-4694-4c53-a944-7b7d63582359" providerId="ADAL" clId="{3B4D5F63-EA56-4616-8A78-0C43AB7049E7}" dt="2025-12-08T00:26:53.169" v="10369"/>
          <ac:spMkLst>
            <pc:docMk/>
            <pc:sldMk cId="1537048521" sldId="1028"/>
            <ac:spMk id="3" creationId="{C357840B-30D1-04DD-B082-0A25594EA256}"/>
          </ac:spMkLst>
        </pc:spChg>
        <pc:spChg chg="mod">
          <ac:chgData name="Falcão Lacerda, Rafael" userId="40181ff7-4694-4c53-a944-7b7d63582359" providerId="ADAL" clId="{3B4D5F63-EA56-4616-8A78-0C43AB7049E7}" dt="2025-12-08T00:26:46.300" v="7859" actId="948"/>
          <ac:spMkLst>
            <pc:docMk/>
            <pc:sldMk cId="1537048521" sldId="1028"/>
            <ac:spMk id="6" creationId="{B02C4BFA-CC4F-391C-B6CB-613AA6062B1D}"/>
          </ac:spMkLst>
        </pc:spChg>
        <pc:graphicFrameChg chg="modGraphic">
          <ac:chgData name="Falcão Lacerda, Rafael" userId="40181ff7-4694-4c53-a944-7b7d63582359" providerId="ADAL" clId="{3B4D5F63-EA56-4616-8A78-0C43AB7049E7}" dt="2025-12-08T00:26:41.841" v="6329" actId="790"/>
          <ac:graphicFrameMkLst>
            <pc:docMk/>
            <pc:sldMk cId="1537048521" sldId="1028"/>
            <ac:graphicFrameMk id="2" creationId="{B16BCEF6-CD40-BCBF-68E9-8A1057C921C0}"/>
          </ac:graphicFrameMkLst>
        </pc:graphicFrameChg>
        <pc:graphicFrameChg chg="add mod ord modVis">
          <ac:chgData name="Falcão Lacerda, Rafael" userId="40181ff7-4694-4c53-a944-7b7d63582359" providerId="ADAL" clId="{3B4D5F63-EA56-4616-8A78-0C43AB7049E7}" dt="2025-12-08T00:26:53.215" v="10383"/>
          <ac:graphicFrameMkLst>
            <pc:docMk/>
            <pc:sldMk cId="1537048521" sldId="1028"/>
            <ac:graphicFrameMk id="4" creationId="{654FDF72-4A35-A60F-232C-9E77BA12BF0D}"/>
          </ac:graphicFrameMkLst>
        </pc:graphicFrameChg>
      </pc:sldChg>
      <pc:sldChg chg="addSp delSp modSp mod modShow modNotes">
        <pc:chgData name="Falcão Lacerda, Rafael" userId="40181ff7-4694-4c53-a944-7b7d63582359" providerId="ADAL" clId="{3B4D5F63-EA56-4616-8A78-0C43AB7049E7}" dt="2025-12-08T17:18:13.731" v="34035" actId="729"/>
        <pc:sldMkLst>
          <pc:docMk/>
          <pc:sldMk cId="1270426877" sldId="1029"/>
        </pc:sldMkLst>
        <pc:spChg chg="mod">
          <ac:chgData name="Falcão Lacerda, Rafael" userId="40181ff7-4694-4c53-a944-7b7d63582359" providerId="ADAL" clId="{3B4D5F63-EA56-4616-8A78-0C43AB7049E7}" dt="2025-12-08T00:26:46.150" v="7779" actId="948"/>
          <ac:spMkLst>
            <pc:docMk/>
            <pc:sldMk cId="1270426877" sldId="1029"/>
            <ac:spMk id="2" creationId="{27152AA7-2C00-063D-9193-1DB56358B49C}"/>
          </ac:spMkLst>
        </pc:spChg>
        <pc:spChg chg="mod">
          <ac:chgData name="Falcão Lacerda, Rafael" userId="40181ff7-4694-4c53-a944-7b7d63582359" providerId="ADAL" clId="{3B4D5F63-EA56-4616-8A78-0C43AB7049E7}" dt="2025-12-08T00:26:41.841" v="6329" actId="790"/>
          <ac:spMkLst>
            <pc:docMk/>
            <pc:sldMk cId="1270426877" sldId="1029"/>
            <ac:spMk id="3" creationId="{AC8C6E4A-5629-349D-538A-726D907FBCE7}"/>
          </ac:spMkLst>
        </pc:spChg>
        <pc:spChg chg="mod">
          <ac:chgData name="Falcão Lacerda, Rafael" userId="40181ff7-4694-4c53-a944-7b7d63582359" providerId="ADAL" clId="{3B4D5F63-EA56-4616-8A78-0C43AB7049E7}" dt="2025-12-08T00:26:41.841" v="6329" actId="790"/>
          <ac:spMkLst>
            <pc:docMk/>
            <pc:sldMk cId="1270426877" sldId="1029"/>
            <ac:spMk id="4" creationId="{56FAB74B-75E7-EBD2-E392-FF3392D8A8CB}"/>
          </ac:spMkLst>
        </pc:spChg>
        <pc:spChg chg="mod">
          <ac:chgData name="Falcão Lacerda, Rafael" userId="40181ff7-4694-4c53-a944-7b7d63582359" providerId="ADAL" clId="{3B4D5F63-EA56-4616-8A78-0C43AB7049E7}" dt="2025-12-08T00:26:41.841" v="6329" actId="790"/>
          <ac:spMkLst>
            <pc:docMk/>
            <pc:sldMk cId="1270426877" sldId="1029"/>
            <ac:spMk id="5" creationId="{D950C43A-91C2-3EF8-1B9C-BE4F43CC398D}"/>
          </ac:spMkLst>
        </pc:spChg>
        <pc:spChg chg="mod">
          <ac:chgData name="Falcão Lacerda, Rafael" userId="40181ff7-4694-4c53-a944-7b7d63582359" providerId="ADAL" clId="{3B4D5F63-EA56-4616-8A78-0C43AB7049E7}" dt="2025-12-08T00:26:41.841" v="6329" actId="790"/>
          <ac:spMkLst>
            <pc:docMk/>
            <pc:sldMk cId="1270426877" sldId="1029"/>
            <ac:spMk id="6" creationId="{84194C1A-FBB6-8EA5-A0E6-9A0EF3924FA9}"/>
          </ac:spMkLst>
        </pc:spChg>
        <pc:spChg chg="mod">
          <ac:chgData name="Falcão Lacerda, Rafael" userId="40181ff7-4694-4c53-a944-7b7d63582359" providerId="ADAL" clId="{3B4D5F63-EA56-4616-8A78-0C43AB7049E7}" dt="2025-12-08T00:26:41.841" v="6329" actId="790"/>
          <ac:spMkLst>
            <pc:docMk/>
            <pc:sldMk cId="1270426877" sldId="1029"/>
            <ac:spMk id="7" creationId="{208003EF-AC36-6CAA-087D-1D49AA428EE6}"/>
          </ac:spMkLst>
        </pc:spChg>
        <pc:spChg chg="mod">
          <ac:chgData name="Falcão Lacerda, Rafael" userId="40181ff7-4694-4c53-a944-7b7d63582359" providerId="ADAL" clId="{3B4D5F63-EA56-4616-8A78-0C43AB7049E7}" dt="2025-12-08T00:26:37.445" v="4834" actId="947"/>
          <ac:spMkLst>
            <pc:docMk/>
            <pc:sldMk cId="1270426877" sldId="1029"/>
            <ac:spMk id="8" creationId="{0251D07F-F8F9-B50B-CBB8-B038B2E91D3B}"/>
          </ac:spMkLst>
        </pc:spChg>
        <pc:spChg chg="mod">
          <ac:chgData name="Falcão Lacerda, Rafael" userId="40181ff7-4694-4c53-a944-7b7d63582359" providerId="ADAL" clId="{3B4D5F63-EA56-4616-8A78-0C43AB7049E7}" dt="2025-12-08T00:26:41.841" v="6329" actId="790"/>
          <ac:spMkLst>
            <pc:docMk/>
            <pc:sldMk cId="1270426877" sldId="1029"/>
            <ac:spMk id="9" creationId="{16BE54C1-DFAC-32F1-3930-09E9828876A7}"/>
          </ac:spMkLst>
        </pc:spChg>
        <pc:spChg chg="mod">
          <ac:chgData name="Falcão Lacerda, Rafael" userId="40181ff7-4694-4c53-a944-7b7d63582359" providerId="ADAL" clId="{3B4D5F63-EA56-4616-8A78-0C43AB7049E7}" dt="2025-12-08T00:26:41.841" v="6329" actId="790"/>
          <ac:spMkLst>
            <pc:docMk/>
            <pc:sldMk cId="1270426877" sldId="1029"/>
            <ac:spMk id="10" creationId="{84BDC2E9-8253-4BC4-5A30-01AE56D8569E}"/>
          </ac:spMkLst>
        </pc:spChg>
        <pc:spChg chg="add del mod modVis">
          <ac:chgData name="Falcão Lacerda, Rafael" userId="40181ff7-4694-4c53-a944-7b7d63582359" providerId="ADAL" clId="{3B4D5F63-EA56-4616-8A78-0C43AB7049E7}" dt="2025-12-08T00:26:53.026" v="10305"/>
          <ac:spMkLst>
            <pc:docMk/>
            <pc:sldMk cId="1270426877" sldId="1029"/>
            <ac:spMk id="11" creationId="{10EA8E7B-EB1A-9266-C04F-58B0F733E3FF}"/>
          </ac:spMkLst>
        </pc:spChg>
        <pc:spChg chg="mod">
          <ac:chgData name="Falcão Lacerda, Rafael" userId="40181ff7-4694-4c53-a944-7b7d63582359" providerId="ADAL" clId="{3B4D5F63-EA56-4616-8A78-0C43AB7049E7}" dt="2025-12-08T00:26:37.433" v="4830" actId="947"/>
          <ac:spMkLst>
            <pc:docMk/>
            <pc:sldMk cId="1270426877" sldId="1029"/>
            <ac:spMk id="12" creationId="{2BBBD053-FF3C-940A-5C73-54EF9E26AE28}"/>
          </ac:spMkLst>
        </pc:spChg>
        <pc:spChg chg="mod">
          <ac:chgData name="Falcão Lacerda, Rafael" userId="40181ff7-4694-4c53-a944-7b7d63582359" providerId="ADAL" clId="{3B4D5F63-EA56-4616-8A78-0C43AB7049E7}" dt="2025-12-08T00:26:41.841" v="6329" actId="790"/>
          <ac:spMkLst>
            <pc:docMk/>
            <pc:sldMk cId="1270426877" sldId="1029"/>
            <ac:spMk id="15" creationId="{34820FB6-9953-6B9D-666A-59E3F08EDB72}"/>
          </ac:spMkLst>
        </pc:spChg>
        <pc:spChg chg="mod">
          <ac:chgData name="Falcão Lacerda, Rafael" userId="40181ff7-4694-4c53-a944-7b7d63582359" providerId="ADAL" clId="{3B4D5F63-EA56-4616-8A78-0C43AB7049E7}" dt="2025-12-08T00:26:41.841" v="6329" actId="790"/>
          <ac:spMkLst>
            <pc:docMk/>
            <pc:sldMk cId="1270426877" sldId="1029"/>
            <ac:spMk id="43" creationId="{55700D42-E735-BADF-86DB-932F6AC359BB}"/>
          </ac:spMkLst>
        </pc:spChg>
        <pc:graphicFrameChg chg="add mod ord modVis">
          <ac:chgData name="Falcão Lacerda, Rafael" userId="40181ff7-4694-4c53-a944-7b7d63582359" providerId="ADAL" clId="{3B4D5F63-EA56-4616-8A78-0C43AB7049E7}" dt="2025-12-08T00:26:53.041" v="10319"/>
          <ac:graphicFrameMkLst>
            <pc:docMk/>
            <pc:sldMk cId="1270426877" sldId="1029"/>
            <ac:graphicFrameMk id="13" creationId="{4D3DA849-0120-0A2A-F72A-9656DB801D5E}"/>
          </ac:graphicFrameMkLst>
        </pc:graphicFrameChg>
      </pc:sldChg>
      <pc:sldChg chg="addSp delSp modSp mod modShow modNotes">
        <pc:chgData name="Falcão Lacerda, Rafael" userId="40181ff7-4694-4c53-a944-7b7d63582359" providerId="ADAL" clId="{3B4D5F63-EA56-4616-8A78-0C43AB7049E7}" dt="2025-12-08T17:18:13.731" v="34035" actId="729"/>
        <pc:sldMkLst>
          <pc:docMk/>
          <pc:sldMk cId="4029792693" sldId="1030"/>
        </pc:sldMkLst>
        <pc:spChg chg="add del mod modVis">
          <ac:chgData name="Falcão Lacerda, Rafael" userId="40181ff7-4694-4c53-a944-7b7d63582359" providerId="ADAL" clId="{3B4D5F63-EA56-4616-8A78-0C43AB7049E7}" dt="2025-12-08T00:26:53.091" v="10337"/>
          <ac:spMkLst>
            <pc:docMk/>
            <pc:sldMk cId="4029792693" sldId="1030"/>
            <ac:spMk id="2" creationId="{19FA9C4A-5DB3-3D88-B548-D236B1B99AC3}"/>
          </ac:spMkLst>
        </pc:spChg>
        <pc:spChg chg="mod">
          <ac:chgData name="Falcão Lacerda, Rafael" userId="40181ff7-4694-4c53-a944-7b7d63582359" providerId="ADAL" clId="{3B4D5F63-EA56-4616-8A78-0C43AB7049E7}" dt="2025-12-08T00:26:46.228" v="7819" actId="948"/>
          <ac:spMkLst>
            <pc:docMk/>
            <pc:sldMk cId="4029792693" sldId="1030"/>
            <ac:spMk id="6" creationId="{50A7AC9C-C93E-DD51-029B-E5C5589FF146}"/>
          </ac:spMkLst>
        </pc:spChg>
        <pc:graphicFrameChg chg="modGraphic">
          <ac:chgData name="Falcão Lacerda, Rafael" userId="40181ff7-4694-4c53-a944-7b7d63582359" providerId="ADAL" clId="{3B4D5F63-EA56-4616-8A78-0C43AB7049E7}" dt="2025-12-08T00:26:41.841" v="6329" actId="790"/>
          <ac:graphicFrameMkLst>
            <pc:docMk/>
            <pc:sldMk cId="4029792693" sldId="1030"/>
            <ac:graphicFrameMk id="3" creationId="{9AE64E81-C2C1-4C49-6CAB-EA6C1C3041C2}"/>
          </ac:graphicFrameMkLst>
        </pc:graphicFrameChg>
        <pc:graphicFrameChg chg="add mod ord modVis">
          <ac:chgData name="Falcão Lacerda, Rafael" userId="40181ff7-4694-4c53-a944-7b7d63582359" providerId="ADAL" clId="{3B4D5F63-EA56-4616-8A78-0C43AB7049E7}" dt="2025-12-08T00:26:53.137" v="10351"/>
          <ac:graphicFrameMkLst>
            <pc:docMk/>
            <pc:sldMk cId="4029792693" sldId="1030"/>
            <ac:graphicFrameMk id="4" creationId="{4AD0A3E0-CD34-AB8C-3A3F-5C56A8B094AA}"/>
          </ac:graphicFrameMkLst>
        </pc:graphicFrameChg>
        <pc:graphicFrameChg chg="modGraphic">
          <ac:chgData name="Falcão Lacerda, Rafael" userId="40181ff7-4694-4c53-a944-7b7d63582359" providerId="ADAL" clId="{3B4D5F63-EA56-4616-8A78-0C43AB7049E7}" dt="2025-12-08T00:26:41.841" v="6329" actId="790"/>
          <ac:graphicFrameMkLst>
            <pc:docMk/>
            <pc:sldMk cId="4029792693" sldId="1030"/>
            <ac:graphicFrameMk id="8" creationId="{25D3EE96-1B53-3193-EA12-82F15111AFB1}"/>
          </ac:graphicFrameMkLst>
        </pc:graphicFrameChg>
      </pc:sldChg>
      <pc:sldChg chg="addSp delSp modSp mod modShow modNotes">
        <pc:chgData name="Falcão Lacerda, Rafael" userId="40181ff7-4694-4c53-a944-7b7d63582359" providerId="ADAL" clId="{3B4D5F63-EA56-4616-8A78-0C43AB7049E7}" dt="2025-12-08T17:18:13.731" v="34035" actId="729"/>
        <pc:sldMkLst>
          <pc:docMk/>
          <pc:sldMk cId="390667491" sldId="1031"/>
        </pc:sldMkLst>
        <pc:spChg chg="mod">
          <ac:chgData name="Falcão Lacerda, Rafael" userId="40181ff7-4694-4c53-a944-7b7d63582359" providerId="ADAL" clId="{3B4D5F63-EA56-4616-8A78-0C43AB7049E7}" dt="2025-12-08T00:26:46.824" v="8179" actId="948"/>
          <ac:spMkLst>
            <pc:docMk/>
            <pc:sldMk cId="390667491" sldId="1031"/>
            <ac:spMk id="2" creationId="{B2EE1E5C-D7E3-4027-9B26-7A623B3E2C38}"/>
          </ac:spMkLst>
        </pc:spChg>
        <pc:spChg chg="add del mod modVis">
          <ac:chgData name="Falcão Lacerda, Rafael" userId="40181ff7-4694-4c53-a944-7b7d63582359" providerId="ADAL" clId="{3B4D5F63-EA56-4616-8A78-0C43AB7049E7}" dt="2025-12-08T00:26:53.855" v="10625"/>
          <ac:spMkLst>
            <pc:docMk/>
            <pc:sldMk cId="390667491" sldId="1031"/>
            <ac:spMk id="4" creationId="{3DD953F1-BF3D-BAD5-B8CA-A9EA98167B23}"/>
          </ac:spMkLst>
        </pc:spChg>
        <pc:spChg chg="mod">
          <ac:chgData name="Falcão Lacerda, Rafael" userId="40181ff7-4694-4c53-a944-7b7d63582359" providerId="ADAL" clId="{3B4D5F63-EA56-4616-8A78-0C43AB7049E7}" dt="2025-12-08T00:26:41.841" v="6329" actId="790"/>
          <ac:spMkLst>
            <pc:docMk/>
            <pc:sldMk cId="390667491" sldId="1031"/>
            <ac:spMk id="25" creationId="{67D51E3F-72D7-9D5C-A362-C5B3D850AE56}"/>
          </ac:spMkLst>
        </pc:spChg>
        <pc:spChg chg="mod">
          <ac:chgData name="Falcão Lacerda, Rafael" userId="40181ff7-4694-4c53-a944-7b7d63582359" providerId="ADAL" clId="{3B4D5F63-EA56-4616-8A78-0C43AB7049E7}" dt="2025-12-08T00:26:41.841" v="6329" actId="790"/>
          <ac:spMkLst>
            <pc:docMk/>
            <pc:sldMk cId="390667491" sldId="1031"/>
            <ac:spMk id="26" creationId="{71B9AD76-117C-2EDE-33DD-0A0FEBA64015}"/>
          </ac:spMkLst>
        </pc:spChg>
        <pc:spChg chg="mod">
          <ac:chgData name="Falcão Lacerda, Rafael" userId="40181ff7-4694-4c53-a944-7b7d63582359" providerId="ADAL" clId="{3B4D5F63-EA56-4616-8A78-0C43AB7049E7}" dt="2025-12-08T00:26:41.841" v="6329" actId="790"/>
          <ac:spMkLst>
            <pc:docMk/>
            <pc:sldMk cId="390667491" sldId="1031"/>
            <ac:spMk id="27" creationId="{0BE1E18F-EB88-A3C5-9392-5A4A3E8D7D0E}"/>
          </ac:spMkLst>
        </pc:spChg>
        <pc:spChg chg="mod">
          <ac:chgData name="Falcão Lacerda, Rafael" userId="40181ff7-4694-4c53-a944-7b7d63582359" providerId="ADAL" clId="{3B4D5F63-EA56-4616-8A78-0C43AB7049E7}" dt="2025-12-08T00:26:41.841" v="6329" actId="790"/>
          <ac:spMkLst>
            <pc:docMk/>
            <pc:sldMk cId="390667491" sldId="1031"/>
            <ac:spMk id="28" creationId="{4B2DE289-6772-9E6D-B821-768CFE9504DA}"/>
          </ac:spMkLst>
        </pc:spChg>
        <pc:spChg chg="mod">
          <ac:chgData name="Falcão Lacerda, Rafael" userId="40181ff7-4694-4c53-a944-7b7d63582359" providerId="ADAL" clId="{3B4D5F63-EA56-4616-8A78-0C43AB7049E7}" dt="2025-12-08T00:26:41.841" v="6329" actId="790"/>
          <ac:spMkLst>
            <pc:docMk/>
            <pc:sldMk cId="390667491" sldId="1031"/>
            <ac:spMk id="29" creationId="{8F7C4E61-CF02-3710-4F6D-E3452DC352A7}"/>
          </ac:spMkLst>
        </pc:spChg>
        <pc:spChg chg="mod">
          <ac:chgData name="Falcão Lacerda, Rafael" userId="40181ff7-4694-4c53-a944-7b7d63582359" providerId="ADAL" clId="{3B4D5F63-EA56-4616-8A78-0C43AB7049E7}" dt="2025-12-08T00:26:41.841" v="6329" actId="790"/>
          <ac:spMkLst>
            <pc:docMk/>
            <pc:sldMk cId="390667491" sldId="1031"/>
            <ac:spMk id="30" creationId="{50ED7FD7-1A13-2F8A-1BB4-5A805E53CB1A}"/>
          </ac:spMkLst>
        </pc:spChg>
        <pc:spChg chg="mod">
          <ac:chgData name="Falcão Lacerda, Rafael" userId="40181ff7-4694-4c53-a944-7b7d63582359" providerId="ADAL" clId="{3B4D5F63-EA56-4616-8A78-0C43AB7049E7}" dt="2025-12-08T00:26:37.730" v="4942" actId="947"/>
          <ac:spMkLst>
            <pc:docMk/>
            <pc:sldMk cId="390667491" sldId="1031"/>
            <ac:spMk id="31" creationId="{1863CEE7-874B-34A4-3509-F23F090B1BAC}"/>
          </ac:spMkLst>
        </pc:spChg>
        <pc:spChg chg="mod">
          <ac:chgData name="Falcão Lacerda, Rafael" userId="40181ff7-4694-4c53-a944-7b7d63582359" providerId="ADAL" clId="{3B4D5F63-EA56-4616-8A78-0C43AB7049E7}" dt="2025-12-08T00:26:37.741" v="4948" actId="947"/>
          <ac:spMkLst>
            <pc:docMk/>
            <pc:sldMk cId="390667491" sldId="1031"/>
            <ac:spMk id="33" creationId="{C4902A79-4255-18D0-7B6C-58E36053B7DF}"/>
          </ac:spMkLst>
        </pc:spChg>
        <pc:spChg chg="mod">
          <ac:chgData name="Falcão Lacerda, Rafael" userId="40181ff7-4694-4c53-a944-7b7d63582359" providerId="ADAL" clId="{3B4D5F63-EA56-4616-8A78-0C43AB7049E7}" dt="2025-12-08T00:26:41.841" v="6329" actId="790"/>
          <ac:spMkLst>
            <pc:docMk/>
            <pc:sldMk cId="390667491" sldId="1031"/>
            <ac:spMk id="35" creationId="{F57E5F75-FDB1-CBBF-6AB7-1BA4955A02B7}"/>
          </ac:spMkLst>
        </pc:spChg>
        <pc:spChg chg="mod">
          <ac:chgData name="Falcão Lacerda, Rafael" userId="40181ff7-4694-4c53-a944-7b7d63582359" providerId="ADAL" clId="{3B4D5F63-EA56-4616-8A78-0C43AB7049E7}" dt="2025-12-08T00:26:41.841" v="6329" actId="790"/>
          <ac:spMkLst>
            <pc:docMk/>
            <pc:sldMk cId="390667491" sldId="1031"/>
            <ac:spMk id="37" creationId="{9A2B4755-896F-047F-9228-44F818E00E26}"/>
          </ac:spMkLst>
        </pc:spChg>
        <pc:spChg chg="mod">
          <ac:chgData name="Falcão Lacerda, Rafael" userId="40181ff7-4694-4c53-a944-7b7d63582359" providerId="ADAL" clId="{3B4D5F63-EA56-4616-8A78-0C43AB7049E7}" dt="2025-12-08T00:26:41.841" v="6329" actId="790"/>
          <ac:spMkLst>
            <pc:docMk/>
            <pc:sldMk cId="390667491" sldId="1031"/>
            <ac:spMk id="39" creationId="{6D805870-F58A-0BED-82D0-008A817BB472}"/>
          </ac:spMkLst>
        </pc:spChg>
        <pc:spChg chg="mod">
          <ac:chgData name="Falcão Lacerda, Rafael" userId="40181ff7-4694-4c53-a944-7b7d63582359" providerId="ADAL" clId="{3B4D5F63-EA56-4616-8A78-0C43AB7049E7}" dt="2025-12-08T00:26:37.748" v="4952" actId="947"/>
          <ac:spMkLst>
            <pc:docMk/>
            <pc:sldMk cId="390667491" sldId="1031"/>
            <ac:spMk id="41" creationId="{3C442A03-47B5-E584-F419-0A36048BB0B5}"/>
          </ac:spMkLst>
        </pc:spChg>
        <pc:graphicFrameChg chg="add mod ord modVis">
          <ac:chgData name="Falcão Lacerda, Rafael" userId="40181ff7-4694-4c53-a944-7b7d63582359" providerId="ADAL" clId="{3B4D5F63-EA56-4616-8A78-0C43AB7049E7}" dt="2025-12-08T00:26:53.886" v="10639"/>
          <ac:graphicFrameMkLst>
            <pc:docMk/>
            <pc:sldMk cId="390667491" sldId="1031"/>
            <ac:graphicFrameMk id="5" creationId="{B24FF909-C50D-5192-E3F0-317D7E127DD8}"/>
          </ac:graphicFrameMkLst>
        </pc:graphicFrameChg>
      </pc:sldChg>
      <pc:sldChg chg="addSp delSp modSp new add del mod">
        <pc:chgData name="Falcão Lacerda, Rafael" userId="40181ff7-4694-4c53-a944-7b7d63582359" providerId="ADAL" clId="{3B4D5F63-EA56-4616-8A78-0C43AB7049E7}" dt="2025-12-07T18:13:35.024" v="1518" actId="47"/>
        <pc:sldMkLst>
          <pc:docMk/>
          <pc:sldMk cId="3175788940" sldId="1032"/>
        </pc:sldMkLst>
        <pc:spChg chg="del">
          <ac:chgData name="Falcão Lacerda, Rafael" userId="40181ff7-4694-4c53-a944-7b7d63582359" providerId="ADAL" clId="{3B4D5F63-EA56-4616-8A78-0C43AB7049E7}" dt="2025-12-07T18:08:46.722" v="1241" actId="478"/>
          <ac:spMkLst>
            <pc:docMk/>
            <pc:sldMk cId="3175788940" sldId="1032"/>
            <ac:spMk id="2" creationId="{07786296-9187-48E4-E9F2-B9B14B282B94}"/>
          </ac:spMkLst>
        </pc:spChg>
        <pc:spChg chg="del">
          <ac:chgData name="Falcão Lacerda, Rafael" userId="40181ff7-4694-4c53-a944-7b7d63582359" providerId="ADAL" clId="{3B4D5F63-EA56-4616-8A78-0C43AB7049E7}" dt="2025-12-07T18:08:46.722" v="1241" actId="478"/>
          <ac:spMkLst>
            <pc:docMk/>
            <pc:sldMk cId="3175788940" sldId="1032"/>
            <ac:spMk id="3" creationId="{949A31A6-E002-4087-F7B0-9B1032A574F4}"/>
          </ac:spMkLst>
        </pc:spChg>
        <pc:spChg chg="del">
          <ac:chgData name="Falcão Lacerda, Rafael" userId="40181ff7-4694-4c53-a944-7b7d63582359" providerId="ADAL" clId="{3B4D5F63-EA56-4616-8A78-0C43AB7049E7}" dt="2025-12-07T18:08:46.722" v="1241" actId="478"/>
          <ac:spMkLst>
            <pc:docMk/>
            <pc:sldMk cId="3175788940" sldId="1032"/>
            <ac:spMk id="4" creationId="{ECB66FBF-65AE-BCD2-AE86-2CCE0C3DEA35}"/>
          </ac:spMkLst>
        </pc:spChg>
        <pc:spChg chg="del">
          <ac:chgData name="Falcão Lacerda, Rafael" userId="40181ff7-4694-4c53-a944-7b7d63582359" providerId="ADAL" clId="{3B4D5F63-EA56-4616-8A78-0C43AB7049E7}" dt="2025-12-07T18:08:46.722" v="1241" actId="478"/>
          <ac:spMkLst>
            <pc:docMk/>
            <pc:sldMk cId="3175788940" sldId="1032"/>
            <ac:spMk id="5" creationId="{ABA3E676-2B3F-4A2D-D89B-D4AEB6244574}"/>
          </ac:spMkLst>
        </pc:spChg>
        <pc:spChg chg="del">
          <ac:chgData name="Falcão Lacerda, Rafael" userId="40181ff7-4694-4c53-a944-7b7d63582359" providerId="ADAL" clId="{3B4D5F63-EA56-4616-8A78-0C43AB7049E7}" dt="2025-12-07T18:08:46.722" v="1241" actId="478"/>
          <ac:spMkLst>
            <pc:docMk/>
            <pc:sldMk cId="3175788940" sldId="1032"/>
            <ac:spMk id="6" creationId="{39482454-EACD-48FA-CD4D-8071A4D210A8}"/>
          </ac:spMkLst>
        </pc:spChg>
        <pc:spChg chg="del">
          <ac:chgData name="Falcão Lacerda, Rafael" userId="40181ff7-4694-4c53-a944-7b7d63582359" providerId="ADAL" clId="{3B4D5F63-EA56-4616-8A78-0C43AB7049E7}" dt="2025-12-07T18:08:46.722" v="1241" actId="478"/>
          <ac:spMkLst>
            <pc:docMk/>
            <pc:sldMk cId="3175788940" sldId="1032"/>
            <ac:spMk id="7" creationId="{AE0355E9-39B5-3A69-DDF2-75871A4D0CBD}"/>
          </ac:spMkLst>
        </pc:spChg>
        <pc:graphicFrameChg chg="add mod modVis">
          <ac:chgData name="Falcão Lacerda, Rafael" userId="40181ff7-4694-4c53-a944-7b7d63582359" providerId="ADAL" clId="{3B4D5F63-EA56-4616-8A78-0C43AB7049E7}" dt="2025-12-07T18:08:47.298" v="1253"/>
          <ac:graphicFrameMkLst>
            <pc:docMk/>
            <pc:sldMk cId="3175788940" sldId="1032"/>
            <ac:graphicFrameMk id="8" creationId="{083572AA-B9D9-72B1-E88C-424F5533D57F}"/>
          </ac:graphicFrameMkLst>
        </pc:graphicFrameChg>
        <pc:picChg chg="add mod">
          <ac:chgData name="Falcão Lacerda, Rafael" userId="40181ff7-4694-4c53-a944-7b7d63582359" providerId="ADAL" clId="{3B4D5F63-EA56-4616-8A78-0C43AB7049E7}" dt="2025-12-07T18:09:48.055" v="1262" actId="1076"/>
          <ac:picMkLst>
            <pc:docMk/>
            <pc:sldMk cId="3175788940" sldId="1032"/>
            <ac:picMk id="10" creationId="{F27D8E6A-3D75-8A14-7337-022A5CDB2852}"/>
          </ac:picMkLst>
        </pc:picChg>
        <pc:picChg chg="add mod">
          <ac:chgData name="Falcão Lacerda, Rafael" userId="40181ff7-4694-4c53-a944-7b7d63582359" providerId="ADAL" clId="{3B4D5F63-EA56-4616-8A78-0C43AB7049E7}" dt="2025-12-07T18:10:04.200" v="1267" actId="1076"/>
          <ac:picMkLst>
            <pc:docMk/>
            <pc:sldMk cId="3175788940" sldId="1032"/>
            <ac:picMk id="12" creationId="{C6B06EC7-ADAD-B0D2-D447-19782C547D0A}"/>
          </ac:picMkLst>
        </pc:picChg>
      </pc:sldChg>
      <pc:sldChg chg="addSp delSp modSp add del mod">
        <pc:chgData name="Falcão Lacerda, Rafael" userId="40181ff7-4694-4c53-a944-7b7d63582359" providerId="ADAL" clId="{3B4D5F63-EA56-4616-8A78-0C43AB7049E7}" dt="2025-12-07T23:36:16.712" v="1995" actId="47"/>
        <pc:sldMkLst>
          <pc:docMk/>
          <pc:sldMk cId="3715815442" sldId="1032"/>
        </pc:sldMkLst>
        <pc:spChg chg="mod">
          <ac:chgData name="Falcão Lacerda, Rafael" userId="40181ff7-4694-4c53-a944-7b7d63582359" providerId="ADAL" clId="{3B4D5F63-EA56-4616-8A78-0C43AB7049E7}" dt="2025-12-07T23:31:50.980" v="1675" actId="948"/>
          <ac:spMkLst>
            <pc:docMk/>
            <pc:sldMk cId="3715815442" sldId="1032"/>
            <ac:spMk id="2" creationId="{760600A5-5283-AB2D-EF1B-A5D3650362BE}"/>
          </ac:spMkLst>
        </pc:spChg>
        <pc:spChg chg="mod">
          <ac:chgData name="Falcão Lacerda, Rafael" userId="40181ff7-4694-4c53-a944-7b7d63582359" providerId="ADAL" clId="{3B4D5F63-EA56-4616-8A78-0C43AB7049E7}" dt="2025-12-07T23:34:00.179" v="1820" actId="20577"/>
          <ac:spMkLst>
            <pc:docMk/>
            <pc:sldMk cId="3715815442" sldId="1032"/>
            <ac:spMk id="3" creationId="{65E0B564-2585-2C12-EF68-668854914175}"/>
          </ac:spMkLst>
        </pc:spChg>
        <pc:spChg chg="mod">
          <ac:chgData name="Falcão Lacerda, Rafael" userId="40181ff7-4694-4c53-a944-7b7d63582359" providerId="ADAL" clId="{3B4D5F63-EA56-4616-8A78-0C43AB7049E7}" dt="2025-12-07T23:31:41.676" v="1607" actId="20577"/>
          <ac:spMkLst>
            <pc:docMk/>
            <pc:sldMk cId="3715815442" sldId="1032"/>
            <ac:spMk id="4" creationId="{4D585EA5-8F29-72E4-5023-BF0D5570ABAD}"/>
          </ac:spMkLst>
        </pc:spChg>
        <pc:spChg chg="add del mod modVis">
          <ac:chgData name="Falcão Lacerda, Rafael" userId="40181ff7-4694-4c53-a944-7b7d63582359" providerId="ADAL" clId="{3B4D5F63-EA56-4616-8A78-0C43AB7049E7}" dt="2025-12-07T23:31:50.362" v="1670"/>
          <ac:spMkLst>
            <pc:docMk/>
            <pc:sldMk cId="3715815442" sldId="1032"/>
            <ac:spMk id="6" creationId="{BA1500F9-8944-1FD4-A2E3-2142D93F83C3}"/>
          </ac:spMkLst>
        </pc:spChg>
        <pc:spChg chg="add del mod modVis">
          <ac:chgData name="Falcão Lacerda, Rafael" userId="40181ff7-4694-4c53-a944-7b7d63582359" providerId="ADAL" clId="{3B4D5F63-EA56-4616-8A78-0C43AB7049E7}" dt="2025-12-07T23:31:51.012" v="1696"/>
          <ac:spMkLst>
            <pc:docMk/>
            <pc:sldMk cId="3715815442" sldId="1032"/>
            <ac:spMk id="7" creationId="{0A9901A0-AE98-6C61-0ED4-B50CBF67C353}"/>
          </ac:spMkLst>
        </pc:spChg>
        <pc:graphicFrameChg chg="add mod ord modVis">
          <ac:chgData name="Falcão Lacerda, Rafael" userId="40181ff7-4694-4c53-a944-7b7d63582359" providerId="ADAL" clId="{3B4D5F63-EA56-4616-8A78-0C43AB7049E7}" dt="2025-12-07T23:31:51.028" v="1698"/>
          <ac:graphicFrameMkLst>
            <pc:docMk/>
            <pc:sldMk cId="3715815442" sldId="1032"/>
            <ac:graphicFrameMk id="5" creationId="{B3CA16CB-6460-1550-3BA6-AE748EC46796}"/>
          </ac:graphicFrameMkLst>
        </pc:graphicFrameChg>
      </pc:sldChg>
      <pc:sldChg chg="addSp delSp modSp add del mod">
        <pc:chgData name="Falcão Lacerda, Rafael" userId="40181ff7-4694-4c53-a944-7b7d63582359" providerId="ADAL" clId="{3B4D5F63-EA56-4616-8A78-0C43AB7049E7}" dt="2025-12-08T00:25:07.058" v="2377" actId="47"/>
        <pc:sldMkLst>
          <pc:docMk/>
          <pc:sldMk cId="3869864057" sldId="1033"/>
        </pc:sldMkLst>
        <pc:spChg chg="mod">
          <ac:chgData name="Falcão Lacerda, Rafael" userId="40181ff7-4694-4c53-a944-7b7d63582359" providerId="ADAL" clId="{3B4D5F63-EA56-4616-8A78-0C43AB7049E7}" dt="2025-12-07T23:34:30.408" v="1893" actId="948"/>
          <ac:spMkLst>
            <pc:docMk/>
            <pc:sldMk cId="3869864057" sldId="1033"/>
            <ac:spMk id="2" creationId="{56A6A5C5-2E68-6BAE-AD81-119BAFC0A0E6}"/>
          </ac:spMkLst>
        </pc:spChg>
        <pc:spChg chg="mod">
          <ac:chgData name="Falcão Lacerda, Rafael" userId="40181ff7-4694-4c53-a944-7b7d63582359" providerId="ADAL" clId="{3B4D5F63-EA56-4616-8A78-0C43AB7049E7}" dt="2025-12-07T23:34:16.261" v="1822" actId="20577"/>
          <ac:spMkLst>
            <pc:docMk/>
            <pc:sldMk cId="3869864057" sldId="1033"/>
            <ac:spMk id="3" creationId="{2FD676C4-8EEA-E176-FA82-28AB6C9E28FB}"/>
          </ac:spMkLst>
        </pc:spChg>
        <pc:spChg chg="mod">
          <ac:chgData name="Falcão Lacerda, Rafael" userId="40181ff7-4694-4c53-a944-7b7d63582359" providerId="ADAL" clId="{3B4D5F63-EA56-4616-8A78-0C43AB7049E7}" dt="2025-12-07T23:34:36.595" v="1918"/>
          <ac:spMkLst>
            <pc:docMk/>
            <pc:sldMk cId="3869864057" sldId="1033"/>
            <ac:spMk id="4" creationId="{5DB3FEC8-892C-8435-E930-FB9A2BF8B501}"/>
          </ac:spMkLst>
        </pc:spChg>
        <pc:spChg chg="add del mod modVis">
          <ac:chgData name="Falcão Lacerda, Rafael" userId="40181ff7-4694-4c53-a944-7b7d63582359" providerId="ADAL" clId="{3B4D5F63-EA56-4616-8A78-0C43AB7049E7}" dt="2025-12-07T23:34:28.456" v="1882"/>
          <ac:spMkLst>
            <pc:docMk/>
            <pc:sldMk cId="3869864057" sldId="1033"/>
            <ac:spMk id="6" creationId="{69E6B021-E7DF-8F30-7B87-639B2868A501}"/>
          </ac:spMkLst>
        </pc:spChg>
        <pc:spChg chg="add del mod modVis">
          <ac:chgData name="Falcão Lacerda, Rafael" userId="40181ff7-4694-4c53-a944-7b7d63582359" providerId="ADAL" clId="{3B4D5F63-EA56-4616-8A78-0C43AB7049E7}" dt="2025-12-07T23:34:30.454" v="1914"/>
          <ac:spMkLst>
            <pc:docMk/>
            <pc:sldMk cId="3869864057" sldId="1033"/>
            <ac:spMk id="7" creationId="{00188400-F59E-6D14-82BC-CCC9A0EB690E}"/>
          </ac:spMkLst>
        </pc:spChg>
        <pc:graphicFrameChg chg="add mod ord modVis">
          <ac:chgData name="Falcão Lacerda, Rafael" userId="40181ff7-4694-4c53-a944-7b7d63582359" providerId="ADAL" clId="{3B4D5F63-EA56-4616-8A78-0C43AB7049E7}" dt="2025-12-07T23:34:30.454" v="1916"/>
          <ac:graphicFrameMkLst>
            <pc:docMk/>
            <pc:sldMk cId="3869864057" sldId="1033"/>
            <ac:graphicFrameMk id="5" creationId="{B5CDD10D-7B68-E3DD-F3E2-9932AC5C2187}"/>
          </ac:graphicFrameMkLst>
        </pc:graphicFrameChg>
      </pc:sldChg>
      <pc:sldChg chg="addSp delSp modSp add mod modNotes">
        <pc:chgData name="Falcão Lacerda, Rafael" userId="40181ff7-4694-4c53-a944-7b7d63582359" providerId="ADAL" clId="{3B4D5F63-EA56-4616-8A78-0C43AB7049E7}" dt="2025-12-08T00:26:55.872" v="11337"/>
        <pc:sldMkLst>
          <pc:docMk/>
          <pc:sldMk cId="2989768673" sldId="1034"/>
        </pc:sldMkLst>
        <pc:spChg chg="mod">
          <ac:chgData name="Falcão Lacerda, Rafael" userId="40181ff7-4694-4c53-a944-7b7d63582359" providerId="ADAL" clId="{3B4D5F63-EA56-4616-8A78-0C43AB7049E7}" dt="2025-12-08T00:26:41.841" v="6329" actId="790"/>
          <ac:spMkLst>
            <pc:docMk/>
            <pc:sldMk cId="2989768673" sldId="1034"/>
            <ac:spMk id="3" creationId="{47544B18-30AB-3074-00E5-8E844B139E90}"/>
          </ac:spMkLst>
        </pc:spChg>
        <pc:spChg chg="mod">
          <ac:chgData name="Falcão Lacerda, Rafael" userId="40181ff7-4694-4c53-a944-7b7d63582359" providerId="ADAL" clId="{3B4D5F63-EA56-4616-8A78-0C43AB7049E7}" dt="2025-12-08T00:26:41.841" v="6329" actId="790"/>
          <ac:spMkLst>
            <pc:docMk/>
            <pc:sldMk cId="2989768673" sldId="1034"/>
            <ac:spMk id="4" creationId="{7DFDC0EA-D523-5F19-9C52-B7AC0EF887E1}"/>
          </ac:spMkLst>
        </pc:spChg>
        <pc:spChg chg="add del mod modVis">
          <ac:chgData name="Falcão Lacerda, Rafael" userId="40181ff7-4694-4c53-a944-7b7d63582359" providerId="ADAL" clId="{3B4D5F63-EA56-4616-8A78-0C43AB7049E7}" dt="2025-12-07T23:34:51.369" v="1991"/>
          <ac:spMkLst>
            <pc:docMk/>
            <pc:sldMk cId="2989768673" sldId="1034"/>
            <ac:spMk id="5" creationId="{3A6A5A48-77BE-F347-1373-324018D9725E}"/>
          </ac:spMkLst>
        </pc:spChg>
        <pc:spChg chg="add del mod modVis">
          <ac:chgData name="Falcão Lacerda, Rafael" userId="40181ff7-4694-4c53-a944-7b7d63582359" providerId="ADAL" clId="{3B4D5F63-EA56-4616-8A78-0C43AB7049E7}" dt="2025-12-08T00:26:55.872" v="11335"/>
          <ac:spMkLst>
            <pc:docMk/>
            <pc:sldMk cId="2989768673" sldId="1034"/>
            <ac:spMk id="6" creationId="{670F730C-E54E-92BF-3495-ACB5C2ADE988}"/>
          </ac:spMkLst>
        </pc:spChg>
        <pc:spChg chg="mod">
          <ac:chgData name="Falcão Lacerda, Rafael" userId="40181ff7-4694-4c53-a944-7b7d63582359" providerId="ADAL" clId="{3B4D5F63-EA56-4616-8A78-0C43AB7049E7}" dt="2025-12-08T00:26:48.440" v="9043" actId="948"/>
          <ac:spMkLst>
            <pc:docMk/>
            <pc:sldMk cId="2989768673" sldId="1034"/>
            <ac:spMk id="8" creationId="{18FF0BF1-EE42-5CD4-4C18-AC237C2698F8}"/>
          </ac:spMkLst>
        </pc:spChg>
        <pc:graphicFrameChg chg="add mod ord modVis">
          <ac:chgData name="Falcão Lacerda, Rafael" userId="40181ff7-4694-4c53-a944-7b7d63582359" providerId="ADAL" clId="{3B4D5F63-EA56-4616-8A78-0C43AB7049E7}" dt="2025-12-08T00:26:55.872" v="11337"/>
          <ac:graphicFrameMkLst>
            <pc:docMk/>
            <pc:sldMk cId="2989768673" sldId="1034"/>
            <ac:graphicFrameMk id="2" creationId="{5E8E40FB-03C4-0AF0-2B5C-287436FFFF86}"/>
          </ac:graphicFrameMkLst>
        </pc:graphicFrameChg>
      </pc:sldChg>
      <pc:sldChg chg="addSp delSp modSp add del mod">
        <pc:chgData name="Falcão Lacerda, Rafael" userId="40181ff7-4694-4c53-a944-7b7d63582359" providerId="ADAL" clId="{3B4D5F63-EA56-4616-8A78-0C43AB7049E7}" dt="2025-12-08T00:25:03.784" v="2376" actId="47"/>
        <pc:sldMkLst>
          <pc:docMk/>
          <pc:sldMk cId="687764292" sldId="1035"/>
        </pc:sldMkLst>
        <pc:spChg chg="mod">
          <ac:chgData name="Falcão Lacerda, Rafael" userId="40181ff7-4694-4c53-a944-7b7d63582359" providerId="ADAL" clId="{3B4D5F63-EA56-4616-8A78-0C43AB7049E7}" dt="2025-12-08T00:20:47.621" v="2039" actId="948"/>
          <ac:spMkLst>
            <pc:docMk/>
            <pc:sldMk cId="687764292" sldId="1035"/>
            <ac:spMk id="2" creationId="{6869F6AE-39BA-2159-8425-15BA802F268A}"/>
          </ac:spMkLst>
        </pc:spChg>
        <pc:spChg chg="mod">
          <ac:chgData name="Falcão Lacerda, Rafael" userId="40181ff7-4694-4c53-a944-7b7d63582359" providerId="ADAL" clId="{3B4D5F63-EA56-4616-8A78-0C43AB7049E7}" dt="2025-12-08T00:20:33.892" v="2005" actId="20577"/>
          <ac:spMkLst>
            <pc:docMk/>
            <pc:sldMk cId="687764292" sldId="1035"/>
            <ac:spMk id="3" creationId="{7C423B37-1066-5695-0B90-7D89F96A4CF0}"/>
          </ac:spMkLst>
        </pc:spChg>
        <pc:spChg chg="add del mod modVis">
          <ac:chgData name="Falcão Lacerda, Rafael" userId="40181ff7-4694-4c53-a944-7b7d63582359" providerId="ADAL" clId="{3B4D5F63-EA56-4616-8A78-0C43AB7049E7}" dt="2025-12-08T00:20:47.656" v="2060"/>
          <ac:spMkLst>
            <pc:docMk/>
            <pc:sldMk cId="687764292" sldId="1035"/>
            <ac:spMk id="6" creationId="{59F9BFA9-8B3B-4DEC-73D7-E63585429130}"/>
          </ac:spMkLst>
        </pc:spChg>
        <pc:graphicFrameChg chg="mod">
          <ac:chgData name="Falcão Lacerda, Rafael" userId="40181ff7-4694-4c53-a944-7b7d63582359" providerId="ADAL" clId="{3B4D5F63-EA56-4616-8A78-0C43AB7049E7}" dt="2025-12-08T00:20:47.656" v="2062"/>
          <ac:graphicFrameMkLst>
            <pc:docMk/>
            <pc:sldMk cId="687764292" sldId="1035"/>
            <ac:graphicFrameMk id="5" creationId="{49B3FEB4-E94C-3286-14A7-0C456A40C6B7}"/>
          </ac:graphicFrameMkLst>
        </pc:graphicFrameChg>
      </pc:sldChg>
      <pc:sldChg chg="addSp delSp modSp add del mod">
        <pc:chgData name="Falcão Lacerda, Rafael" userId="40181ff7-4694-4c53-a944-7b7d63582359" providerId="ADAL" clId="{3B4D5F63-EA56-4616-8A78-0C43AB7049E7}" dt="2025-12-08T00:24:47.667" v="2325" actId="47"/>
        <pc:sldMkLst>
          <pc:docMk/>
          <pc:sldMk cId="1570097557" sldId="1036"/>
        </pc:sldMkLst>
        <pc:spChg chg="mod">
          <ac:chgData name="Falcão Lacerda, Rafael" userId="40181ff7-4694-4c53-a944-7b7d63582359" providerId="ADAL" clId="{3B4D5F63-EA56-4616-8A78-0C43AB7049E7}" dt="2025-12-08T00:21:02.824" v="2091" actId="948"/>
          <ac:spMkLst>
            <pc:docMk/>
            <pc:sldMk cId="1570097557" sldId="1036"/>
            <ac:spMk id="2" creationId="{1883C227-8C46-037F-A683-DBA3CCBB4883}"/>
          </ac:spMkLst>
        </pc:spChg>
        <pc:spChg chg="mod">
          <ac:chgData name="Falcão Lacerda, Rafael" userId="40181ff7-4694-4c53-a944-7b7d63582359" providerId="ADAL" clId="{3B4D5F63-EA56-4616-8A78-0C43AB7049E7}" dt="2025-12-08T00:20:55.435" v="2063" actId="20577"/>
          <ac:spMkLst>
            <pc:docMk/>
            <pc:sldMk cId="1570097557" sldId="1036"/>
            <ac:spMk id="3" creationId="{A22EA8FD-8511-B23B-3987-59EBD7A22A7B}"/>
          </ac:spMkLst>
        </pc:spChg>
        <pc:spChg chg="add del mod modVis">
          <ac:chgData name="Falcão Lacerda, Rafael" userId="40181ff7-4694-4c53-a944-7b7d63582359" providerId="ADAL" clId="{3B4D5F63-EA56-4616-8A78-0C43AB7049E7}" dt="2025-12-08T00:21:02.889" v="2112"/>
          <ac:spMkLst>
            <pc:docMk/>
            <pc:sldMk cId="1570097557" sldId="1036"/>
            <ac:spMk id="6" creationId="{FB6075D7-693E-7AED-3240-59435786901C}"/>
          </ac:spMkLst>
        </pc:spChg>
        <pc:graphicFrameChg chg="mod">
          <ac:chgData name="Falcão Lacerda, Rafael" userId="40181ff7-4694-4c53-a944-7b7d63582359" providerId="ADAL" clId="{3B4D5F63-EA56-4616-8A78-0C43AB7049E7}" dt="2025-12-08T00:21:02.889" v="2114"/>
          <ac:graphicFrameMkLst>
            <pc:docMk/>
            <pc:sldMk cId="1570097557" sldId="1036"/>
            <ac:graphicFrameMk id="5" creationId="{A3E8BDCD-F4A7-0E17-641F-B2EABEFA7931}"/>
          </ac:graphicFrameMkLst>
        </pc:graphicFrameChg>
      </pc:sldChg>
      <pc:sldChg chg="modSp add del mod">
        <pc:chgData name="Falcão Lacerda, Rafael" userId="40181ff7-4694-4c53-a944-7b7d63582359" providerId="ADAL" clId="{3B4D5F63-EA56-4616-8A78-0C43AB7049E7}" dt="2025-12-08T00:24:49.443" v="2326" actId="47"/>
        <pc:sldMkLst>
          <pc:docMk/>
          <pc:sldMk cId="1708122106" sldId="1037"/>
        </pc:sldMkLst>
        <pc:spChg chg="mod">
          <ac:chgData name="Falcão Lacerda, Rafael" userId="40181ff7-4694-4c53-a944-7b7d63582359" providerId="ADAL" clId="{3B4D5F63-EA56-4616-8A78-0C43AB7049E7}" dt="2025-12-08T00:21:13.043" v="2126" actId="948"/>
          <ac:spMkLst>
            <pc:docMk/>
            <pc:sldMk cId="1708122106" sldId="1037"/>
            <ac:spMk id="2" creationId="{DEEDC997-7343-D10C-C15C-C09CEB246851}"/>
          </ac:spMkLst>
        </pc:spChg>
        <pc:spChg chg="mod">
          <ac:chgData name="Falcão Lacerda, Rafael" userId="40181ff7-4694-4c53-a944-7b7d63582359" providerId="ADAL" clId="{3B4D5F63-EA56-4616-8A78-0C43AB7049E7}" dt="2025-12-08T00:21:16.181" v="2129" actId="20577"/>
          <ac:spMkLst>
            <pc:docMk/>
            <pc:sldMk cId="1708122106" sldId="1037"/>
            <ac:spMk id="3" creationId="{B48592D0-FCBB-8D48-01C3-94A570A95792}"/>
          </ac:spMkLst>
        </pc:spChg>
        <pc:graphicFrameChg chg="mod">
          <ac:chgData name="Falcão Lacerda, Rafael" userId="40181ff7-4694-4c53-a944-7b7d63582359" providerId="ADAL" clId="{3B4D5F63-EA56-4616-8A78-0C43AB7049E7}" dt="2025-12-08T00:21:13.043" v="2128"/>
          <ac:graphicFrameMkLst>
            <pc:docMk/>
            <pc:sldMk cId="1708122106" sldId="1037"/>
            <ac:graphicFrameMk id="5" creationId="{BBBA4E96-CFF1-33BE-9B0E-48FE75A6C083}"/>
          </ac:graphicFrameMkLst>
        </pc:graphicFrameChg>
      </pc:sldChg>
      <pc:sldChg chg="modSp add del mod">
        <pc:chgData name="Falcão Lacerda, Rafael" userId="40181ff7-4694-4c53-a944-7b7d63582359" providerId="ADAL" clId="{3B4D5F63-EA56-4616-8A78-0C43AB7049E7}" dt="2025-12-08T00:24:19.621" v="2233" actId="47"/>
        <pc:sldMkLst>
          <pc:docMk/>
          <pc:sldMk cId="3405599756" sldId="1038"/>
        </pc:sldMkLst>
        <pc:spChg chg="mod">
          <ac:chgData name="Falcão Lacerda, Rafael" userId="40181ff7-4694-4c53-a944-7b7d63582359" providerId="ADAL" clId="{3B4D5F63-EA56-4616-8A78-0C43AB7049E7}" dt="2025-12-08T00:21:26.137" v="2141" actId="948"/>
          <ac:spMkLst>
            <pc:docMk/>
            <pc:sldMk cId="3405599756" sldId="1038"/>
            <ac:spMk id="2" creationId="{A625173E-EAFF-8841-541C-579993925E23}"/>
          </ac:spMkLst>
        </pc:spChg>
        <pc:spChg chg="mod">
          <ac:chgData name="Falcão Lacerda, Rafael" userId="40181ff7-4694-4c53-a944-7b7d63582359" providerId="ADAL" clId="{3B4D5F63-EA56-4616-8A78-0C43AB7049E7}" dt="2025-12-08T00:21:19.919" v="2130" actId="20577"/>
          <ac:spMkLst>
            <pc:docMk/>
            <pc:sldMk cId="3405599756" sldId="1038"/>
            <ac:spMk id="3" creationId="{F8A2EAC8-04A4-90A8-23E1-117D89647560}"/>
          </ac:spMkLst>
        </pc:spChg>
        <pc:graphicFrameChg chg="mod">
          <ac:chgData name="Falcão Lacerda, Rafael" userId="40181ff7-4694-4c53-a944-7b7d63582359" providerId="ADAL" clId="{3B4D5F63-EA56-4616-8A78-0C43AB7049E7}" dt="2025-12-08T00:21:26.137" v="2143"/>
          <ac:graphicFrameMkLst>
            <pc:docMk/>
            <pc:sldMk cId="3405599756" sldId="1038"/>
            <ac:graphicFrameMk id="5" creationId="{2D89BC50-35B4-E970-B418-AB48157DDE09}"/>
          </ac:graphicFrameMkLst>
        </pc:graphicFrameChg>
      </pc:sldChg>
      <pc:sldChg chg="modSp add del mod">
        <pc:chgData name="Falcão Lacerda, Rafael" userId="40181ff7-4694-4c53-a944-7b7d63582359" providerId="ADAL" clId="{3B4D5F63-EA56-4616-8A78-0C43AB7049E7}" dt="2025-12-08T00:24:08.528" v="2218" actId="47"/>
        <pc:sldMkLst>
          <pc:docMk/>
          <pc:sldMk cId="1606636854" sldId="1039"/>
        </pc:sldMkLst>
        <pc:spChg chg="mod">
          <ac:chgData name="Falcão Lacerda, Rafael" userId="40181ff7-4694-4c53-a944-7b7d63582359" providerId="ADAL" clId="{3B4D5F63-EA56-4616-8A78-0C43AB7049E7}" dt="2025-12-08T00:21:37.450" v="2157" actId="948"/>
          <ac:spMkLst>
            <pc:docMk/>
            <pc:sldMk cId="1606636854" sldId="1039"/>
            <ac:spMk id="2" creationId="{181A0C5A-D323-4007-A3B8-CD930B75D139}"/>
          </ac:spMkLst>
        </pc:spChg>
        <pc:spChg chg="mod">
          <ac:chgData name="Falcão Lacerda, Rafael" userId="40181ff7-4694-4c53-a944-7b7d63582359" providerId="ADAL" clId="{3B4D5F63-EA56-4616-8A78-0C43AB7049E7}" dt="2025-12-08T00:21:29.997" v="2144" actId="20577"/>
          <ac:spMkLst>
            <pc:docMk/>
            <pc:sldMk cId="1606636854" sldId="1039"/>
            <ac:spMk id="3" creationId="{E93B6A98-71EB-F91C-2803-9DE93176899C}"/>
          </ac:spMkLst>
        </pc:spChg>
        <pc:graphicFrameChg chg="mod">
          <ac:chgData name="Falcão Lacerda, Rafael" userId="40181ff7-4694-4c53-a944-7b7d63582359" providerId="ADAL" clId="{3B4D5F63-EA56-4616-8A78-0C43AB7049E7}" dt="2025-12-08T00:21:37.450" v="2159"/>
          <ac:graphicFrameMkLst>
            <pc:docMk/>
            <pc:sldMk cId="1606636854" sldId="1039"/>
            <ac:graphicFrameMk id="5" creationId="{C20FC2A6-BB9E-2519-FB78-4BC88826EBA8}"/>
          </ac:graphicFrameMkLst>
        </pc:graphicFrameChg>
      </pc:sldChg>
      <pc:sldChg chg="modSp add del mod">
        <pc:chgData name="Falcão Lacerda, Rafael" userId="40181ff7-4694-4c53-a944-7b7d63582359" providerId="ADAL" clId="{3B4D5F63-EA56-4616-8A78-0C43AB7049E7}" dt="2025-12-08T00:23:55.951" v="2198" actId="47"/>
        <pc:sldMkLst>
          <pc:docMk/>
          <pc:sldMk cId="185574899" sldId="1040"/>
        </pc:sldMkLst>
        <pc:spChg chg="mod">
          <ac:chgData name="Falcão Lacerda, Rafael" userId="40181ff7-4694-4c53-a944-7b7d63582359" providerId="ADAL" clId="{3B4D5F63-EA56-4616-8A78-0C43AB7049E7}" dt="2025-12-08T00:21:44.771" v="2172" actId="948"/>
          <ac:spMkLst>
            <pc:docMk/>
            <pc:sldMk cId="185574899" sldId="1040"/>
            <ac:spMk id="2" creationId="{3356D609-6B60-EBF5-8943-63480A88AFEB}"/>
          </ac:spMkLst>
        </pc:spChg>
        <pc:spChg chg="mod">
          <ac:chgData name="Falcão Lacerda, Rafael" userId="40181ff7-4694-4c53-a944-7b7d63582359" providerId="ADAL" clId="{3B4D5F63-EA56-4616-8A78-0C43AB7049E7}" dt="2025-12-08T00:21:46.684" v="2175" actId="20577"/>
          <ac:spMkLst>
            <pc:docMk/>
            <pc:sldMk cId="185574899" sldId="1040"/>
            <ac:spMk id="3" creationId="{9FA29CC7-6047-9C6F-9307-8964ABC70C3A}"/>
          </ac:spMkLst>
        </pc:spChg>
        <pc:graphicFrameChg chg="mod">
          <ac:chgData name="Falcão Lacerda, Rafael" userId="40181ff7-4694-4c53-a944-7b7d63582359" providerId="ADAL" clId="{3B4D5F63-EA56-4616-8A78-0C43AB7049E7}" dt="2025-12-08T00:21:44.773" v="2174"/>
          <ac:graphicFrameMkLst>
            <pc:docMk/>
            <pc:sldMk cId="185574899" sldId="1040"/>
            <ac:graphicFrameMk id="5" creationId="{B7B5FD9D-035A-AC33-8A03-9A7B6A13E397}"/>
          </ac:graphicFrameMkLst>
        </pc:graphicFrameChg>
      </pc:sldChg>
      <pc:sldChg chg="addSp delSp modSp add mod modNotes">
        <pc:chgData name="Falcão Lacerda, Rafael" userId="40181ff7-4694-4c53-a944-7b7d63582359" providerId="ADAL" clId="{3B4D5F63-EA56-4616-8A78-0C43AB7049E7}" dt="2025-12-08T16:45:08.173" v="32834" actId="14826"/>
        <pc:sldMkLst>
          <pc:docMk/>
          <pc:sldMk cId="2876554888" sldId="1041"/>
        </pc:sldMkLst>
        <pc:spChg chg="mod">
          <ac:chgData name="Falcão Lacerda, Rafael" userId="40181ff7-4694-4c53-a944-7b7d63582359" providerId="ADAL" clId="{3B4D5F63-EA56-4616-8A78-0C43AB7049E7}" dt="2025-12-08T00:26:41.841" v="6329" actId="790"/>
          <ac:spMkLst>
            <pc:docMk/>
            <pc:sldMk cId="2876554888" sldId="1041"/>
            <ac:spMk id="3" creationId="{B0A9ED5C-3876-6B1C-5E9D-9096E032966A}"/>
          </ac:spMkLst>
        </pc:spChg>
        <pc:spChg chg="mod">
          <ac:chgData name="Falcão Lacerda, Rafael" userId="40181ff7-4694-4c53-a944-7b7d63582359" providerId="ADAL" clId="{3B4D5F63-EA56-4616-8A78-0C43AB7049E7}" dt="2025-12-08T00:26:41.841" v="6329" actId="790"/>
          <ac:spMkLst>
            <pc:docMk/>
            <pc:sldMk cId="2876554888" sldId="1041"/>
            <ac:spMk id="4" creationId="{07FF1DF9-7BD2-33E2-68C4-E46AA5C60C64}"/>
          </ac:spMkLst>
        </pc:spChg>
        <pc:spChg chg="add del mod modVis">
          <ac:chgData name="Falcão Lacerda, Rafael" userId="40181ff7-4694-4c53-a944-7b7d63582359" providerId="ADAL" clId="{3B4D5F63-EA56-4616-8A78-0C43AB7049E7}" dt="2025-12-08T00:25:01.965" v="2373"/>
          <ac:spMkLst>
            <pc:docMk/>
            <pc:sldMk cId="2876554888" sldId="1041"/>
            <ac:spMk id="5" creationId="{C7CA8E3A-60E1-DDB6-2F98-8140853DEE3F}"/>
          </ac:spMkLst>
        </pc:spChg>
        <pc:spChg chg="add del mod modVis">
          <ac:chgData name="Falcão Lacerda, Rafael" userId="40181ff7-4694-4c53-a944-7b7d63582359" providerId="ADAL" clId="{3B4D5F63-EA56-4616-8A78-0C43AB7049E7}" dt="2025-12-08T00:26:55.850" v="11323"/>
          <ac:spMkLst>
            <pc:docMk/>
            <pc:sldMk cId="2876554888" sldId="1041"/>
            <ac:spMk id="6" creationId="{BA46F21F-9BE3-37D8-D50F-AFA0139D36F1}"/>
          </ac:spMkLst>
        </pc:spChg>
        <pc:spChg chg="mod">
          <ac:chgData name="Falcão Lacerda, Rafael" userId="40181ff7-4694-4c53-a944-7b7d63582359" providerId="ADAL" clId="{3B4D5F63-EA56-4616-8A78-0C43AB7049E7}" dt="2025-12-08T00:26:48.353" v="9001" actId="948"/>
          <ac:spMkLst>
            <pc:docMk/>
            <pc:sldMk cId="2876554888" sldId="1041"/>
            <ac:spMk id="8" creationId="{E0B7E170-DA69-C325-E801-E8F3BD55859C}"/>
          </ac:spMkLst>
        </pc:spChg>
        <pc:graphicFrameChg chg="mod">
          <ac:chgData name="Falcão Lacerda, Rafael" userId="40181ff7-4694-4c53-a944-7b7d63582359" providerId="ADAL" clId="{3B4D5F63-EA56-4616-8A78-0C43AB7049E7}" dt="2025-12-08T00:26:55.850" v="11325"/>
          <ac:graphicFrameMkLst>
            <pc:docMk/>
            <pc:sldMk cId="2876554888" sldId="1041"/>
            <ac:graphicFrameMk id="2" creationId="{8745348E-7644-FC65-AF54-EEE32074BE5D}"/>
          </ac:graphicFrameMkLst>
        </pc:graphicFrameChg>
        <pc:picChg chg="add">
          <ac:chgData name="Falcão Lacerda, Rafael" userId="40181ff7-4694-4c53-a944-7b7d63582359" providerId="ADAL" clId="{3B4D5F63-EA56-4616-8A78-0C43AB7049E7}" dt="2025-12-08T16:45:02.698" v="32833"/>
          <ac:picMkLst>
            <pc:docMk/>
            <pc:sldMk cId="2876554888" sldId="1041"/>
            <ac:picMk id="7" creationId="{445CE465-F2EA-3EA9-C419-B4ED9E1E3B6F}"/>
          </ac:picMkLst>
        </pc:picChg>
        <pc:picChg chg="mod">
          <ac:chgData name="Falcão Lacerda, Rafael" userId="40181ff7-4694-4c53-a944-7b7d63582359" providerId="ADAL" clId="{3B4D5F63-EA56-4616-8A78-0C43AB7049E7}" dt="2025-12-08T16:45:08.173" v="32834" actId="14826"/>
          <ac:picMkLst>
            <pc:docMk/>
            <pc:sldMk cId="2876554888" sldId="1041"/>
            <ac:picMk id="13" creationId="{43F1A4F0-1441-053A-13BA-4C0BE0D5F5B6}"/>
          </ac:picMkLst>
        </pc:picChg>
      </pc:sldChg>
      <pc:sldChg chg="addSp delSp modSp add mod ord modNotes">
        <pc:chgData name="Falcão Lacerda, Rafael" userId="40181ff7-4694-4c53-a944-7b7d63582359" providerId="ADAL" clId="{3B4D5F63-EA56-4616-8A78-0C43AB7049E7}" dt="2025-12-08T01:42:24.800" v="14252"/>
        <pc:sldMkLst>
          <pc:docMk/>
          <pc:sldMk cId="3807164197" sldId="1042"/>
        </pc:sldMkLst>
        <pc:spChg chg="mod">
          <ac:chgData name="Falcão Lacerda, Rafael" userId="40181ff7-4694-4c53-a944-7b7d63582359" providerId="ADAL" clId="{3B4D5F63-EA56-4616-8A78-0C43AB7049E7}" dt="2025-12-08T00:26:41.841" v="6329" actId="790"/>
          <ac:spMkLst>
            <pc:docMk/>
            <pc:sldMk cId="3807164197" sldId="1042"/>
            <ac:spMk id="3" creationId="{3682DEBC-96C2-02DA-1D41-03421F127F04}"/>
          </ac:spMkLst>
        </pc:spChg>
        <pc:spChg chg="mod">
          <ac:chgData name="Falcão Lacerda, Rafael" userId="40181ff7-4694-4c53-a944-7b7d63582359" providerId="ADAL" clId="{3B4D5F63-EA56-4616-8A78-0C43AB7049E7}" dt="2025-12-08T00:26:41.841" v="6329" actId="790"/>
          <ac:spMkLst>
            <pc:docMk/>
            <pc:sldMk cId="3807164197" sldId="1042"/>
            <ac:spMk id="4" creationId="{FBDD6CD1-FFE4-139C-2670-26CB12F4BC78}"/>
          </ac:spMkLst>
        </pc:spChg>
        <pc:spChg chg="add del mod modVis">
          <ac:chgData name="Falcão Lacerda, Rafael" userId="40181ff7-4694-4c53-a944-7b7d63582359" providerId="ADAL" clId="{3B4D5F63-EA56-4616-8A78-0C43AB7049E7}" dt="2025-12-08T00:24:45.280" v="2322"/>
          <ac:spMkLst>
            <pc:docMk/>
            <pc:sldMk cId="3807164197" sldId="1042"/>
            <ac:spMk id="5" creationId="{150315F0-0DDD-1AEE-2456-0077FF62AEC3}"/>
          </ac:spMkLst>
        </pc:spChg>
        <pc:spChg chg="add del mod modVis">
          <ac:chgData name="Falcão Lacerda, Rafael" userId="40181ff7-4694-4c53-a944-7b7d63582359" providerId="ADAL" clId="{3B4D5F63-EA56-4616-8A78-0C43AB7049E7}" dt="2025-12-08T00:26:55.855" v="11327"/>
          <ac:spMkLst>
            <pc:docMk/>
            <pc:sldMk cId="3807164197" sldId="1042"/>
            <ac:spMk id="6" creationId="{044BDC99-A334-16BA-6608-8C498CC30690}"/>
          </ac:spMkLst>
        </pc:spChg>
        <pc:spChg chg="mod">
          <ac:chgData name="Falcão Lacerda, Rafael" userId="40181ff7-4694-4c53-a944-7b7d63582359" providerId="ADAL" clId="{3B4D5F63-EA56-4616-8A78-0C43AB7049E7}" dt="2025-12-08T00:26:48.395" v="9021" actId="948"/>
          <ac:spMkLst>
            <pc:docMk/>
            <pc:sldMk cId="3807164197" sldId="1042"/>
            <ac:spMk id="8" creationId="{E88FEF35-3A0B-299B-7A46-98877F667830}"/>
          </ac:spMkLst>
        </pc:spChg>
        <pc:graphicFrameChg chg="mod">
          <ac:chgData name="Falcão Lacerda, Rafael" userId="40181ff7-4694-4c53-a944-7b7d63582359" providerId="ADAL" clId="{3B4D5F63-EA56-4616-8A78-0C43AB7049E7}" dt="2025-12-08T00:26:55.855" v="11329"/>
          <ac:graphicFrameMkLst>
            <pc:docMk/>
            <pc:sldMk cId="3807164197" sldId="1042"/>
            <ac:graphicFrameMk id="2" creationId="{F2C6C45D-11FE-4B0C-C38C-73063A720A3C}"/>
          </ac:graphicFrameMkLst>
        </pc:graphicFrameChg>
      </pc:sldChg>
      <pc:sldChg chg="modSp add mod modNotes">
        <pc:chgData name="Falcão Lacerda, Rafael" userId="40181ff7-4694-4c53-a944-7b7d63582359" providerId="ADAL" clId="{3B4D5F63-EA56-4616-8A78-0C43AB7049E7}" dt="2025-12-08T16:49:38.472" v="33554" actId="14826"/>
        <pc:sldMkLst>
          <pc:docMk/>
          <pc:sldMk cId="3491460368" sldId="1043"/>
        </pc:sldMkLst>
        <pc:spChg chg="mod">
          <ac:chgData name="Falcão Lacerda, Rafael" userId="40181ff7-4694-4c53-a944-7b7d63582359" providerId="ADAL" clId="{3B4D5F63-EA56-4616-8A78-0C43AB7049E7}" dt="2025-12-08T00:26:41.841" v="6329" actId="790"/>
          <ac:spMkLst>
            <pc:docMk/>
            <pc:sldMk cId="3491460368" sldId="1043"/>
            <ac:spMk id="3" creationId="{347A8B0C-BD8E-4E80-B5B8-D3979CA0CF31}"/>
          </ac:spMkLst>
        </pc:spChg>
        <pc:spChg chg="mod">
          <ac:chgData name="Falcão Lacerda, Rafael" userId="40181ff7-4694-4c53-a944-7b7d63582359" providerId="ADAL" clId="{3B4D5F63-EA56-4616-8A78-0C43AB7049E7}" dt="2025-12-08T00:26:41.841" v="6329" actId="790"/>
          <ac:spMkLst>
            <pc:docMk/>
            <pc:sldMk cId="3491460368" sldId="1043"/>
            <ac:spMk id="4" creationId="{20C4260D-8B69-D126-0558-66E38896715F}"/>
          </ac:spMkLst>
        </pc:spChg>
        <pc:spChg chg="mod">
          <ac:chgData name="Falcão Lacerda, Rafael" userId="40181ff7-4694-4c53-a944-7b7d63582359" providerId="ADAL" clId="{3B4D5F63-EA56-4616-8A78-0C43AB7049E7}" dt="2025-12-08T00:26:42.197" v="6330" actId="948"/>
          <ac:spMkLst>
            <pc:docMk/>
            <pc:sldMk cId="3491460368" sldId="1043"/>
            <ac:spMk id="8" creationId="{2C9EA956-97A5-916B-6BE0-016CFCC7DBDE}"/>
          </ac:spMkLst>
        </pc:spChg>
        <pc:graphicFrameChg chg="mod">
          <ac:chgData name="Falcão Lacerda, Rafael" userId="40181ff7-4694-4c53-a944-7b7d63582359" providerId="ADAL" clId="{3B4D5F63-EA56-4616-8A78-0C43AB7049E7}" dt="2025-12-08T00:26:48.492" v="9065"/>
          <ac:graphicFrameMkLst>
            <pc:docMk/>
            <pc:sldMk cId="3491460368" sldId="1043"/>
            <ac:graphicFrameMk id="2" creationId="{31BFE674-0879-45A7-2783-8CDC96078A34}"/>
          </ac:graphicFrameMkLst>
        </pc:graphicFrameChg>
        <pc:picChg chg="mod">
          <ac:chgData name="Falcão Lacerda, Rafael" userId="40181ff7-4694-4c53-a944-7b7d63582359" providerId="ADAL" clId="{3B4D5F63-EA56-4616-8A78-0C43AB7049E7}" dt="2025-12-08T16:49:38.472" v="33554" actId="14826"/>
          <ac:picMkLst>
            <pc:docMk/>
            <pc:sldMk cId="3491460368" sldId="1043"/>
            <ac:picMk id="13" creationId="{7267349D-7C46-965F-8567-CAF49C7E9CDF}"/>
          </ac:picMkLst>
        </pc:picChg>
      </pc:sldChg>
      <pc:sldChg chg="modSp add mod modNotes">
        <pc:chgData name="Falcão Lacerda, Rafael" userId="40181ff7-4694-4c53-a944-7b7d63582359" providerId="ADAL" clId="{3B4D5F63-EA56-4616-8A78-0C43AB7049E7}" dt="2025-12-08T00:26:55.887" v="11339"/>
        <pc:sldMkLst>
          <pc:docMk/>
          <pc:sldMk cId="318689605" sldId="1044"/>
        </pc:sldMkLst>
        <pc:spChg chg="mod">
          <ac:chgData name="Falcão Lacerda, Rafael" userId="40181ff7-4694-4c53-a944-7b7d63582359" providerId="ADAL" clId="{3B4D5F63-EA56-4616-8A78-0C43AB7049E7}" dt="2025-12-08T00:26:41.841" v="6329" actId="790"/>
          <ac:spMkLst>
            <pc:docMk/>
            <pc:sldMk cId="318689605" sldId="1044"/>
            <ac:spMk id="3" creationId="{BF3FA48F-762C-FE1D-F1FC-0B17D6FE71D5}"/>
          </ac:spMkLst>
        </pc:spChg>
        <pc:spChg chg="mod">
          <ac:chgData name="Falcão Lacerda, Rafael" userId="40181ff7-4694-4c53-a944-7b7d63582359" providerId="ADAL" clId="{3B4D5F63-EA56-4616-8A78-0C43AB7049E7}" dt="2025-12-08T00:26:41.841" v="6329" actId="790"/>
          <ac:spMkLst>
            <pc:docMk/>
            <pc:sldMk cId="318689605" sldId="1044"/>
            <ac:spMk id="4" creationId="{F057349C-A25F-088A-D9AD-35878A842480}"/>
          </ac:spMkLst>
        </pc:spChg>
        <pc:spChg chg="mod">
          <ac:chgData name="Falcão Lacerda, Rafael" userId="40181ff7-4694-4c53-a944-7b7d63582359" providerId="ADAL" clId="{3B4D5F63-EA56-4616-8A78-0C43AB7049E7}" dt="2025-12-08T00:26:48.483" v="9063" actId="948"/>
          <ac:spMkLst>
            <pc:docMk/>
            <pc:sldMk cId="318689605" sldId="1044"/>
            <ac:spMk id="8" creationId="{FE85554B-92E0-03D1-7E7E-26FAB9AC21E2}"/>
          </ac:spMkLst>
        </pc:spChg>
        <pc:graphicFrameChg chg="mod">
          <ac:chgData name="Falcão Lacerda, Rafael" userId="40181ff7-4694-4c53-a944-7b7d63582359" providerId="ADAL" clId="{3B4D5F63-EA56-4616-8A78-0C43AB7049E7}" dt="2025-12-08T00:26:55.887" v="11339"/>
          <ac:graphicFrameMkLst>
            <pc:docMk/>
            <pc:sldMk cId="318689605" sldId="1044"/>
            <ac:graphicFrameMk id="2" creationId="{9E2DFC1C-A548-8B34-6931-CCA4F208796C}"/>
          </ac:graphicFrameMkLst>
        </pc:graphicFrameChg>
      </pc:sldChg>
      <pc:sldChg chg="modSp add del mod modNotes">
        <pc:chgData name="Falcão Lacerda, Rafael" userId="40181ff7-4694-4c53-a944-7b7d63582359" providerId="ADAL" clId="{3B4D5F63-EA56-4616-8A78-0C43AB7049E7}" dt="2025-12-08T13:04:56.962" v="30138" actId="47"/>
        <pc:sldMkLst>
          <pc:docMk/>
          <pc:sldMk cId="3669128098" sldId="1045"/>
        </pc:sldMkLst>
        <pc:spChg chg="mod">
          <ac:chgData name="Falcão Lacerda, Rafael" userId="40181ff7-4694-4c53-a944-7b7d63582359" providerId="ADAL" clId="{3B4D5F63-EA56-4616-8A78-0C43AB7049E7}" dt="2025-12-08T00:26:41.841" v="6329" actId="790"/>
          <ac:spMkLst>
            <pc:docMk/>
            <pc:sldMk cId="3669128098" sldId="1045"/>
            <ac:spMk id="3" creationId="{D5418F00-C808-E317-11EE-1EA6ED487D9F}"/>
          </ac:spMkLst>
        </pc:spChg>
        <pc:spChg chg="mod">
          <ac:chgData name="Falcão Lacerda, Rafael" userId="40181ff7-4694-4c53-a944-7b7d63582359" providerId="ADAL" clId="{3B4D5F63-EA56-4616-8A78-0C43AB7049E7}" dt="2025-12-08T00:27:14.767" v="11389" actId="20577"/>
          <ac:spMkLst>
            <pc:docMk/>
            <pc:sldMk cId="3669128098" sldId="1045"/>
            <ac:spMk id="4" creationId="{365A3FB9-1BFA-6C13-A931-891DBE03DEC3}"/>
          </ac:spMkLst>
        </pc:spChg>
        <pc:spChg chg="mod">
          <ac:chgData name="Falcão Lacerda, Rafael" userId="40181ff7-4694-4c53-a944-7b7d63582359" providerId="ADAL" clId="{3B4D5F63-EA56-4616-8A78-0C43AB7049E7}" dt="2025-12-08T00:26:48.430" v="9041" actId="948"/>
          <ac:spMkLst>
            <pc:docMk/>
            <pc:sldMk cId="3669128098" sldId="1045"/>
            <ac:spMk id="8" creationId="{5A572762-2F67-644A-55FC-25D2C27C6209}"/>
          </ac:spMkLst>
        </pc:spChg>
        <pc:graphicFrameChg chg="mod">
          <ac:chgData name="Falcão Lacerda, Rafael" userId="40181ff7-4694-4c53-a944-7b7d63582359" providerId="ADAL" clId="{3B4D5F63-EA56-4616-8A78-0C43AB7049E7}" dt="2025-12-08T00:26:55.855" v="11331"/>
          <ac:graphicFrameMkLst>
            <pc:docMk/>
            <pc:sldMk cId="3669128098" sldId="1045"/>
            <ac:graphicFrameMk id="2" creationId="{7CC90482-D8EF-8B45-A536-BE44D7179840}"/>
          </ac:graphicFrameMkLst>
        </pc:graphicFrameChg>
      </pc:sldChg>
      <pc:sldChg chg="modSp add mod modNotes">
        <pc:chgData name="Falcão Lacerda, Rafael" userId="40181ff7-4694-4c53-a944-7b7d63582359" providerId="ADAL" clId="{3B4D5F63-EA56-4616-8A78-0C43AB7049E7}" dt="2025-12-08T16:49:47.568" v="33555" actId="14826"/>
        <pc:sldMkLst>
          <pc:docMk/>
          <pc:sldMk cId="316646706" sldId="1046"/>
        </pc:sldMkLst>
        <pc:spChg chg="mod">
          <ac:chgData name="Falcão Lacerda, Rafael" userId="40181ff7-4694-4c53-a944-7b7d63582359" providerId="ADAL" clId="{3B4D5F63-EA56-4616-8A78-0C43AB7049E7}" dt="2025-12-08T13:05:04.475" v="30140" actId="20577"/>
          <ac:spMkLst>
            <pc:docMk/>
            <pc:sldMk cId="316646706" sldId="1046"/>
            <ac:spMk id="3" creationId="{5799E01C-7B3C-B8D3-8421-A2B81AC7DCC4}"/>
          </ac:spMkLst>
        </pc:spChg>
        <pc:spChg chg="mod">
          <ac:chgData name="Falcão Lacerda, Rafael" userId="40181ff7-4694-4c53-a944-7b7d63582359" providerId="ADAL" clId="{3B4D5F63-EA56-4616-8A78-0C43AB7049E7}" dt="2025-12-08T00:27:31.259" v="11428" actId="20577"/>
          <ac:spMkLst>
            <pc:docMk/>
            <pc:sldMk cId="316646706" sldId="1046"/>
            <ac:spMk id="4" creationId="{11E9FB9D-A7B9-27B1-3357-371532F446C7}"/>
          </ac:spMkLst>
        </pc:spChg>
        <pc:spChg chg="mod">
          <ac:chgData name="Falcão Lacerda, Rafael" userId="40181ff7-4694-4c53-a944-7b7d63582359" providerId="ADAL" clId="{3B4D5F63-EA56-4616-8A78-0C43AB7049E7}" dt="2025-12-08T00:26:48.435" v="9042" actId="948"/>
          <ac:spMkLst>
            <pc:docMk/>
            <pc:sldMk cId="316646706" sldId="1046"/>
            <ac:spMk id="8" creationId="{62C58283-7627-AB27-8911-9F3196C8453B}"/>
          </ac:spMkLst>
        </pc:spChg>
        <pc:graphicFrameChg chg="mod">
          <ac:chgData name="Falcão Lacerda, Rafael" userId="40181ff7-4694-4c53-a944-7b7d63582359" providerId="ADAL" clId="{3B4D5F63-EA56-4616-8A78-0C43AB7049E7}" dt="2025-12-08T00:26:55.855" v="11333"/>
          <ac:graphicFrameMkLst>
            <pc:docMk/>
            <pc:sldMk cId="316646706" sldId="1046"/>
            <ac:graphicFrameMk id="2" creationId="{25A1437F-2022-22D6-727A-06A1FAF125C9}"/>
          </ac:graphicFrameMkLst>
        </pc:graphicFrameChg>
        <pc:picChg chg="mod">
          <ac:chgData name="Falcão Lacerda, Rafael" userId="40181ff7-4694-4c53-a944-7b7d63582359" providerId="ADAL" clId="{3B4D5F63-EA56-4616-8A78-0C43AB7049E7}" dt="2025-12-08T16:49:47.568" v="33555" actId="14826"/>
          <ac:picMkLst>
            <pc:docMk/>
            <pc:sldMk cId="316646706" sldId="1046"/>
            <ac:picMk id="13" creationId="{F9A02025-77AC-651F-F68B-F495AB8D6B55}"/>
          </ac:picMkLst>
        </pc:picChg>
      </pc:sldChg>
      <pc:sldChg chg="addSp delSp modSp add mod">
        <pc:chgData name="Falcão Lacerda, Rafael" userId="40181ff7-4694-4c53-a944-7b7d63582359" providerId="ADAL" clId="{3B4D5F63-EA56-4616-8A78-0C43AB7049E7}" dt="2025-12-08T17:10:14.311" v="33613" actId="207"/>
        <pc:sldMkLst>
          <pc:docMk/>
          <pc:sldMk cId="3051249235" sldId="1047"/>
        </pc:sldMkLst>
        <pc:spChg chg="mod">
          <ac:chgData name="Falcão Lacerda, Rafael" userId="40181ff7-4694-4c53-a944-7b7d63582359" providerId="ADAL" clId="{3B4D5F63-EA56-4616-8A78-0C43AB7049E7}" dt="2025-12-08T17:10:14.311" v="33613" actId="207"/>
          <ac:spMkLst>
            <pc:docMk/>
            <pc:sldMk cId="3051249235" sldId="1047"/>
            <ac:spMk id="2" creationId="{6801C8AC-BE3F-B09C-4D94-0014633F40D7}"/>
          </ac:spMkLst>
        </pc:spChg>
        <pc:spChg chg="del mod">
          <ac:chgData name="Falcão Lacerda, Rafael" userId="40181ff7-4694-4c53-a944-7b7d63582359" providerId="ADAL" clId="{3B4D5F63-EA56-4616-8A78-0C43AB7049E7}" dt="2025-12-08T01:08:02.568" v="12709" actId="478"/>
          <ac:spMkLst>
            <pc:docMk/>
            <pc:sldMk cId="3051249235" sldId="1047"/>
            <ac:spMk id="4" creationId="{BB6F51D1-4DD7-CCE3-F418-02333AAF9FFA}"/>
          </ac:spMkLst>
        </pc:spChg>
        <pc:spChg chg="del">
          <ac:chgData name="Falcão Lacerda, Rafael" userId="40181ff7-4694-4c53-a944-7b7d63582359" providerId="ADAL" clId="{3B4D5F63-EA56-4616-8A78-0C43AB7049E7}" dt="2025-12-08T01:00:16.455" v="12317" actId="478"/>
          <ac:spMkLst>
            <pc:docMk/>
            <pc:sldMk cId="3051249235" sldId="1047"/>
            <ac:spMk id="5" creationId="{67AB981D-C6CE-1D47-097A-A9E362D897CE}"/>
          </ac:spMkLst>
        </pc:spChg>
        <pc:spChg chg="add del mod modVis">
          <ac:chgData name="Falcão Lacerda, Rafael" userId="40181ff7-4694-4c53-a944-7b7d63582359" providerId="ADAL" clId="{3B4D5F63-EA56-4616-8A78-0C43AB7049E7}" dt="2025-12-08T00:43:58.870" v="11913"/>
          <ac:spMkLst>
            <pc:docMk/>
            <pc:sldMk cId="3051249235" sldId="1047"/>
            <ac:spMk id="6" creationId="{DCC636C4-67BA-5239-76FC-CE7FE6812837}"/>
          </ac:spMkLst>
        </pc:spChg>
        <pc:spChg chg="del mod">
          <ac:chgData name="Falcão Lacerda, Rafael" userId="40181ff7-4694-4c53-a944-7b7d63582359" providerId="ADAL" clId="{3B4D5F63-EA56-4616-8A78-0C43AB7049E7}" dt="2025-12-08T01:11:26.248" v="12836" actId="478"/>
          <ac:spMkLst>
            <pc:docMk/>
            <pc:sldMk cId="3051249235" sldId="1047"/>
            <ac:spMk id="7" creationId="{89BE4D3A-F86F-22AD-08AC-618786CD300D}"/>
          </ac:spMkLst>
        </pc:spChg>
        <pc:spChg chg="del mod">
          <ac:chgData name="Falcão Lacerda, Rafael" userId="40181ff7-4694-4c53-a944-7b7d63582359" providerId="ADAL" clId="{3B4D5F63-EA56-4616-8A78-0C43AB7049E7}" dt="2025-12-08T01:09:28.062" v="12801" actId="478"/>
          <ac:spMkLst>
            <pc:docMk/>
            <pc:sldMk cId="3051249235" sldId="1047"/>
            <ac:spMk id="8" creationId="{5401A58C-2E51-694C-08AA-B5EEF9B16494}"/>
          </ac:spMkLst>
        </pc:spChg>
        <pc:spChg chg="del mod">
          <ac:chgData name="Falcão Lacerda, Rafael" userId="40181ff7-4694-4c53-a944-7b7d63582359" providerId="ADAL" clId="{3B4D5F63-EA56-4616-8A78-0C43AB7049E7}" dt="2025-12-08T01:00:16.455" v="12317" actId="478"/>
          <ac:spMkLst>
            <pc:docMk/>
            <pc:sldMk cId="3051249235" sldId="1047"/>
            <ac:spMk id="9" creationId="{9DAA7C1B-AD6B-EAAB-B07D-0C3D357D71BD}"/>
          </ac:spMkLst>
        </pc:spChg>
        <pc:spChg chg="del">
          <ac:chgData name="Falcão Lacerda, Rafael" userId="40181ff7-4694-4c53-a944-7b7d63582359" providerId="ADAL" clId="{3B4D5F63-EA56-4616-8A78-0C43AB7049E7}" dt="2025-12-08T01:00:16.455" v="12317" actId="478"/>
          <ac:spMkLst>
            <pc:docMk/>
            <pc:sldMk cId="3051249235" sldId="1047"/>
            <ac:spMk id="10" creationId="{FC4C90BA-A9F3-5111-4E9A-F7D50C067CB1}"/>
          </ac:spMkLst>
        </pc:spChg>
        <pc:spChg chg="del mod">
          <ac:chgData name="Falcão Lacerda, Rafael" userId="40181ff7-4694-4c53-a944-7b7d63582359" providerId="ADAL" clId="{3B4D5F63-EA56-4616-8A78-0C43AB7049E7}" dt="2025-12-08T01:00:16.455" v="12317" actId="478"/>
          <ac:spMkLst>
            <pc:docMk/>
            <pc:sldMk cId="3051249235" sldId="1047"/>
            <ac:spMk id="11" creationId="{A5A7A226-B982-AC49-CFD0-DB93D34F22B5}"/>
          </ac:spMkLst>
        </pc:spChg>
        <pc:spChg chg="del">
          <ac:chgData name="Falcão Lacerda, Rafael" userId="40181ff7-4694-4c53-a944-7b7d63582359" providerId="ADAL" clId="{3B4D5F63-EA56-4616-8A78-0C43AB7049E7}" dt="2025-12-08T01:00:16.455" v="12317" actId="478"/>
          <ac:spMkLst>
            <pc:docMk/>
            <pc:sldMk cId="3051249235" sldId="1047"/>
            <ac:spMk id="13" creationId="{91C441A5-5886-E164-7D8E-260319956C0D}"/>
          </ac:spMkLst>
        </pc:spChg>
        <pc:spChg chg="mod">
          <ac:chgData name="Falcão Lacerda, Rafael" userId="40181ff7-4694-4c53-a944-7b7d63582359" providerId="ADAL" clId="{3B4D5F63-EA56-4616-8A78-0C43AB7049E7}" dt="2025-12-08T00:58:07.984" v="12289" actId="20577"/>
          <ac:spMkLst>
            <pc:docMk/>
            <pc:sldMk cId="3051249235" sldId="1047"/>
            <ac:spMk id="14" creationId="{0541564D-FD20-B929-FB3E-C933B432065A}"/>
          </ac:spMkLst>
        </pc:spChg>
        <pc:spChg chg="del">
          <ac:chgData name="Falcão Lacerda, Rafael" userId="40181ff7-4694-4c53-a944-7b7d63582359" providerId="ADAL" clId="{3B4D5F63-EA56-4616-8A78-0C43AB7049E7}" dt="2025-12-08T01:00:18.410" v="12318" actId="478"/>
          <ac:spMkLst>
            <pc:docMk/>
            <pc:sldMk cId="3051249235" sldId="1047"/>
            <ac:spMk id="18" creationId="{CDD1D1B1-C538-6D02-EC35-0518DAC06C7E}"/>
          </ac:spMkLst>
        </pc:spChg>
        <pc:spChg chg="del">
          <ac:chgData name="Falcão Lacerda, Rafael" userId="40181ff7-4694-4c53-a944-7b7d63582359" providerId="ADAL" clId="{3B4D5F63-EA56-4616-8A78-0C43AB7049E7}" dt="2025-12-08T01:00:19.296" v="12319" actId="478"/>
          <ac:spMkLst>
            <pc:docMk/>
            <pc:sldMk cId="3051249235" sldId="1047"/>
            <ac:spMk id="20" creationId="{9FB7321E-2AE5-0398-43EF-0A74014CA0F0}"/>
          </ac:spMkLst>
        </pc:spChg>
        <pc:spChg chg="add del mod">
          <ac:chgData name="Falcão Lacerda, Rafael" userId="40181ff7-4694-4c53-a944-7b7d63582359" providerId="ADAL" clId="{3B4D5F63-EA56-4616-8A78-0C43AB7049E7}" dt="2025-12-08T01:00:20.295" v="12320" actId="478"/>
          <ac:spMkLst>
            <pc:docMk/>
            <pc:sldMk cId="3051249235" sldId="1047"/>
            <ac:spMk id="22" creationId="{F8B940B6-4FCC-9941-01F7-2E51671B3134}"/>
          </ac:spMkLst>
        </pc:spChg>
        <pc:spChg chg="add del mod">
          <ac:chgData name="Falcão Lacerda, Rafael" userId="40181ff7-4694-4c53-a944-7b7d63582359" providerId="ADAL" clId="{3B4D5F63-EA56-4616-8A78-0C43AB7049E7}" dt="2025-12-08T01:00:24.577" v="12323" actId="478"/>
          <ac:spMkLst>
            <pc:docMk/>
            <pc:sldMk cId="3051249235" sldId="1047"/>
            <ac:spMk id="24" creationId="{AF516AF2-9B26-64DE-8028-3616850417D5}"/>
          </ac:spMkLst>
        </pc:spChg>
        <pc:spChg chg="add del mod">
          <ac:chgData name="Falcão Lacerda, Rafael" userId="40181ff7-4694-4c53-a944-7b7d63582359" providerId="ADAL" clId="{3B4D5F63-EA56-4616-8A78-0C43AB7049E7}" dt="2025-12-08T01:00:22.643" v="12321" actId="478"/>
          <ac:spMkLst>
            <pc:docMk/>
            <pc:sldMk cId="3051249235" sldId="1047"/>
            <ac:spMk id="26" creationId="{273EDA20-9672-D31A-CE7F-F639B9231420}"/>
          </ac:spMkLst>
        </pc:spChg>
        <pc:spChg chg="del">
          <ac:chgData name="Falcão Lacerda, Rafael" userId="40181ff7-4694-4c53-a944-7b7d63582359" providerId="ADAL" clId="{3B4D5F63-EA56-4616-8A78-0C43AB7049E7}" dt="2025-12-08T01:00:23.438" v="12322" actId="478"/>
          <ac:spMkLst>
            <pc:docMk/>
            <pc:sldMk cId="3051249235" sldId="1047"/>
            <ac:spMk id="28" creationId="{88894731-03EA-95F3-DA76-C960803D9925}"/>
          </ac:spMkLst>
        </pc:spChg>
        <pc:spChg chg="mod">
          <ac:chgData name="Falcão Lacerda, Rafael" userId="40181ff7-4694-4c53-a944-7b7d63582359" providerId="ADAL" clId="{3B4D5F63-EA56-4616-8A78-0C43AB7049E7}" dt="2025-12-08T00:43:58.822" v="11892" actId="948"/>
          <ac:spMkLst>
            <pc:docMk/>
            <pc:sldMk cId="3051249235" sldId="1047"/>
            <ac:spMk id="29" creationId="{7C592E18-323C-0321-7ABA-06D5516B5AD9}"/>
          </ac:spMkLst>
        </pc:spChg>
        <pc:spChg chg="del">
          <ac:chgData name="Falcão Lacerda, Rafael" userId="40181ff7-4694-4c53-a944-7b7d63582359" providerId="ADAL" clId="{3B4D5F63-EA56-4616-8A78-0C43AB7049E7}" dt="2025-12-08T01:00:26.060" v="12324" actId="478"/>
          <ac:spMkLst>
            <pc:docMk/>
            <pc:sldMk cId="3051249235" sldId="1047"/>
            <ac:spMk id="31" creationId="{8C697E76-3E99-04BB-6A12-FB4CEF666E69}"/>
          </ac:spMkLst>
        </pc:spChg>
        <pc:spChg chg="add del mod">
          <ac:chgData name="Falcão Lacerda, Rafael" userId="40181ff7-4694-4c53-a944-7b7d63582359" providerId="ADAL" clId="{3B4D5F63-EA56-4616-8A78-0C43AB7049E7}" dt="2025-12-08T01:00:27.965" v="12325" actId="478"/>
          <ac:spMkLst>
            <pc:docMk/>
            <pc:sldMk cId="3051249235" sldId="1047"/>
            <ac:spMk id="33" creationId="{55A5EA15-4F3D-D347-DAC7-DBEB33619C0D}"/>
          </ac:spMkLst>
        </pc:spChg>
        <pc:spChg chg="add del mod">
          <ac:chgData name="Falcão Lacerda, Rafael" userId="40181ff7-4694-4c53-a944-7b7d63582359" providerId="ADAL" clId="{3B4D5F63-EA56-4616-8A78-0C43AB7049E7}" dt="2025-12-08T01:00:28.962" v="12326" actId="478"/>
          <ac:spMkLst>
            <pc:docMk/>
            <pc:sldMk cId="3051249235" sldId="1047"/>
            <ac:spMk id="35" creationId="{84D9DB2E-4119-A8BF-0BE4-8E6865FAF1EE}"/>
          </ac:spMkLst>
        </pc:spChg>
        <pc:spChg chg="add del mod">
          <ac:chgData name="Falcão Lacerda, Rafael" userId="40181ff7-4694-4c53-a944-7b7d63582359" providerId="ADAL" clId="{3B4D5F63-EA56-4616-8A78-0C43AB7049E7}" dt="2025-12-08T01:08:12.310" v="12712" actId="478"/>
          <ac:spMkLst>
            <pc:docMk/>
            <pc:sldMk cId="3051249235" sldId="1047"/>
            <ac:spMk id="36" creationId="{09CEDEDC-34E8-BBD7-E582-A11ECEC8C2AF}"/>
          </ac:spMkLst>
        </pc:spChg>
        <pc:spChg chg="add del mod">
          <ac:chgData name="Falcão Lacerda, Rafael" userId="40181ff7-4694-4c53-a944-7b7d63582359" providerId="ADAL" clId="{3B4D5F63-EA56-4616-8A78-0C43AB7049E7}" dt="2025-12-08T01:08:12.310" v="12712" actId="478"/>
          <ac:spMkLst>
            <pc:docMk/>
            <pc:sldMk cId="3051249235" sldId="1047"/>
            <ac:spMk id="37" creationId="{B55923AB-1D7D-4A2D-8BB5-4332B2353B63}"/>
          </ac:spMkLst>
        </pc:spChg>
        <pc:spChg chg="add del mod">
          <ac:chgData name="Falcão Lacerda, Rafael" userId="40181ff7-4694-4c53-a944-7b7d63582359" providerId="ADAL" clId="{3B4D5F63-EA56-4616-8A78-0C43AB7049E7}" dt="2025-12-08T01:08:12.310" v="12712" actId="478"/>
          <ac:spMkLst>
            <pc:docMk/>
            <pc:sldMk cId="3051249235" sldId="1047"/>
            <ac:spMk id="38" creationId="{88DF44BD-37E4-E0E3-BA58-5ECFE19D36D8}"/>
          </ac:spMkLst>
        </pc:spChg>
        <pc:spChg chg="add mod topLvl">
          <ac:chgData name="Falcão Lacerda, Rafael" userId="40181ff7-4694-4c53-a944-7b7d63582359" providerId="ADAL" clId="{3B4D5F63-EA56-4616-8A78-0C43AB7049E7}" dt="2025-12-08T01:28:26.257" v="13945" actId="164"/>
          <ac:spMkLst>
            <pc:docMk/>
            <pc:sldMk cId="3051249235" sldId="1047"/>
            <ac:spMk id="39" creationId="{2CEEDCFB-2AE7-82FD-280C-A21B03212025}"/>
          </ac:spMkLst>
        </pc:spChg>
        <pc:spChg chg="add del mod">
          <ac:chgData name="Falcão Lacerda, Rafael" userId="40181ff7-4694-4c53-a944-7b7d63582359" providerId="ADAL" clId="{3B4D5F63-EA56-4616-8A78-0C43AB7049E7}" dt="2025-12-08T01:08:05.881" v="12710" actId="478"/>
          <ac:spMkLst>
            <pc:docMk/>
            <pc:sldMk cId="3051249235" sldId="1047"/>
            <ac:spMk id="41" creationId="{11CEA1FB-E614-1E1F-FCB4-9C1E83451996}"/>
          </ac:spMkLst>
        </pc:spChg>
        <pc:spChg chg="add mod topLvl">
          <ac:chgData name="Falcão Lacerda, Rafael" userId="40181ff7-4694-4c53-a944-7b7d63582359" providerId="ADAL" clId="{3B4D5F63-EA56-4616-8A78-0C43AB7049E7}" dt="2025-12-08T01:28:26.257" v="13945" actId="164"/>
          <ac:spMkLst>
            <pc:docMk/>
            <pc:sldMk cId="3051249235" sldId="1047"/>
            <ac:spMk id="42" creationId="{37985C8C-0935-87E6-6EA8-C6629636EF5B}"/>
          </ac:spMkLst>
        </pc:spChg>
        <pc:spChg chg="add del mod">
          <ac:chgData name="Falcão Lacerda, Rafael" userId="40181ff7-4694-4c53-a944-7b7d63582359" providerId="ADAL" clId="{3B4D5F63-EA56-4616-8A78-0C43AB7049E7}" dt="2025-12-08T01:09:30.056" v="12802" actId="478"/>
          <ac:spMkLst>
            <pc:docMk/>
            <pc:sldMk cId="3051249235" sldId="1047"/>
            <ac:spMk id="44" creationId="{27146CEB-7269-D26F-D9E0-7941B0F0F2AC}"/>
          </ac:spMkLst>
        </pc:spChg>
        <pc:spChg chg="add mod topLvl">
          <ac:chgData name="Falcão Lacerda, Rafael" userId="40181ff7-4694-4c53-a944-7b7d63582359" providerId="ADAL" clId="{3B4D5F63-EA56-4616-8A78-0C43AB7049E7}" dt="2025-12-08T01:28:26.257" v="13945" actId="164"/>
          <ac:spMkLst>
            <pc:docMk/>
            <pc:sldMk cId="3051249235" sldId="1047"/>
            <ac:spMk id="45" creationId="{A3144EC2-1954-ADC1-3B23-98035C6F4CDA}"/>
          </ac:spMkLst>
        </pc:spChg>
        <pc:spChg chg="add del mod">
          <ac:chgData name="Falcão Lacerda, Rafael" userId="40181ff7-4694-4c53-a944-7b7d63582359" providerId="ADAL" clId="{3B4D5F63-EA56-4616-8A78-0C43AB7049E7}" dt="2025-12-08T01:11:29.014" v="12837" actId="478"/>
          <ac:spMkLst>
            <pc:docMk/>
            <pc:sldMk cId="3051249235" sldId="1047"/>
            <ac:spMk id="48" creationId="{12603B0F-D4F9-0C03-4C60-680F6533E863}"/>
          </ac:spMkLst>
        </pc:spChg>
        <pc:spChg chg="mod">
          <ac:chgData name="Falcão Lacerda, Rafael" userId="40181ff7-4694-4c53-a944-7b7d63582359" providerId="ADAL" clId="{3B4D5F63-EA56-4616-8A78-0C43AB7049E7}" dt="2025-12-08T01:11:57.028" v="12844"/>
          <ac:spMkLst>
            <pc:docMk/>
            <pc:sldMk cId="3051249235" sldId="1047"/>
            <ac:spMk id="51" creationId="{816324FB-2590-EA7D-4230-66C42B5CD493}"/>
          </ac:spMkLst>
        </pc:spChg>
        <pc:spChg chg="mod">
          <ac:chgData name="Falcão Lacerda, Rafael" userId="40181ff7-4694-4c53-a944-7b7d63582359" providerId="ADAL" clId="{3B4D5F63-EA56-4616-8A78-0C43AB7049E7}" dt="2025-12-08T01:11:57.028" v="12844"/>
          <ac:spMkLst>
            <pc:docMk/>
            <pc:sldMk cId="3051249235" sldId="1047"/>
            <ac:spMk id="52" creationId="{A5A47249-8835-B3D5-768F-2E5BC6141219}"/>
          </ac:spMkLst>
        </pc:spChg>
        <pc:spChg chg="mod">
          <ac:chgData name="Falcão Lacerda, Rafael" userId="40181ff7-4694-4c53-a944-7b7d63582359" providerId="ADAL" clId="{3B4D5F63-EA56-4616-8A78-0C43AB7049E7}" dt="2025-12-08T01:11:57.028" v="12844"/>
          <ac:spMkLst>
            <pc:docMk/>
            <pc:sldMk cId="3051249235" sldId="1047"/>
            <ac:spMk id="53" creationId="{EC442DF5-5153-5CEC-525D-B7C5F666BB05}"/>
          </ac:spMkLst>
        </pc:spChg>
        <pc:spChg chg="mod">
          <ac:chgData name="Falcão Lacerda, Rafael" userId="40181ff7-4694-4c53-a944-7b7d63582359" providerId="ADAL" clId="{3B4D5F63-EA56-4616-8A78-0C43AB7049E7}" dt="2025-12-08T01:12:16.553" v="12892"/>
          <ac:spMkLst>
            <pc:docMk/>
            <pc:sldMk cId="3051249235" sldId="1047"/>
            <ac:spMk id="55" creationId="{E2A21930-5DE7-A06A-FBD1-129883D41B6D}"/>
          </ac:spMkLst>
        </pc:spChg>
        <pc:spChg chg="mod">
          <ac:chgData name="Falcão Lacerda, Rafael" userId="40181ff7-4694-4c53-a944-7b7d63582359" providerId="ADAL" clId="{3B4D5F63-EA56-4616-8A78-0C43AB7049E7}" dt="2025-12-08T01:12:16.553" v="12892"/>
          <ac:spMkLst>
            <pc:docMk/>
            <pc:sldMk cId="3051249235" sldId="1047"/>
            <ac:spMk id="56" creationId="{CD090D58-BA48-5674-9E71-8230903A3C22}"/>
          </ac:spMkLst>
        </pc:spChg>
        <pc:spChg chg="mod">
          <ac:chgData name="Falcão Lacerda, Rafael" userId="40181ff7-4694-4c53-a944-7b7d63582359" providerId="ADAL" clId="{3B4D5F63-EA56-4616-8A78-0C43AB7049E7}" dt="2025-12-08T01:12:16.553" v="12892"/>
          <ac:spMkLst>
            <pc:docMk/>
            <pc:sldMk cId="3051249235" sldId="1047"/>
            <ac:spMk id="57" creationId="{7889EF64-E5F6-E92E-75FF-7E003C06D2A9}"/>
          </ac:spMkLst>
        </pc:spChg>
        <pc:spChg chg="mod">
          <ac:chgData name="Falcão Lacerda, Rafael" userId="40181ff7-4694-4c53-a944-7b7d63582359" providerId="ADAL" clId="{3B4D5F63-EA56-4616-8A78-0C43AB7049E7}" dt="2025-12-08T01:12:16.553" v="12892"/>
          <ac:spMkLst>
            <pc:docMk/>
            <pc:sldMk cId="3051249235" sldId="1047"/>
            <ac:spMk id="59" creationId="{3D58549A-C97C-EB68-E852-3900C6DFF7CB}"/>
          </ac:spMkLst>
        </pc:spChg>
        <pc:spChg chg="mod">
          <ac:chgData name="Falcão Lacerda, Rafael" userId="40181ff7-4694-4c53-a944-7b7d63582359" providerId="ADAL" clId="{3B4D5F63-EA56-4616-8A78-0C43AB7049E7}" dt="2025-12-08T01:12:16.553" v="12892"/>
          <ac:spMkLst>
            <pc:docMk/>
            <pc:sldMk cId="3051249235" sldId="1047"/>
            <ac:spMk id="60" creationId="{408C14DC-5A16-41C0-98CC-792FD0369176}"/>
          </ac:spMkLst>
        </pc:spChg>
        <pc:spChg chg="mod">
          <ac:chgData name="Falcão Lacerda, Rafael" userId="40181ff7-4694-4c53-a944-7b7d63582359" providerId="ADAL" clId="{3B4D5F63-EA56-4616-8A78-0C43AB7049E7}" dt="2025-12-08T01:12:16.553" v="12892"/>
          <ac:spMkLst>
            <pc:docMk/>
            <pc:sldMk cId="3051249235" sldId="1047"/>
            <ac:spMk id="61" creationId="{30572539-BA97-D8F8-A130-A7717BC85983}"/>
          </ac:spMkLst>
        </pc:spChg>
        <pc:spChg chg="mod">
          <ac:chgData name="Falcão Lacerda, Rafael" userId="40181ff7-4694-4c53-a944-7b7d63582359" providerId="ADAL" clId="{3B4D5F63-EA56-4616-8A78-0C43AB7049E7}" dt="2025-12-08T01:17:38.231" v="13534" actId="20577"/>
          <ac:spMkLst>
            <pc:docMk/>
            <pc:sldMk cId="3051249235" sldId="1047"/>
            <ac:spMk id="66" creationId="{F1D68585-887C-A525-6562-2FD053CA7876}"/>
          </ac:spMkLst>
        </pc:spChg>
        <pc:spChg chg="mod">
          <ac:chgData name="Falcão Lacerda, Rafael" userId="40181ff7-4694-4c53-a944-7b7d63582359" providerId="ADAL" clId="{3B4D5F63-EA56-4616-8A78-0C43AB7049E7}" dt="2025-12-08T01:13:32.268" v="12905" actId="20577"/>
          <ac:spMkLst>
            <pc:docMk/>
            <pc:sldMk cId="3051249235" sldId="1047"/>
            <ac:spMk id="67" creationId="{E0DEF0FE-CE33-C82F-0C2C-E46E5FD8BE3D}"/>
          </ac:spMkLst>
        </pc:spChg>
        <pc:spChg chg="mod">
          <ac:chgData name="Falcão Lacerda, Rafael" userId="40181ff7-4694-4c53-a944-7b7d63582359" providerId="ADAL" clId="{3B4D5F63-EA56-4616-8A78-0C43AB7049E7}" dt="2025-12-08T01:15:05.493" v="12972" actId="20577"/>
          <ac:spMkLst>
            <pc:docMk/>
            <pc:sldMk cId="3051249235" sldId="1047"/>
            <ac:spMk id="68" creationId="{14AD69AF-6B62-D289-D86B-ACC68A0FF81E}"/>
          </ac:spMkLst>
        </pc:spChg>
        <pc:spChg chg="mod">
          <ac:chgData name="Falcão Lacerda, Rafael" userId="40181ff7-4694-4c53-a944-7b7d63582359" providerId="ADAL" clId="{3B4D5F63-EA56-4616-8A78-0C43AB7049E7}" dt="2025-12-08T01:13:24.657" v="12903" actId="571"/>
          <ac:spMkLst>
            <pc:docMk/>
            <pc:sldMk cId="3051249235" sldId="1047"/>
            <ac:spMk id="71" creationId="{533A18A6-C653-E086-BFAE-E8A8939A3D4E}"/>
          </ac:spMkLst>
        </pc:spChg>
        <pc:spChg chg="mod">
          <ac:chgData name="Falcão Lacerda, Rafael" userId="40181ff7-4694-4c53-a944-7b7d63582359" providerId="ADAL" clId="{3B4D5F63-EA56-4616-8A78-0C43AB7049E7}" dt="2025-12-08T01:13:24.657" v="12903" actId="571"/>
          <ac:spMkLst>
            <pc:docMk/>
            <pc:sldMk cId="3051249235" sldId="1047"/>
            <ac:spMk id="72" creationId="{63BBCD0C-4F90-C62C-C89A-F30BF7131660}"/>
          </ac:spMkLst>
        </pc:spChg>
        <pc:spChg chg="mod">
          <ac:chgData name="Falcão Lacerda, Rafael" userId="40181ff7-4694-4c53-a944-7b7d63582359" providerId="ADAL" clId="{3B4D5F63-EA56-4616-8A78-0C43AB7049E7}" dt="2025-12-08T01:13:24.657" v="12903" actId="571"/>
          <ac:spMkLst>
            <pc:docMk/>
            <pc:sldMk cId="3051249235" sldId="1047"/>
            <ac:spMk id="73" creationId="{70A4D012-AD09-3148-25F0-7A54BF610881}"/>
          </ac:spMkLst>
        </pc:spChg>
        <pc:spChg chg="mod">
          <ac:chgData name="Falcão Lacerda, Rafael" userId="40181ff7-4694-4c53-a944-7b7d63582359" providerId="ADAL" clId="{3B4D5F63-EA56-4616-8A78-0C43AB7049E7}" dt="2025-12-08T01:18:03.818" v="13535"/>
          <ac:spMkLst>
            <pc:docMk/>
            <pc:sldMk cId="3051249235" sldId="1047"/>
            <ac:spMk id="76" creationId="{A4A1A464-7901-7199-960C-74B5EE152C52}"/>
          </ac:spMkLst>
        </pc:spChg>
        <pc:spChg chg="mod">
          <ac:chgData name="Falcão Lacerda, Rafael" userId="40181ff7-4694-4c53-a944-7b7d63582359" providerId="ADAL" clId="{3B4D5F63-EA56-4616-8A78-0C43AB7049E7}" dt="2025-12-08T01:18:03.818" v="13535"/>
          <ac:spMkLst>
            <pc:docMk/>
            <pc:sldMk cId="3051249235" sldId="1047"/>
            <ac:spMk id="77" creationId="{F79763FF-A908-4271-D0E6-E6C8DF991D1C}"/>
          </ac:spMkLst>
        </pc:spChg>
        <pc:spChg chg="mod">
          <ac:chgData name="Falcão Lacerda, Rafael" userId="40181ff7-4694-4c53-a944-7b7d63582359" providerId="ADAL" clId="{3B4D5F63-EA56-4616-8A78-0C43AB7049E7}" dt="2025-12-08T01:18:03.818" v="13535"/>
          <ac:spMkLst>
            <pc:docMk/>
            <pc:sldMk cId="3051249235" sldId="1047"/>
            <ac:spMk id="78" creationId="{6187ACB7-D5F7-B2B8-7F93-E879B4DBA51A}"/>
          </ac:spMkLst>
        </pc:spChg>
        <pc:spChg chg="mod topLvl">
          <ac:chgData name="Falcão Lacerda, Rafael" userId="40181ff7-4694-4c53-a944-7b7d63582359" providerId="ADAL" clId="{3B4D5F63-EA56-4616-8A78-0C43AB7049E7}" dt="2025-12-08T01:28:41.279" v="13947" actId="164"/>
          <ac:spMkLst>
            <pc:docMk/>
            <pc:sldMk cId="3051249235" sldId="1047"/>
            <ac:spMk id="82" creationId="{5F931D90-8E2F-7315-103D-F2F60AA9847F}"/>
          </ac:spMkLst>
        </pc:spChg>
        <pc:spChg chg="mod topLvl">
          <ac:chgData name="Falcão Lacerda, Rafael" userId="40181ff7-4694-4c53-a944-7b7d63582359" providerId="ADAL" clId="{3B4D5F63-EA56-4616-8A78-0C43AB7049E7}" dt="2025-12-08T01:28:41.279" v="13947" actId="164"/>
          <ac:spMkLst>
            <pc:docMk/>
            <pc:sldMk cId="3051249235" sldId="1047"/>
            <ac:spMk id="83" creationId="{353720CB-1565-2120-016D-916EF0E04487}"/>
          </ac:spMkLst>
        </pc:spChg>
        <pc:spChg chg="mod topLvl">
          <ac:chgData name="Falcão Lacerda, Rafael" userId="40181ff7-4694-4c53-a944-7b7d63582359" providerId="ADAL" clId="{3B4D5F63-EA56-4616-8A78-0C43AB7049E7}" dt="2025-12-08T01:28:41.279" v="13947" actId="164"/>
          <ac:spMkLst>
            <pc:docMk/>
            <pc:sldMk cId="3051249235" sldId="1047"/>
            <ac:spMk id="84" creationId="{8DA56370-DBBD-8FC0-A198-D105A25EC04A}"/>
          </ac:spMkLst>
        </pc:spChg>
        <pc:spChg chg="mod topLvl">
          <ac:chgData name="Falcão Lacerda, Rafael" userId="40181ff7-4694-4c53-a944-7b7d63582359" providerId="ADAL" clId="{3B4D5F63-EA56-4616-8A78-0C43AB7049E7}" dt="2025-12-08T01:28:43.900" v="13948" actId="164"/>
          <ac:spMkLst>
            <pc:docMk/>
            <pc:sldMk cId="3051249235" sldId="1047"/>
            <ac:spMk id="87" creationId="{240916D7-B725-EFCC-0BBE-127BBA1DE306}"/>
          </ac:spMkLst>
        </pc:spChg>
        <pc:spChg chg="mod topLvl">
          <ac:chgData name="Falcão Lacerda, Rafael" userId="40181ff7-4694-4c53-a944-7b7d63582359" providerId="ADAL" clId="{3B4D5F63-EA56-4616-8A78-0C43AB7049E7}" dt="2025-12-08T01:28:43.900" v="13948" actId="164"/>
          <ac:spMkLst>
            <pc:docMk/>
            <pc:sldMk cId="3051249235" sldId="1047"/>
            <ac:spMk id="88" creationId="{E3C55835-FEFA-8742-2785-B8D8752E5741}"/>
          </ac:spMkLst>
        </pc:spChg>
        <pc:spChg chg="mod topLvl">
          <ac:chgData name="Falcão Lacerda, Rafael" userId="40181ff7-4694-4c53-a944-7b7d63582359" providerId="ADAL" clId="{3B4D5F63-EA56-4616-8A78-0C43AB7049E7}" dt="2025-12-08T01:28:43.900" v="13948" actId="164"/>
          <ac:spMkLst>
            <pc:docMk/>
            <pc:sldMk cId="3051249235" sldId="1047"/>
            <ac:spMk id="89" creationId="{7864276F-5578-47AD-03DF-CA1F2CE98C7E}"/>
          </ac:spMkLst>
        </pc:spChg>
        <pc:grpChg chg="add mod">
          <ac:chgData name="Falcão Lacerda, Rafael" userId="40181ff7-4694-4c53-a944-7b7d63582359" providerId="ADAL" clId="{3B4D5F63-EA56-4616-8A78-0C43AB7049E7}" dt="2025-12-08T01:09:47.882" v="12808" actId="164"/>
          <ac:grpSpMkLst>
            <pc:docMk/>
            <pc:sldMk cId="3051249235" sldId="1047"/>
            <ac:grpSpMk id="46" creationId="{4A182877-19A1-0734-3003-7BC32DFA7C72}"/>
          </ac:grpSpMkLst>
        </pc:grpChg>
        <pc:grpChg chg="add del mod">
          <ac:chgData name="Falcão Lacerda, Rafael" userId="40181ff7-4694-4c53-a944-7b7d63582359" providerId="ADAL" clId="{3B4D5F63-EA56-4616-8A78-0C43AB7049E7}" dt="2025-12-08T01:12:37.917" v="12895" actId="165"/>
          <ac:grpSpMkLst>
            <pc:docMk/>
            <pc:sldMk cId="3051249235" sldId="1047"/>
            <ac:grpSpMk id="49" creationId="{CAB13D14-5B78-2D1B-1AAA-47F99D89DC6D}"/>
          </ac:grpSpMkLst>
        </pc:grpChg>
        <pc:grpChg chg="add del mod">
          <ac:chgData name="Falcão Lacerda, Rafael" userId="40181ff7-4694-4c53-a944-7b7d63582359" providerId="ADAL" clId="{3B4D5F63-EA56-4616-8A78-0C43AB7049E7}" dt="2025-12-08T01:12:53.232" v="12900" actId="478"/>
          <ac:grpSpMkLst>
            <pc:docMk/>
            <pc:sldMk cId="3051249235" sldId="1047"/>
            <ac:grpSpMk id="50" creationId="{D95F804D-8CFC-D854-1B3A-D9640AB706A4}"/>
          </ac:grpSpMkLst>
        </pc:grpChg>
        <pc:grpChg chg="add del mod">
          <ac:chgData name="Falcão Lacerda, Rafael" userId="40181ff7-4694-4c53-a944-7b7d63582359" providerId="ADAL" clId="{3B4D5F63-EA56-4616-8A78-0C43AB7049E7}" dt="2025-12-08T01:12:53.232" v="12900" actId="478"/>
          <ac:grpSpMkLst>
            <pc:docMk/>
            <pc:sldMk cId="3051249235" sldId="1047"/>
            <ac:grpSpMk id="54" creationId="{E96FEE9E-721B-4823-7D2A-99D49AEC0E7E}"/>
          </ac:grpSpMkLst>
        </pc:grpChg>
        <pc:grpChg chg="add del mod">
          <ac:chgData name="Falcão Lacerda, Rafael" userId="40181ff7-4694-4c53-a944-7b7d63582359" providerId="ADAL" clId="{3B4D5F63-EA56-4616-8A78-0C43AB7049E7}" dt="2025-12-08T01:12:53.232" v="12900" actId="478"/>
          <ac:grpSpMkLst>
            <pc:docMk/>
            <pc:sldMk cId="3051249235" sldId="1047"/>
            <ac:grpSpMk id="58" creationId="{357CC425-F2C2-1069-7C09-A724A2CF5286}"/>
          </ac:grpSpMkLst>
        </pc:grpChg>
        <pc:grpChg chg="add del mod topLvl">
          <ac:chgData name="Falcão Lacerda, Rafael" userId="40181ff7-4694-4c53-a944-7b7d63582359" providerId="ADAL" clId="{3B4D5F63-EA56-4616-8A78-0C43AB7049E7}" dt="2025-12-08T01:28:12.012" v="13941" actId="165"/>
          <ac:grpSpMkLst>
            <pc:docMk/>
            <pc:sldMk cId="3051249235" sldId="1047"/>
            <ac:grpSpMk id="62" creationId="{E439A9A9-54C3-3404-E52A-335C83B96849}"/>
          </ac:grpSpMkLst>
        </pc:grpChg>
        <pc:grpChg chg="add del mod">
          <ac:chgData name="Falcão Lacerda, Rafael" userId="40181ff7-4694-4c53-a944-7b7d63582359" providerId="ADAL" clId="{3B4D5F63-EA56-4616-8A78-0C43AB7049E7}" dt="2025-12-08T01:23:55.010" v="13668" actId="165"/>
          <ac:grpSpMkLst>
            <pc:docMk/>
            <pc:sldMk cId="3051249235" sldId="1047"/>
            <ac:grpSpMk id="63" creationId="{573837DE-B386-4636-A596-2F700DE5C8FF}"/>
          </ac:grpSpMkLst>
        </pc:grpChg>
        <pc:grpChg chg="add del mod">
          <ac:chgData name="Falcão Lacerda, Rafael" userId="40181ff7-4694-4c53-a944-7b7d63582359" providerId="ADAL" clId="{3B4D5F63-EA56-4616-8A78-0C43AB7049E7}" dt="2025-12-08T01:23:52.664" v="13667" actId="478"/>
          <ac:grpSpMkLst>
            <pc:docMk/>
            <pc:sldMk cId="3051249235" sldId="1047"/>
            <ac:grpSpMk id="64" creationId="{D2473909-45CF-686A-B4DF-FFCF5FC09DCE}"/>
          </ac:grpSpMkLst>
        </pc:grpChg>
        <pc:grpChg chg="mod">
          <ac:chgData name="Falcão Lacerda, Rafael" userId="40181ff7-4694-4c53-a944-7b7d63582359" providerId="ADAL" clId="{3B4D5F63-EA56-4616-8A78-0C43AB7049E7}" dt="2025-12-08T01:13:22.519" v="12902" actId="571"/>
          <ac:grpSpMkLst>
            <pc:docMk/>
            <pc:sldMk cId="3051249235" sldId="1047"/>
            <ac:grpSpMk id="65" creationId="{E41BD357-E516-45B9-B40F-7D2BD03E6B96}"/>
          </ac:grpSpMkLst>
        </pc:grpChg>
        <pc:grpChg chg="add del mod">
          <ac:chgData name="Falcão Lacerda, Rafael" userId="40181ff7-4694-4c53-a944-7b7d63582359" providerId="ADAL" clId="{3B4D5F63-EA56-4616-8A78-0C43AB7049E7}" dt="2025-12-08T01:13:30.084" v="12904" actId="478"/>
          <ac:grpSpMkLst>
            <pc:docMk/>
            <pc:sldMk cId="3051249235" sldId="1047"/>
            <ac:grpSpMk id="69" creationId="{9C5DA6E7-0C63-E96E-BDE2-426DCD2327CE}"/>
          </ac:grpSpMkLst>
        </pc:grpChg>
        <pc:grpChg chg="mod">
          <ac:chgData name="Falcão Lacerda, Rafael" userId="40181ff7-4694-4c53-a944-7b7d63582359" providerId="ADAL" clId="{3B4D5F63-EA56-4616-8A78-0C43AB7049E7}" dt="2025-12-08T01:13:24.657" v="12903" actId="571"/>
          <ac:grpSpMkLst>
            <pc:docMk/>
            <pc:sldMk cId="3051249235" sldId="1047"/>
            <ac:grpSpMk id="70" creationId="{89EC8B48-6EBF-16CB-5B53-C5AE12D0F2CD}"/>
          </ac:grpSpMkLst>
        </pc:grpChg>
        <pc:grpChg chg="add del mod">
          <ac:chgData name="Falcão Lacerda, Rafael" userId="40181ff7-4694-4c53-a944-7b7d63582359" providerId="ADAL" clId="{3B4D5F63-EA56-4616-8A78-0C43AB7049E7}" dt="2025-12-08T01:23:52.664" v="13667" actId="478"/>
          <ac:grpSpMkLst>
            <pc:docMk/>
            <pc:sldMk cId="3051249235" sldId="1047"/>
            <ac:grpSpMk id="74" creationId="{026EE34A-6CF9-569E-6F3D-9480C117D638}"/>
          </ac:grpSpMkLst>
        </pc:grpChg>
        <pc:grpChg chg="mod">
          <ac:chgData name="Falcão Lacerda, Rafael" userId="40181ff7-4694-4c53-a944-7b7d63582359" providerId="ADAL" clId="{3B4D5F63-EA56-4616-8A78-0C43AB7049E7}" dt="2025-12-08T01:18:03.818" v="13535"/>
          <ac:grpSpMkLst>
            <pc:docMk/>
            <pc:sldMk cId="3051249235" sldId="1047"/>
            <ac:grpSpMk id="75" creationId="{3C248797-5D52-4980-0CA3-7BD478852609}"/>
          </ac:grpSpMkLst>
        </pc:grpChg>
        <pc:grpChg chg="add del mod">
          <ac:chgData name="Falcão Lacerda, Rafael" userId="40181ff7-4694-4c53-a944-7b7d63582359" providerId="ADAL" clId="{3B4D5F63-EA56-4616-8A78-0C43AB7049E7}" dt="2025-12-08T01:28:00.476" v="13940" actId="165"/>
          <ac:grpSpMkLst>
            <pc:docMk/>
            <pc:sldMk cId="3051249235" sldId="1047"/>
            <ac:grpSpMk id="79" creationId="{91D6C04C-34DF-C9EA-D8A0-4D1FD139A8B7}"/>
          </ac:grpSpMkLst>
        </pc:grpChg>
        <pc:grpChg chg="add del mod">
          <ac:chgData name="Falcão Lacerda, Rafael" userId="40181ff7-4694-4c53-a944-7b7d63582359" providerId="ADAL" clId="{3B4D5F63-EA56-4616-8A78-0C43AB7049E7}" dt="2025-12-08T01:26:06.893" v="13766" actId="165"/>
          <ac:grpSpMkLst>
            <pc:docMk/>
            <pc:sldMk cId="3051249235" sldId="1047"/>
            <ac:grpSpMk id="80" creationId="{15C9820D-1914-60E4-73AE-468EEB350AD6}"/>
          </ac:grpSpMkLst>
        </pc:grpChg>
        <pc:grpChg chg="del mod topLvl">
          <ac:chgData name="Falcão Lacerda, Rafael" userId="40181ff7-4694-4c53-a944-7b7d63582359" providerId="ADAL" clId="{3B4D5F63-EA56-4616-8A78-0C43AB7049E7}" dt="2025-12-08T01:28:13.991" v="13942" actId="165"/>
          <ac:grpSpMkLst>
            <pc:docMk/>
            <pc:sldMk cId="3051249235" sldId="1047"/>
            <ac:grpSpMk id="81" creationId="{B241C9D2-CABD-FAB3-6866-EB6122B3CAD1}"/>
          </ac:grpSpMkLst>
        </pc:grpChg>
        <pc:grpChg chg="add del mod">
          <ac:chgData name="Falcão Lacerda, Rafael" userId="40181ff7-4694-4c53-a944-7b7d63582359" providerId="ADAL" clId="{3B4D5F63-EA56-4616-8A78-0C43AB7049E7}" dt="2025-12-08T01:27:36.959" v="13934" actId="165"/>
          <ac:grpSpMkLst>
            <pc:docMk/>
            <pc:sldMk cId="3051249235" sldId="1047"/>
            <ac:grpSpMk id="85" creationId="{C8C3714F-B310-ADE6-D20D-5362960CC5C8}"/>
          </ac:grpSpMkLst>
        </pc:grpChg>
        <pc:grpChg chg="del mod topLvl">
          <ac:chgData name="Falcão Lacerda, Rafael" userId="40181ff7-4694-4c53-a944-7b7d63582359" providerId="ADAL" clId="{3B4D5F63-EA56-4616-8A78-0C43AB7049E7}" dt="2025-12-08T01:28:16.517" v="13943" actId="165"/>
          <ac:grpSpMkLst>
            <pc:docMk/>
            <pc:sldMk cId="3051249235" sldId="1047"/>
            <ac:grpSpMk id="86" creationId="{E22A07BD-DC58-BB86-8F08-D6B44047A607}"/>
          </ac:grpSpMkLst>
        </pc:grpChg>
        <pc:grpChg chg="add mod">
          <ac:chgData name="Falcão Lacerda, Rafael" userId="40181ff7-4694-4c53-a944-7b7d63582359" providerId="ADAL" clId="{3B4D5F63-EA56-4616-8A78-0C43AB7049E7}" dt="2025-12-08T01:28:55.233" v="13951" actId="164"/>
          <ac:grpSpMkLst>
            <pc:docMk/>
            <pc:sldMk cId="3051249235" sldId="1047"/>
            <ac:grpSpMk id="90" creationId="{3522107E-EAEB-789D-E104-8C24DF313DFD}"/>
          </ac:grpSpMkLst>
        </pc:grpChg>
        <pc:grpChg chg="add mod">
          <ac:chgData name="Falcão Lacerda, Rafael" userId="40181ff7-4694-4c53-a944-7b7d63582359" providerId="ADAL" clId="{3B4D5F63-EA56-4616-8A78-0C43AB7049E7}" dt="2025-12-08T01:28:55.233" v="13951" actId="164"/>
          <ac:grpSpMkLst>
            <pc:docMk/>
            <pc:sldMk cId="3051249235" sldId="1047"/>
            <ac:grpSpMk id="91" creationId="{340E4671-EFE3-C79D-712D-E4EB0917589D}"/>
          </ac:grpSpMkLst>
        </pc:grpChg>
        <pc:grpChg chg="add mod">
          <ac:chgData name="Falcão Lacerda, Rafael" userId="40181ff7-4694-4c53-a944-7b7d63582359" providerId="ADAL" clId="{3B4D5F63-EA56-4616-8A78-0C43AB7049E7}" dt="2025-12-08T01:28:55.233" v="13951" actId="164"/>
          <ac:grpSpMkLst>
            <pc:docMk/>
            <pc:sldMk cId="3051249235" sldId="1047"/>
            <ac:grpSpMk id="92" creationId="{062F69E7-8CA4-3F9E-8ADF-62B0E16A5F27}"/>
          </ac:grpSpMkLst>
        </pc:grpChg>
        <pc:grpChg chg="add mod">
          <ac:chgData name="Falcão Lacerda, Rafael" userId="40181ff7-4694-4c53-a944-7b7d63582359" providerId="ADAL" clId="{3B4D5F63-EA56-4616-8A78-0C43AB7049E7}" dt="2025-12-08T01:28:56.906" v="13952" actId="12788"/>
          <ac:grpSpMkLst>
            <pc:docMk/>
            <pc:sldMk cId="3051249235" sldId="1047"/>
            <ac:grpSpMk id="93" creationId="{AC143247-139B-F4EB-2E41-F3731B4A2CD6}"/>
          </ac:grpSpMkLst>
        </pc:grpChg>
        <pc:graphicFrameChg chg="mod">
          <ac:chgData name="Falcão Lacerda, Rafael" userId="40181ff7-4694-4c53-a944-7b7d63582359" providerId="ADAL" clId="{3B4D5F63-EA56-4616-8A78-0C43AB7049E7}" dt="2025-12-08T00:43:58.871" v="11915"/>
          <ac:graphicFrameMkLst>
            <pc:docMk/>
            <pc:sldMk cId="3051249235" sldId="1047"/>
            <ac:graphicFrameMk id="16" creationId="{E3F8A3C7-7D06-46B6-596F-69C7598819A3}"/>
          </ac:graphicFrameMkLst>
        </pc:graphicFrameChg>
      </pc:sldChg>
      <pc:sldChg chg="add del">
        <pc:chgData name="Falcão Lacerda, Rafael" userId="40181ff7-4694-4c53-a944-7b7d63582359" providerId="ADAL" clId="{3B4D5F63-EA56-4616-8A78-0C43AB7049E7}" dt="2025-12-08T01:31:38.855" v="13953" actId="47"/>
        <pc:sldMkLst>
          <pc:docMk/>
          <pc:sldMk cId="2770507595" sldId="1048"/>
        </pc:sldMkLst>
      </pc:sldChg>
      <pc:sldChg chg="addSp delSp modSp add del mod">
        <pc:chgData name="Falcão Lacerda, Rafael" userId="40181ff7-4694-4c53-a944-7b7d63582359" providerId="ADAL" clId="{3B4D5F63-EA56-4616-8A78-0C43AB7049E7}" dt="2025-12-08T01:42:37.284" v="14256" actId="47"/>
        <pc:sldMkLst>
          <pc:docMk/>
          <pc:sldMk cId="223264843" sldId="1049"/>
        </pc:sldMkLst>
        <pc:spChg chg="mod">
          <ac:chgData name="Falcão Lacerda, Rafael" userId="40181ff7-4694-4c53-a944-7b7d63582359" providerId="ADAL" clId="{3B4D5F63-EA56-4616-8A78-0C43AB7049E7}" dt="2025-12-08T01:41:04.199" v="14023" actId="207"/>
          <ac:spMkLst>
            <pc:docMk/>
            <pc:sldMk cId="223264843" sldId="1049"/>
            <ac:spMk id="2" creationId="{155064A0-4825-F9D5-6026-12ECB75C6C92}"/>
          </ac:spMkLst>
        </pc:spChg>
        <pc:spChg chg="add del mod modVis">
          <ac:chgData name="Falcão Lacerda, Rafael" userId="40181ff7-4694-4c53-a944-7b7d63582359" providerId="ADAL" clId="{3B4D5F63-EA56-4616-8A78-0C43AB7049E7}" dt="2025-12-08T01:40:38.378" v="13992" actId="962"/>
          <ac:spMkLst>
            <pc:docMk/>
            <pc:sldMk cId="223264843" sldId="1049"/>
            <ac:spMk id="3" creationId="{E1C4C46B-0502-C0CB-C135-FE0EAB6FEE66}"/>
          </ac:spMkLst>
        </pc:spChg>
        <pc:graphicFrameChg chg="mod">
          <ac:chgData name="Falcão Lacerda, Rafael" userId="40181ff7-4694-4c53-a944-7b7d63582359" providerId="ADAL" clId="{3B4D5F63-EA56-4616-8A78-0C43AB7049E7}" dt="2025-12-08T01:40:38.395" v="13996"/>
          <ac:graphicFrameMkLst>
            <pc:docMk/>
            <pc:sldMk cId="223264843" sldId="1049"/>
            <ac:graphicFrameMk id="4" creationId="{D2D0DC91-2B10-6AAF-62DF-84B2ABF9CEC6}"/>
          </ac:graphicFrameMkLst>
        </pc:graphicFrameChg>
      </pc:sldChg>
      <pc:sldChg chg="addSp delSp modSp add mod ord">
        <pc:chgData name="Falcão Lacerda, Rafael" userId="40181ff7-4694-4c53-a944-7b7d63582359" providerId="ADAL" clId="{3B4D5F63-EA56-4616-8A78-0C43AB7049E7}" dt="2025-12-08T01:42:31.279" v="14255"/>
        <pc:sldMkLst>
          <pc:docMk/>
          <pc:sldMk cId="1186660564" sldId="1050"/>
        </pc:sldMkLst>
        <pc:spChg chg="mod">
          <ac:chgData name="Falcão Lacerda, Rafael" userId="40181ff7-4694-4c53-a944-7b7d63582359" providerId="ADAL" clId="{3B4D5F63-EA56-4616-8A78-0C43AB7049E7}" dt="2025-12-08T01:42:19.746" v="14225" actId="948"/>
          <ac:spMkLst>
            <pc:docMk/>
            <pc:sldMk cId="1186660564" sldId="1050"/>
            <ac:spMk id="2" creationId="{4431CB2A-0E0B-E6E6-F595-AAA59587895F}"/>
          </ac:spMkLst>
        </pc:spChg>
        <pc:spChg chg="add del mod modVis">
          <ac:chgData name="Falcão Lacerda, Rafael" userId="40181ff7-4694-4c53-a944-7b7d63582359" providerId="ADAL" clId="{3B4D5F63-EA56-4616-8A78-0C43AB7049E7}" dt="2025-12-08T01:40:50.834" v="14020"/>
          <ac:spMkLst>
            <pc:docMk/>
            <pc:sldMk cId="1186660564" sldId="1050"/>
            <ac:spMk id="3" creationId="{4757E571-0EF8-EC9B-700F-7ED516924B66}"/>
          </ac:spMkLst>
        </pc:spChg>
        <pc:spChg chg="add del mod modVis">
          <ac:chgData name="Falcão Lacerda, Rafael" userId="40181ff7-4694-4c53-a944-7b7d63582359" providerId="ADAL" clId="{3B4D5F63-EA56-4616-8A78-0C43AB7049E7}" dt="2025-12-08T01:41:09.892" v="14046"/>
          <ac:spMkLst>
            <pc:docMk/>
            <pc:sldMk cId="1186660564" sldId="1050"/>
            <ac:spMk id="5" creationId="{73A0D1D8-3CBA-3838-EB36-20C833F5A887}"/>
          </ac:spMkLst>
        </pc:spChg>
        <pc:spChg chg="add del mod modVis">
          <ac:chgData name="Falcão Lacerda, Rafael" userId="40181ff7-4694-4c53-a944-7b7d63582359" providerId="ADAL" clId="{3B4D5F63-EA56-4616-8A78-0C43AB7049E7}" dt="2025-12-08T01:41:30.045" v="14071"/>
          <ac:spMkLst>
            <pc:docMk/>
            <pc:sldMk cId="1186660564" sldId="1050"/>
            <ac:spMk id="6" creationId="{CBAC3B48-3E71-23F8-578B-491E4F3DFB91}"/>
          </ac:spMkLst>
        </pc:spChg>
        <pc:spChg chg="add del mod modVis">
          <ac:chgData name="Falcão Lacerda, Rafael" userId="40181ff7-4694-4c53-a944-7b7d63582359" providerId="ADAL" clId="{3B4D5F63-EA56-4616-8A78-0C43AB7049E7}" dt="2025-12-08T01:41:46.996" v="14096"/>
          <ac:spMkLst>
            <pc:docMk/>
            <pc:sldMk cId="1186660564" sldId="1050"/>
            <ac:spMk id="7" creationId="{A23E2F5F-3690-8F34-8D03-68F891AE6115}"/>
          </ac:spMkLst>
        </pc:spChg>
        <pc:spChg chg="add del mod modVis">
          <ac:chgData name="Falcão Lacerda, Rafael" userId="40181ff7-4694-4c53-a944-7b7d63582359" providerId="ADAL" clId="{3B4D5F63-EA56-4616-8A78-0C43AB7049E7}" dt="2025-12-08T01:41:51.663" v="14121"/>
          <ac:spMkLst>
            <pc:docMk/>
            <pc:sldMk cId="1186660564" sldId="1050"/>
            <ac:spMk id="8" creationId="{E5203401-8AE2-3629-6042-3AF28F292F2B}"/>
          </ac:spMkLst>
        </pc:spChg>
        <pc:spChg chg="add del mod modVis">
          <ac:chgData name="Falcão Lacerda, Rafael" userId="40181ff7-4694-4c53-a944-7b7d63582359" providerId="ADAL" clId="{3B4D5F63-EA56-4616-8A78-0C43AB7049E7}" dt="2025-12-08T01:41:54.354" v="14146"/>
          <ac:spMkLst>
            <pc:docMk/>
            <pc:sldMk cId="1186660564" sldId="1050"/>
            <ac:spMk id="9" creationId="{89BC99A4-AC3C-8690-B87A-BC44F8E233AD}"/>
          </ac:spMkLst>
        </pc:spChg>
        <pc:spChg chg="add del mod modVis">
          <ac:chgData name="Falcão Lacerda, Rafael" userId="40181ff7-4694-4c53-a944-7b7d63582359" providerId="ADAL" clId="{3B4D5F63-EA56-4616-8A78-0C43AB7049E7}" dt="2025-12-08T01:42:00.505" v="14171"/>
          <ac:spMkLst>
            <pc:docMk/>
            <pc:sldMk cId="1186660564" sldId="1050"/>
            <ac:spMk id="10" creationId="{EB3CA92B-4BE6-855C-0DF8-B5B1A388347C}"/>
          </ac:spMkLst>
        </pc:spChg>
        <pc:spChg chg="add del mod modVis">
          <ac:chgData name="Falcão Lacerda, Rafael" userId="40181ff7-4694-4c53-a944-7b7d63582359" providerId="ADAL" clId="{3B4D5F63-EA56-4616-8A78-0C43AB7049E7}" dt="2025-12-08T01:42:05.688" v="14196"/>
          <ac:spMkLst>
            <pc:docMk/>
            <pc:sldMk cId="1186660564" sldId="1050"/>
            <ac:spMk id="11" creationId="{AC7CDC11-96B8-0DA1-38D9-6BBD59E1B977}"/>
          </ac:spMkLst>
        </pc:spChg>
        <pc:spChg chg="add del mod modVis">
          <ac:chgData name="Falcão Lacerda, Rafael" userId="40181ff7-4694-4c53-a944-7b7d63582359" providerId="ADAL" clId="{3B4D5F63-EA56-4616-8A78-0C43AB7049E7}" dt="2025-12-08T01:42:10.042" v="14221"/>
          <ac:spMkLst>
            <pc:docMk/>
            <pc:sldMk cId="1186660564" sldId="1050"/>
            <ac:spMk id="12" creationId="{57DBD040-60AA-6544-3048-4FB040B3C227}"/>
          </ac:spMkLst>
        </pc:spChg>
        <pc:spChg chg="add del mod modVis">
          <ac:chgData name="Falcão Lacerda, Rafael" userId="40181ff7-4694-4c53-a944-7b7d63582359" providerId="ADAL" clId="{3B4D5F63-EA56-4616-8A78-0C43AB7049E7}" dt="2025-12-08T01:42:19.779" v="14246"/>
          <ac:spMkLst>
            <pc:docMk/>
            <pc:sldMk cId="1186660564" sldId="1050"/>
            <ac:spMk id="13" creationId="{BFC699A5-7636-472A-A856-80870764FABB}"/>
          </ac:spMkLst>
        </pc:spChg>
        <pc:graphicFrameChg chg="mod">
          <ac:chgData name="Falcão Lacerda, Rafael" userId="40181ff7-4694-4c53-a944-7b7d63582359" providerId="ADAL" clId="{3B4D5F63-EA56-4616-8A78-0C43AB7049E7}" dt="2025-12-08T01:42:20.380" v="14250"/>
          <ac:graphicFrameMkLst>
            <pc:docMk/>
            <pc:sldMk cId="1186660564" sldId="1050"/>
            <ac:graphicFrameMk id="4" creationId="{2E23D57A-1F51-9540-55A6-346D4CF71477}"/>
          </ac:graphicFrameMkLst>
        </pc:graphicFrameChg>
      </pc:sldChg>
      <pc:sldChg chg="addSp delSp modSp add mod">
        <pc:chgData name="Falcão Lacerda, Rafael" userId="40181ff7-4694-4c53-a944-7b7d63582359" providerId="ADAL" clId="{3B4D5F63-EA56-4616-8A78-0C43AB7049E7}" dt="2025-12-08T17:10:24.458" v="33614" actId="207"/>
        <pc:sldMkLst>
          <pc:docMk/>
          <pc:sldMk cId="4079328676" sldId="1051"/>
        </pc:sldMkLst>
        <pc:spChg chg="add del mod modVis">
          <ac:chgData name="Falcão Lacerda, Rafael" userId="40181ff7-4694-4c53-a944-7b7d63582359" providerId="ADAL" clId="{3B4D5F63-EA56-4616-8A78-0C43AB7049E7}" dt="2025-12-08T02:28:28.348" v="14300"/>
          <ac:spMkLst>
            <pc:docMk/>
            <pc:sldMk cId="4079328676" sldId="1051"/>
            <ac:spMk id="2" creationId="{0F30FDC9-03E7-9914-FED2-F4F62D01782F}"/>
          </ac:spMkLst>
        </pc:spChg>
        <pc:spChg chg="mod">
          <ac:chgData name="Falcão Lacerda, Rafael" userId="40181ff7-4694-4c53-a944-7b7d63582359" providerId="ADAL" clId="{3B4D5F63-EA56-4616-8A78-0C43AB7049E7}" dt="2025-12-08T03:18:07.155" v="15121" actId="12"/>
          <ac:spMkLst>
            <pc:docMk/>
            <pc:sldMk cId="4079328676" sldId="1051"/>
            <ac:spMk id="3" creationId="{FE659060-22E7-3596-29F4-A66B4FA24E5E}"/>
          </ac:spMkLst>
        </pc:spChg>
        <pc:spChg chg="add mod">
          <ac:chgData name="Falcão Lacerda, Rafael" userId="40181ff7-4694-4c53-a944-7b7d63582359" providerId="ADAL" clId="{3B4D5F63-EA56-4616-8A78-0C43AB7049E7}" dt="2025-12-08T17:10:24.458" v="33614" actId="207"/>
          <ac:spMkLst>
            <pc:docMk/>
            <pc:sldMk cId="4079328676" sldId="1051"/>
            <ac:spMk id="5" creationId="{23103FCA-B26C-E27E-C172-9FFB17DC03D0}"/>
          </ac:spMkLst>
        </pc:spChg>
        <pc:spChg chg="mod">
          <ac:chgData name="Falcão Lacerda, Rafael" userId="40181ff7-4694-4c53-a944-7b7d63582359" providerId="ADAL" clId="{3B4D5F63-EA56-4616-8A78-0C43AB7049E7}" dt="2025-12-08T02:28:28.300" v="14278" actId="948"/>
          <ac:spMkLst>
            <pc:docMk/>
            <pc:sldMk cId="4079328676" sldId="1051"/>
            <ac:spMk id="6" creationId="{E538A9F8-491F-A1D9-F64D-3C84E5061785}"/>
          </ac:spMkLst>
        </pc:spChg>
        <pc:spChg chg="del mod">
          <ac:chgData name="Falcão Lacerda, Rafael" userId="40181ff7-4694-4c53-a944-7b7d63582359" providerId="ADAL" clId="{3B4D5F63-EA56-4616-8A78-0C43AB7049E7}" dt="2025-12-08T02:51:56.733" v="14526" actId="478"/>
          <ac:spMkLst>
            <pc:docMk/>
            <pc:sldMk cId="4079328676" sldId="1051"/>
            <ac:spMk id="15" creationId="{8D429DAB-3316-7799-D215-93F40BF87A5D}"/>
          </ac:spMkLst>
        </pc:spChg>
        <pc:spChg chg="del mod">
          <ac:chgData name="Falcão Lacerda, Rafael" userId="40181ff7-4694-4c53-a944-7b7d63582359" providerId="ADAL" clId="{3B4D5F63-EA56-4616-8A78-0C43AB7049E7}" dt="2025-12-08T02:51:56.733" v="14526" actId="478"/>
          <ac:spMkLst>
            <pc:docMk/>
            <pc:sldMk cId="4079328676" sldId="1051"/>
            <ac:spMk id="16" creationId="{63571D39-3EF6-CAF4-40D5-FCBDC8E9DB5C}"/>
          </ac:spMkLst>
        </pc:spChg>
        <pc:spChg chg="del mod">
          <ac:chgData name="Falcão Lacerda, Rafael" userId="40181ff7-4694-4c53-a944-7b7d63582359" providerId="ADAL" clId="{3B4D5F63-EA56-4616-8A78-0C43AB7049E7}" dt="2025-12-08T02:51:56.733" v="14526" actId="478"/>
          <ac:spMkLst>
            <pc:docMk/>
            <pc:sldMk cId="4079328676" sldId="1051"/>
            <ac:spMk id="17" creationId="{2BCB7545-F4B9-222F-A904-D3349D517514}"/>
          </ac:spMkLst>
        </pc:spChg>
        <pc:spChg chg="add del mod">
          <ac:chgData name="Falcão Lacerda, Rafael" userId="40181ff7-4694-4c53-a944-7b7d63582359" providerId="ADAL" clId="{3B4D5F63-EA56-4616-8A78-0C43AB7049E7}" dt="2025-12-08T02:52:00.475" v="14528" actId="478"/>
          <ac:spMkLst>
            <pc:docMk/>
            <pc:sldMk cId="4079328676" sldId="1051"/>
            <ac:spMk id="19" creationId="{DC836684-ADD1-AE18-3951-1DA3FE55D078}"/>
          </ac:spMkLst>
        </pc:spChg>
        <pc:spChg chg="add del mod">
          <ac:chgData name="Falcão Lacerda, Rafael" userId="40181ff7-4694-4c53-a944-7b7d63582359" providerId="ADAL" clId="{3B4D5F63-EA56-4616-8A78-0C43AB7049E7}" dt="2025-12-08T02:52:01.441" v="14529" actId="478"/>
          <ac:spMkLst>
            <pc:docMk/>
            <pc:sldMk cId="4079328676" sldId="1051"/>
            <ac:spMk id="21" creationId="{F4EB42DB-B444-2D54-0EEE-D3DFC45ABC24}"/>
          </ac:spMkLst>
        </pc:spChg>
        <pc:spChg chg="add del mod">
          <ac:chgData name="Falcão Lacerda, Rafael" userId="40181ff7-4694-4c53-a944-7b7d63582359" providerId="ADAL" clId="{3B4D5F63-EA56-4616-8A78-0C43AB7049E7}" dt="2025-12-08T02:52:16.656" v="14535" actId="478"/>
          <ac:spMkLst>
            <pc:docMk/>
            <pc:sldMk cId="4079328676" sldId="1051"/>
            <ac:spMk id="23" creationId="{F9C91854-D1BC-10C1-6E20-F021E2A89D11}"/>
          </ac:spMkLst>
        </pc:spChg>
        <pc:spChg chg="mod">
          <ac:chgData name="Falcão Lacerda, Rafael" userId="40181ff7-4694-4c53-a944-7b7d63582359" providerId="ADAL" clId="{3B4D5F63-EA56-4616-8A78-0C43AB7049E7}" dt="2025-12-08T02:51:57.044" v="14527"/>
          <ac:spMkLst>
            <pc:docMk/>
            <pc:sldMk cId="4079328676" sldId="1051"/>
            <ac:spMk id="31" creationId="{E5CBA97B-54F4-78EF-74BB-B10C648DBECB}"/>
          </ac:spMkLst>
        </pc:spChg>
        <pc:spChg chg="mod">
          <ac:chgData name="Falcão Lacerda, Rafael" userId="40181ff7-4694-4c53-a944-7b7d63582359" providerId="ADAL" clId="{3B4D5F63-EA56-4616-8A78-0C43AB7049E7}" dt="2025-12-08T02:51:57.044" v="14527"/>
          <ac:spMkLst>
            <pc:docMk/>
            <pc:sldMk cId="4079328676" sldId="1051"/>
            <ac:spMk id="33" creationId="{ABBD0CDC-7547-E2DA-48BF-454765B46C55}"/>
          </ac:spMkLst>
        </pc:spChg>
        <pc:spChg chg="mod">
          <ac:chgData name="Falcão Lacerda, Rafael" userId="40181ff7-4694-4c53-a944-7b7d63582359" providerId="ADAL" clId="{3B4D5F63-EA56-4616-8A78-0C43AB7049E7}" dt="2025-12-08T02:51:57.044" v="14527"/>
          <ac:spMkLst>
            <pc:docMk/>
            <pc:sldMk cId="4079328676" sldId="1051"/>
            <ac:spMk id="35" creationId="{D5837A5D-5FDF-1724-71C9-380BF0DDAB72}"/>
          </ac:spMkLst>
        </pc:spChg>
        <pc:spChg chg="mod">
          <ac:chgData name="Falcão Lacerda, Rafael" userId="40181ff7-4694-4c53-a944-7b7d63582359" providerId="ADAL" clId="{3B4D5F63-EA56-4616-8A78-0C43AB7049E7}" dt="2025-12-08T02:52:44.524" v="14540" actId="207"/>
          <ac:spMkLst>
            <pc:docMk/>
            <pc:sldMk cId="4079328676" sldId="1051"/>
            <ac:spMk id="44" creationId="{5DB9695D-3698-3ED8-D65D-021B75449813}"/>
          </ac:spMkLst>
        </pc:spChg>
        <pc:spChg chg="mod">
          <ac:chgData name="Falcão Lacerda, Rafael" userId="40181ff7-4694-4c53-a944-7b7d63582359" providerId="ADAL" clId="{3B4D5F63-EA56-4616-8A78-0C43AB7049E7}" dt="2025-12-08T02:52:49.279" v="14541" actId="207"/>
          <ac:spMkLst>
            <pc:docMk/>
            <pc:sldMk cId="4079328676" sldId="1051"/>
            <ac:spMk id="46" creationId="{F03A5A4B-2405-9A19-9D9E-20D234B3C407}"/>
          </ac:spMkLst>
        </pc:spChg>
        <pc:spChg chg="mod">
          <ac:chgData name="Falcão Lacerda, Rafael" userId="40181ff7-4694-4c53-a944-7b7d63582359" providerId="ADAL" clId="{3B4D5F63-EA56-4616-8A78-0C43AB7049E7}" dt="2025-12-08T02:52:41.335" v="14539" actId="207"/>
          <ac:spMkLst>
            <pc:docMk/>
            <pc:sldMk cId="4079328676" sldId="1051"/>
            <ac:spMk id="48" creationId="{85AF4371-F0AA-18FF-6FE8-5272DC036899}"/>
          </ac:spMkLst>
        </pc:spChg>
        <pc:spChg chg="mod">
          <ac:chgData name="Falcão Lacerda, Rafael" userId="40181ff7-4694-4c53-a944-7b7d63582359" providerId="ADAL" clId="{3B4D5F63-EA56-4616-8A78-0C43AB7049E7}" dt="2025-12-08T03:06:00.483" v="14976"/>
          <ac:spMkLst>
            <pc:docMk/>
            <pc:sldMk cId="4079328676" sldId="1051"/>
            <ac:spMk id="61" creationId="{A0AB41F1-CEAF-F75C-BC0D-A525D96FC87C}"/>
          </ac:spMkLst>
        </pc:spChg>
        <pc:spChg chg="mod">
          <ac:chgData name="Falcão Lacerda, Rafael" userId="40181ff7-4694-4c53-a944-7b7d63582359" providerId="ADAL" clId="{3B4D5F63-EA56-4616-8A78-0C43AB7049E7}" dt="2025-12-08T03:06:00.483" v="14976"/>
          <ac:spMkLst>
            <pc:docMk/>
            <pc:sldMk cId="4079328676" sldId="1051"/>
            <ac:spMk id="62" creationId="{0B2EA449-F788-A22A-C560-C30CCC112525}"/>
          </ac:spMkLst>
        </pc:spChg>
        <pc:spChg chg="mod">
          <ac:chgData name="Falcão Lacerda, Rafael" userId="40181ff7-4694-4c53-a944-7b7d63582359" providerId="ADAL" clId="{3B4D5F63-EA56-4616-8A78-0C43AB7049E7}" dt="2025-12-08T03:06:00.483" v="14976"/>
          <ac:spMkLst>
            <pc:docMk/>
            <pc:sldMk cId="4079328676" sldId="1051"/>
            <ac:spMk id="63" creationId="{E3A1EC35-2751-8CCD-C222-444313C35FED}"/>
          </ac:spMkLst>
        </pc:spChg>
        <pc:spChg chg="mod">
          <ac:chgData name="Falcão Lacerda, Rafael" userId="40181ff7-4694-4c53-a944-7b7d63582359" providerId="ADAL" clId="{3B4D5F63-EA56-4616-8A78-0C43AB7049E7}" dt="2025-12-08T03:06:00.483" v="14976"/>
          <ac:spMkLst>
            <pc:docMk/>
            <pc:sldMk cId="4079328676" sldId="1051"/>
            <ac:spMk id="64" creationId="{0F1826D9-50FA-4012-4A3C-6846DF80636E}"/>
          </ac:spMkLst>
        </pc:spChg>
        <pc:spChg chg="mod">
          <ac:chgData name="Falcão Lacerda, Rafael" userId="40181ff7-4694-4c53-a944-7b7d63582359" providerId="ADAL" clId="{3B4D5F63-EA56-4616-8A78-0C43AB7049E7}" dt="2025-12-08T03:06:00.483" v="14976"/>
          <ac:spMkLst>
            <pc:docMk/>
            <pc:sldMk cId="4079328676" sldId="1051"/>
            <ac:spMk id="65" creationId="{506C9DC3-9733-193D-6FA7-A51AA83A79DC}"/>
          </ac:spMkLst>
        </pc:spChg>
        <pc:spChg chg="mod">
          <ac:chgData name="Falcão Lacerda, Rafael" userId="40181ff7-4694-4c53-a944-7b7d63582359" providerId="ADAL" clId="{3B4D5F63-EA56-4616-8A78-0C43AB7049E7}" dt="2025-12-08T03:06:00.483" v="14976"/>
          <ac:spMkLst>
            <pc:docMk/>
            <pc:sldMk cId="4079328676" sldId="1051"/>
            <ac:spMk id="66" creationId="{692B2431-47BF-A864-6FB2-9599F14BF5A8}"/>
          </ac:spMkLst>
        </pc:spChg>
        <pc:spChg chg="mod">
          <ac:chgData name="Falcão Lacerda, Rafael" userId="40181ff7-4694-4c53-a944-7b7d63582359" providerId="ADAL" clId="{3B4D5F63-EA56-4616-8A78-0C43AB7049E7}" dt="2025-12-08T03:06:00.483" v="14976"/>
          <ac:spMkLst>
            <pc:docMk/>
            <pc:sldMk cId="4079328676" sldId="1051"/>
            <ac:spMk id="67" creationId="{FB74682F-B7A0-5362-BB95-F025B1458309}"/>
          </ac:spMkLst>
        </pc:spChg>
        <pc:spChg chg="mod">
          <ac:chgData name="Falcão Lacerda, Rafael" userId="40181ff7-4694-4c53-a944-7b7d63582359" providerId="ADAL" clId="{3B4D5F63-EA56-4616-8A78-0C43AB7049E7}" dt="2025-12-08T03:06:00.483" v="14976"/>
          <ac:spMkLst>
            <pc:docMk/>
            <pc:sldMk cId="4079328676" sldId="1051"/>
            <ac:spMk id="68" creationId="{7032D726-9677-27CC-A3A6-F4053B22CAEF}"/>
          </ac:spMkLst>
        </pc:spChg>
        <pc:spChg chg="mod">
          <ac:chgData name="Falcão Lacerda, Rafael" userId="40181ff7-4694-4c53-a944-7b7d63582359" providerId="ADAL" clId="{3B4D5F63-EA56-4616-8A78-0C43AB7049E7}" dt="2025-12-08T03:07:15.118" v="14986"/>
          <ac:spMkLst>
            <pc:docMk/>
            <pc:sldMk cId="4079328676" sldId="1051"/>
            <ac:spMk id="75" creationId="{E9FD9DBD-1AA8-6330-B176-D5F186C6C6C5}"/>
          </ac:spMkLst>
        </pc:spChg>
        <pc:spChg chg="mod">
          <ac:chgData name="Falcão Lacerda, Rafael" userId="40181ff7-4694-4c53-a944-7b7d63582359" providerId="ADAL" clId="{3B4D5F63-EA56-4616-8A78-0C43AB7049E7}" dt="2025-12-08T03:07:15.118" v="14986"/>
          <ac:spMkLst>
            <pc:docMk/>
            <pc:sldMk cId="4079328676" sldId="1051"/>
            <ac:spMk id="76" creationId="{A3397D05-D720-4968-0C07-A2AA90543BE1}"/>
          </ac:spMkLst>
        </pc:spChg>
        <pc:spChg chg="mod">
          <ac:chgData name="Falcão Lacerda, Rafael" userId="40181ff7-4694-4c53-a944-7b7d63582359" providerId="ADAL" clId="{3B4D5F63-EA56-4616-8A78-0C43AB7049E7}" dt="2025-12-08T03:07:15.118" v="14986"/>
          <ac:spMkLst>
            <pc:docMk/>
            <pc:sldMk cId="4079328676" sldId="1051"/>
            <ac:spMk id="77" creationId="{85908930-5166-AC6C-1001-6EF14F0076B7}"/>
          </ac:spMkLst>
        </pc:spChg>
        <pc:spChg chg="mod">
          <ac:chgData name="Falcão Lacerda, Rafael" userId="40181ff7-4694-4c53-a944-7b7d63582359" providerId="ADAL" clId="{3B4D5F63-EA56-4616-8A78-0C43AB7049E7}" dt="2025-12-08T03:07:15.118" v="14986"/>
          <ac:spMkLst>
            <pc:docMk/>
            <pc:sldMk cId="4079328676" sldId="1051"/>
            <ac:spMk id="78" creationId="{2E3F375C-3D39-FC34-FDD3-71561234F561}"/>
          </ac:spMkLst>
        </pc:spChg>
        <pc:spChg chg="mod">
          <ac:chgData name="Falcão Lacerda, Rafael" userId="40181ff7-4694-4c53-a944-7b7d63582359" providerId="ADAL" clId="{3B4D5F63-EA56-4616-8A78-0C43AB7049E7}" dt="2025-12-08T03:07:15.118" v="14986"/>
          <ac:spMkLst>
            <pc:docMk/>
            <pc:sldMk cId="4079328676" sldId="1051"/>
            <ac:spMk id="79" creationId="{955DD6AF-29ED-F147-6703-BC59AF184070}"/>
          </ac:spMkLst>
        </pc:spChg>
        <pc:spChg chg="mod">
          <ac:chgData name="Falcão Lacerda, Rafael" userId="40181ff7-4694-4c53-a944-7b7d63582359" providerId="ADAL" clId="{3B4D5F63-EA56-4616-8A78-0C43AB7049E7}" dt="2025-12-08T03:07:15.118" v="14986"/>
          <ac:spMkLst>
            <pc:docMk/>
            <pc:sldMk cId="4079328676" sldId="1051"/>
            <ac:spMk id="80" creationId="{BB4D74B9-556F-81FA-C5AC-52F7C9F1D512}"/>
          </ac:spMkLst>
        </pc:spChg>
        <pc:spChg chg="mod">
          <ac:chgData name="Falcão Lacerda, Rafael" userId="40181ff7-4694-4c53-a944-7b7d63582359" providerId="ADAL" clId="{3B4D5F63-EA56-4616-8A78-0C43AB7049E7}" dt="2025-12-08T03:07:15.118" v="14986"/>
          <ac:spMkLst>
            <pc:docMk/>
            <pc:sldMk cId="4079328676" sldId="1051"/>
            <ac:spMk id="82" creationId="{BA96C00D-503A-5337-3215-4666B5E61F21}"/>
          </ac:spMkLst>
        </pc:spChg>
        <pc:spChg chg="mod">
          <ac:chgData name="Falcão Lacerda, Rafael" userId="40181ff7-4694-4c53-a944-7b7d63582359" providerId="ADAL" clId="{3B4D5F63-EA56-4616-8A78-0C43AB7049E7}" dt="2025-12-08T03:07:15.118" v="14986"/>
          <ac:spMkLst>
            <pc:docMk/>
            <pc:sldMk cId="4079328676" sldId="1051"/>
            <ac:spMk id="83" creationId="{79970DE5-0493-25DC-016D-4DC214687DB5}"/>
          </ac:spMkLst>
        </pc:spChg>
        <pc:spChg chg="mod">
          <ac:chgData name="Falcão Lacerda, Rafael" userId="40181ff7-4694-4c53-a944-7b7d63582359" providerId="ADAL" clId="{3B4D5F63-EA56-4616-8A78-0C43AB7049E7}" dt="2025-12-08T03:08:35.122" v="15010"/>
          <ac:spMkLst>
            <pc:docMk/>
            <pc:sldMk cId="4079328676" sldId="1051"/>
            <ac:spMk id="90" creationId="{BD2A801A-6AA9-3BC7-AD8F-E2984EC657B4}"/>
          </ac:spMkLst>
        </pc:spChg>
        <pc:spChg chg="mod">
          <ac:chgData name="Falcão Lacerda, Rafael" userId="40181ff7-4694-4c53-a944-7b7d63582359" providerId="ADAL" clId="{3B4D5F63-EA56-4616-8A78-0C43AB7049E7}" dt="2025-12-08T03:08:35.122" v="15010"/>
          <ac:spMkLst>
            <pc:docMk/>
            <pc:sldMk cId="4079328676" sldId="1051"/>
            <ac:spMk id="91" creationId="{0BC43C3C-74C7-96AD-742C-FD7188EF634C}"/>
          </ac:spMkLst>
        </pc:spChg>
        <pc:spChg chg="mod">
          <ac:chgData name="Falcão Lacerda, Rafael" userId="40181ff7-4694-4c53-a944-7b7d63582359" providerId="ADAL" clId="{3B4D5F63-EA56-4616-8A78-0C43AB7049E7}" dt="2025-12-08T03:08:35.122" v="15010"/>
          <ac:spMkLst>
            <pc:docMk/>
            <pc:sldMk cId="4079328676" sldId="1051"/>
            <ac:spMk id="92" creationId="{8DD40B30-CAB1-E9E2-B605-6FCF146EAF73}"/>
          </ac:spMkLst>
        </pc:spChg>
        <pc:spChg chg="mod">
          <ac:chgData name="Falcão Lacerda, Rafael" userId="40181ff7-4694-4c53-a944-7b7d63582359" providerId="ADAL" clId="{3B4D5F63-EA56-4616-8A78-0C43AB7049E7}" dt="2025-12-08T03:08:35.122" v="15010"/>
          <ac:spMkLst>
            <pc:docMk/>
            <pc:sldMk cId="4079328676" sldId="1051"/>
            <ac:spMk id="93" creationId="{5878F60A-7262-1C59-BB76-E1B9F58BE6EB}"/>
          </ac:spMkLst>
        </pc:spChg>
        <pc:spChg chg="mod">
          <ac:chgData name="Falcão Lacerda, Rafael" userId="40181ff7-4694-4c53-a944-7b7d63582359" providerId="ADAL" clId="{3B4D5F63-EA56-4616-8A78-0C43AB7049E7}" dt="2025-12-08T03:08:35.122" v="15010"/>
          <ac:spMkLst>
            <pc:docMk/>
            <pc:sldMk cId="4079328676" sldId="1051"/>
            <ac:spMk id="94" creationId="{2DD0E39B-3511-BD34-4A22-45F38C2639EF}"/>
          </ac:spMkLst>
        </pc:spChg>
        <pc:spChg chg="mod">
          <ac:chgData name="Falcão Lacerda, Rafael" userId="40181ff7-4694-4c53-a944-7b7d63582359" providerId="ADAL" clId="{3B4D5F63-EA56-4616-8A78-0C43AB7049E7}" dt="2025-12-08T03:08:35.122" v="15010"/>
          <ac:spMkLst>
            <pc:docMk/>
            <pc:sldMk cId="4079328676" sldId="1051"/>
            <ac:spMk id="95" creationId="{B24B8FB0-86AA-EFB4-2D42-EBAD3E537924}"/>
          </ac:spMkLst>
        </pc:spChg>
        <pc:spChg chg="mod">
          <ac:chgData name="Falcão Lacerda, Rafael" userId="40181ff7-4694-4c53-a944-7b7d63582359" providerId="ADAL" clId="{3B4D5F63-EA56-4616-8A78-0C43AB7049E7}" dt="2025-12-08T03:08:35.122" v="15010"/>
          <ac:spMkLst>
            <pc:docMk/>
            <pc:sldMk cId="4079328676" sldId="1051"/>
            <ac:spMk id="98" creationId="{98B8CDE2-6272-609F-1113-CBB6A4D419B3}"/>
          </ac:spMkLst>
        </pc:spChg>
        <pc:spChg chg="mod">
          <ac:chgData name="Falcão Lacerda, Rafael" userId="40181ff7-4694-4c53-a944-7b7d63582359" providerId="ADAL" clId="{3B4D5F63-EA56-4616-8A78-0C43AB7049E7}" dt="2025-12-08T03:08:35.122" v="15010"/>
          <ac:spMkLst>
            <pc:docMk/>
            <pc:sldMk cId="4079328676" sldId="1051"/>
            <ac:spMk id="99" creationId="{99D21C30-F2DF-5F07-752B-0E16E2B35D40}"/>
          </ac:spMkLst>
        </pc:spChg>
        <pc:spChg chg="mod">
          <ac:chgData name="Falcão Lacerda, Rafael" userId="40181ff7-4694-4c53-a944-7b7d63582359" providerId="ADAL" clId="{3B4D5F63-EA56-4616-8A78-0C43AB7049E7}" dt="2025-12-08T03:15:18.216" v="15105" actId="207"/>
          <ac:spMkLst>
            <pc:docMk/>
            <pc:sldMk cId="4079328676" sldId="1051"/>
            <ac:spMk id="111" creationId="{89805A61-3AAE-0173-74B9-4EF0F1F2F63E}"/>
          </ac:spMkLst>
        </pc:spChg>
        <pc:spChg chg="mod">
          <ac:chgData name="Falcão Lacerda, Rafael" userId="40181ff7-4694-4c53-a944-7b7d63582359" providerId="ADAL" clId="{3B4D5F63-EA56-4616-8A78-0C43AB7049E7}" dt="2025-12-08T03:15:18.216" v="15105" actId="207"/>
          <ac:spMkLst>
            <pc:docMk/>
            <pc:sldMk cId="4079328676" sldId="1051"/>
            <ac:spMk id="112" creationId="{E10B508F-A9D5-BE6D-3563-F27F038082F8}"/>
          </ac:spMkLst>
        </pc:spChg>
        <pc:spChg chg="mod">
          <ac:chgData name="Falcão Lacerda, Rafael" userId="40181ff7-4694-4c53-a944-7b7d63582359" providerId="ADAL" clId="{3B4D5F63-EA56-4616-8A78-0C43AB7049E7}" dt="2025-12-08T03:15:18.216" v="15105" actId="207"/>
          <ac:spMkLst>
            <pc:docMk/>
            <pc:sldMk cId="4079328676" sldId="1051"/>
            <ac:spMk id="113" creationId="{D33CDA47-627B-BFD0-3FF5-ADA19A28D988}"/>
          </ac:spMkLst>
        </pc:spChg>
        <pc:spChg chg="mod">
          <ac:chgData name="Falcão Lacerda, Rafael" userId="40181ff7-4694-4c53-a944-7b7d63582359" providerId="ADAL" clId="{3B4D5F63-EA56-4616-8A78-0C43AB7049E7}" dt="2025-12-08T03:15:18.216" v="15105" actId="207"/>
          <ac:spMkLst>
            <pc:docMk/>
            <pc:sldMk cId="4079328676" sldId="1051"/>
            <ac:spMk id="114" creationId="{F63EDB69-1EF5-E971-8EAB-CD3706AB0B36}"/>
          </ac:spMkLst>
        </pc:spChg>
        <pc:spChg chg="mod">
          <ac:chgData name="Falcão Lacerda, Rafael" userId="40181ff7-4694-4c53-a944-7b7d63582359" providerId="ADAL" clId="{3B4D5F63-EA56-4616-8A78-0C43AB7049E7}" dt="2025-12-08T03:15:18.216" v="15105" actId="207"/>
          <ac:spMkLst>
            <pc:docMk/>
            <pc:sldMk cId="4079328676" sldId="1051"/>
            <ac:spMk id="115" creationId="{5DC64927-EA13-AB1C-C86F-3DFE32721129}"/>
          </ac:spMkLst>
        </pc:spChg>
        <pc:spChg chg="mod">
          <ac:chgData name="Falcão Lacerda, Rafael" userId="40181ff7-4694-4c53-a944-7b7d63582359" providerId="ADAL" clId="{3B4D5F63-EA56-4616-8A78-0C43AB7049E7}" dt="2025-12-08T03:15:18.216" v="15105" actId="207"/>
          <ac:spMkLst>
            <pc:docMk/>
            <pc:sldMk cId="4079328676" sldId="1051"/>
            <ac:spMk id="116" creationId="{3C5E74B8-D040-7D7F-3214-06CB9D064833}"/>
          </ac:spMkLst>
        </pc:spChg>
        <pc:spChg chg="mod">
          <ac:chgData name="Falcão Lacerda, Rafael" userId="40181ff7-4694-4c53-a944-7b7d63582359" providerId="ADAL" clId="{3B4D5F63-EA56-4616-8A78-0C43AB7049E7}" dt="2025-12-08T03:15:18.216" v="15105" actId="207"/>
          <ac:spMkLst>
            <pc:docMk/>
            <pc:sldMk cId="4079328676" sldId="1051"/>
            <ac:spMk id="117" creationId="{C52CF7C2-112F-A32C-AC07-0C476BDF23EC}"/>
          </ac:spMkLst>
        </pc:spChg>
        <pc:spChg chg="mod">
          <ac:chgData name="Falcão Lacerda, Rafael" userId="40181ff7-4694-4c53-a944-7b7d63582359" providerId="ADAL" clId="{3B4D5F63-EA56-4616-8A78-0C43AB7049E7}" dt="2025-12-08T03:15:18.216" v="15105" actId="207"/>
          <ac:spMkLst>
            <pc:docMk/>
            <pc:sldMk cId="4079328676" sldId="1051"/>
            <ac:spMk id="118" creationId="{5E768180-9E11-407D-781E-8A16567FEF21}"/>
          </ac:spMkLst>
        </pc:spChg>
        <pc:spChg chg="add mod">
          <ac:chgData name="Falcão Lacerda, Rafael" userId="40181ff7-4694-4c53-a944-7b7d63582359" providerId="ADAL" clId="{3B4D5F63-EA56-4616-8A78-0C43AB7049E7}" dt="2025-12-08T03:26:06.340" v="15257"/>
          <ac:spMkLst>
            <pc:docMk/>
            <pc:sldMk cId="4079328676" sldId="1051"/>
            <ac:spMk id="119" creationId="{45CF2306-C815-FCC5-9E4F-26366272CE57}"/>
          </ac:spMkLst>
        </pc:spChg>
        <pc:grpChg chg="add del mod">
          <ac:chgData name="Falcão Lacerda, Rafael" userId="40181ff7-4694-4c53-a944-7b7d63582359" providerId="ADAL" clId="{3B4D5F63-EA56-4616-8A78-0C43AB7049E7}" dt="2025-12-08T02:52:14.191" v="14534" actId="478"/>
          <ac:grpSpMkLst>
            <pc:docMk/>
            <pc:sldMk cId="4079328676" sldId="1051"/>
            <ac:grpSpMk id="24" creationId="{055090E3-E114-7B9B-8533-7292F9F651AC}"/>
          </ac:grpSpMkLst>
        </pc:grpChg>
        <pc:grpChg chg="mod">
          <ac:chgData name="Falcão Lacerda, Rafael" userId="40181ff7-4694-4c53-a944-7b7d63582359" providerId="ADAL" clId="{3B4D5F63-EA56-4616-8A78-0C43AB7049E7}" dt="2025-12-08T02:51:57.044" v="14527"/>
          <ac:grpSpMkLst>
            <pc:docMk/>
            <pc:sldMk cId="4079328676" sldId="1051"/>
            <ac:grpSpMk id="25" creationId="{67FDFD4C-9C3C-A780-1C5E-6FCDB05058DE}"/>
          </ac:grpSpMkLst>
        </pc:grpChg>
        <pc:grpChg chg="mod">
          <ac:chgData name="Falcão Lacerda, Rafael" userId="40181ff7-4694-4c53-a944-7b7d63582359" providerId="ADAL" clId="{3B4D5F63-EA56-4616-8A78-0C43AB7049E7}" dt="2025-12-08T02:51:57.044" v="14527"/>
          <ac:grpSpMkLst>
            <pc:docMk/>
            <pc:sldMk cId="4079328676" sldId="1051"/>
            <ac:grpSpMk id="26" creationId="{C2E9A81F-A32B-9399-9676-7347E966A109}"/>
          </ac:grpSpMkLst>
        </pc:grpChg>
        <pc:grpChg chg="mod">
          <ac:chgData name="Falcão Lacerda, Rafael" userId="40181ff7-4694-4c53-a944-7b7d63582359" providerId="ADAL" clId="{3B4D5F63-EA56-4616-8A78-0C43AB7049E7}" dt="2025-12-08T02:51:57.044" v="14527"/>
          <ac:grpSpMkLst>
            <pc:docMk/>
            <pc:sldMk cId="4079328676" sldId="1051"/>
            <ac:grpSpMk id="27" creationId="{98999EE8-C0CC-07F0-47B0-AB9CF136FD37}"/>
          </ac:grpSpMkLst>
        </pc:grpChg>
        <pc:grpChg chg="add del mod">
          <ac:chgData name="Falcão Lacerda, Rafael" userId="40181ff7-4694-4c53-a944-7b7d63582359" providerId="ADAL" clId="{3B4D5F63-EA56-4616-8A78-0C43AB7049E7}" dt="2025-12-08T03:05:58.879" v="14975" actId="478"/>
          <ac:grpSpMkLst>
            <pc:docMk/>
            <pc:sldMk cId="4079328676" sldId="1051"/>
            <ac:grpSpMk id="37" creationId="{3732AF8A-4C52-09A1-BE26-095A2942EAD3}"/>
          </ac:grpSpMkLst>
        </pc:grpChg>
        <pc:grpChg chg="mod">
          <ac:chgData name="Falcão Lacerda, Rafael" userId="40181ff7-4694-4c53-a944-7b7d63582359" providerId="ADAL" clId="{3B4D5F63-EA56-4616-8A78-0C43AB7049E7}" dt="2025-12-08T02:52:25.656" v="14537"/>
          <ac:grpSpMkLst>
            <pc:docMk/>
            <pc:sldMk cId="4079328676" sldId="1051"/>
            <ac:grpSpMk id="38" creationId="{810B44CB-2576-BE20-737F-83B477F0481C}"/>
          </ac:grpSpMkLst>
        </pc:grpChg>
        <pc:grpChg chg="mod">
          <ac:chgData name="Falcão Lacerda, Rafael" userId="40181ff7-4694-4c53-a944-7b7d63582359" providerId="ADAL" clId="{3B4D5F63-EA56-4616-8A78-0C43AB7049E7}" dt="2025-12-08T02:52:25.656" v="14537"/>
          <ac:grpSpMkLst>
            <pc:docMk/>
            <pc:sldMk cId="4079328676" sldId="1051"/>
            <ac:grpSpMk id="39" creationId="{F37B6990-9F4D-3997-66E7-D5B65FE4B24D}"/>
          </ac:grpSpMkLst>
        </pc:grpChg>
        <pc:grpChg chg="mod">
          <ac:chgData name="Falcão Lacerda, Rafael" userId="40181ff7-4694-4c53-a944-7b7d63582359" providerId="ADAL" clId="{3B4D5F63-EA56-4616-8A78-0C43AB7049E7}" dt="2025-12-08T02:52:25.656" v="14537"/>
          <ac:grpSpMkLst>
            <pc:docMk/>
            <pc:sldMk cId="4079328676" sldId="1051"/>
            <ac:grpSpMk id="40" creationId="{0271333C-17D0-3A99-D6B4-501C0F4922F2}"/>
          </ac:grpSpMkLst>
        </pc:grpChg>
        <pc:grpChg chg="del mod">
          <ac:chgData name="Falcão Lacerda, Rafael" userId="40181ff7-4694-4c53-a944-7b7d63582359" providerId="ADAL" clId="{3B4D5F63-EA56-4616-8A78-0C43AB7049E7}" dt="2025-12-08T03:07:13.675" v="14985" actId="478"/>
          <ac:grpSpMkLst>
            <pc:docMk/>
            <pc:sldMk cId="4079328676" sldId="1051"/>
            <ac:grpSpMk id="50" creationId="{742FFC21-91B3-A4A2-B0D8-93DEBB208752}"/>
          </ac:grpSpMkLst>
        </pc:grpChg>
        <pc:grpChg chg="del mod">
          <ac:chgData name="Falcão Lacerda, Rafael" userId="40181ff7-4694-4c53-a944-7b7d63582359" providerId="ADAL" clId="{3B4D5F63-EA56-4616-8A78-0C43AB7049E7}" dt="2025-12-08T03:08:34.773" v="15009" actId="478"/>
          <ac:grpSpMkLst>
            <pc:docMk/>
            <pc:sldMk cId="4079328676" sldId="1051"/>
            <ac:grpSpMk id="69" creationId="{02301875-44E8-D819-3E72-F099529E0EA9}"/>
          </ac:grpSpMkLst>
        </pc:grpChg>
        <pc:grpChg chg="del mod">
          <ac:chgData name="Falcão Lacerda, Rafael" userId="40181ff7-4694-4c53-a944-7b7d63582359" providerId="ADAL" clId="{3B4D5F63-EA56-4616-8A78-0C43AB7049E7}" dt="2025-12-08T03:15:03.930" v="15100" actId="478"/>
          <ac:grpSpMkLst>
            <pc:docMk/>
            <pc:sldMk cId="4079328676" sldId="1051"/>
            <ac:grpSpMk id="84" creationId="{5EA8884B-3C5B-AAD6-52C0-4E0D9FB1A110}"/>
          </ac:grpSpMkLst>
        </pc:grpChg>
        <pc:grpChg chg="mod">
          <ac:chgData name="Falcão Lacerda, Rafael" userId="40181ff7-4694-4c53-a944-7b7d63582359" providerId="ADAL" clId="{3B4D5F63-EA56-4616-8A78-0C43AB7049E7}" dt="2025-12-08T03:15:15.681" v="15104" actId="1076"/>
          <ac:grpSpMkLst>
            <pc:docMk/>
            <pc:sldMk cId="4079328676" sldId="1051"/>
            <ac:grpSpMk id="100" creationId="{16D5FE86-ABDC-9330-2110-7B901D5E6F14}"/>
          </ac:grpSpMkLst>
        </pc:grpChg>
        <pc:graphicFrameChg chg="mod">
          <ac:chgData name="Falcão Lacerda, Rafael" userId="40181ff7-4694-4c53-a944-7b7d63582359" providerId="ADAL" clId="{3B4D5F63-EA56-4616-8A78-0C43AB7049E7}" dt="2025-12-08T02:28:28.348" v="14302"/>
          <ac:graphicFrameMkLst>
            <pc:docMk/>
            <pc:sldMk cId="4079328676" sldId="1051"/>
            <ac:graphicFrameMk id="4" creationId="{B6AE67B5-F743-4212-4750-2D4C7FE49CD5}"/>
          </ac:graphicFrameMkLst>
        </pc:graphicFrameChg>
        <pc:picChg chg="add del">
          <ac:chgData name="Falcão Lacerda, Rafael" userId="40181ff7-4694-4c53-a944-7b7d63582359" providerId="ADAL" clId="{3B4D5F63-EA56-4616-8A78-0C43AB7049E7}" dt="2025-12-08T02:40:40.154" v="14350" actId="478"/>
          <ac:picMkLst>
            <pc:docMk/>
            <pc:sldMk cId="4079328676" sldId="1051"/>
            <ac:picMk id="8" creationId="{32AFC6CD-B5DC-1F4A-3EF0-8698717C8FD2}"/>
          </ac:picMkLst>
        </pc:picChg>
        <pc:picChg chg="add del mod">
          <ac:chgData name="Falcão Lacerda, Rafael" userId="40181ff7-4694-4c53-a944-7b7d63582359" providerId="ADAL" clId="{3B4D5F63-EA56-4616-8A78-0C43AB7049E7}" dt="2025-12-08T02:51:56.733" v="14526" actId="478"/>
          <ac:picMkLst>
            <pc:docMk/>
            <pc:sldMk cId="4079328676" sldId="1051"/>
            <ac:picMk id="10" creationId="{BCC74D16-F5CF-5688-47ED-6E5B9F9869C4}"/>
          </ac:picMkLst>
        </pc:picChg>
        <pc:picChg chg="add del mod">
          <ac:chgData name="Falcão Lacerda, Rafael" userId="40181ff7-4694-4c53-a944-7b7d63582359" providerId="ADAL" clId="{3B4D5F63-EA56-4616-8A78-0C43AB7049E7}" dt="2025-12-08T02:51:56.733" v="14526" actId="478"/>
          <ac:picMkLst>
            <pc:docMk/>
            <pc:sldMk cId="4079328676" sldId="1051"/>
            <ac:picMk id="12" creationId="{F2F98B6C-22DD-DC44-E91E-D95DC5DD3DC7}"/>
          </ac:picMkLst>
        </pc:picChg>
        <pc:picChg chg="add del mod">
          <ac:chgData name="Falcão Lacerda, Rafael" userId="40181ff7-4694-4c53-a944-7b7d63582359" providerId="ADAL" clId="{3B4D5F63-EA56-4616-8A78-0C43AB7049E7}" dt="2025-12-08T02:51:56.733" v="14526" actId="478"/>
          <ac:picMkLst>
            <pc:docMk/>
            <pc:sldMk cId="4079328676" sldId="1051"/>
            <ac:picMk id="14" creationId="{9BE2BD5E-261F-9BD0-65C0-894271709508}"/>
          </ac:picMkLst>
        </pc:picChg>
        <pc:picChg chg="mod">
          <ac:chgData name="Falcão Lacerda, Rafael" userId="40181ff7-4694-4c53-a944-7b7d63582359" providerId="ADAL" clId="{3B4D5F63-EA56-4616-8A78-0C43AB7049E7}" dt="2025-12-08T02:51:57.044" v="14527"/>
          <ac:picMkLst>
            <pc:docMk/>
            <pc:sldMk cId="4079328676" sldId="1051"/>
            <ac:picMk id="32" creationId="{6C038DCC-E9D8-FAD1-156B-23BF9272869A}"/>
          </ac:picMkLst>
        </pc:picChg>
        <pc:picChg chg="mod">
          <ac:chgData name="Falcão Lacerda, Rafael" userId="40181ff7-4694-4c53-a944-7b7d63582359" providerId="ADAL" clId="{3B4D5F63-EA56-4616-8A78-0C43AB7049E7}" dt="2025-12-08T02:51:57.044" v="14527"/>
          <ac:picMkLst>
            <pc:docMk/>
            <pc:sldMk cId="4079328676" sldId="1051"/>
            <ac:picMk id="34" creationId="{A86E5B45-049E-D63A-287F-171A9BE348A2}"/>
          </ac:picMkLst>
        </pc:picChg>
        <pc:picChg chg="mod">
          <ac:chgData name="Falcão Lacerda, Rafael" userId="40181ff7-4694-4c53-a944-7b7d63582359" providerId="ADAL" clId="{3B4D5F63-EA56-4616-8A78-0C43AB7049E7}" dt="2025-12-08T02:51:57.044" v="14527"/>
          <ac:picMkLst>
            <pc:docMk/>
            <pc:sldMk cId="4079328676" sldId="1051"/>
            <ac:picMk id="36" creationId="{035D88F3-1F93-360A-9218-7B4DF70F1246}"/>
          </ac:picMkLst>
        </pc:picChg>
        <pc:picChg chg="mod">
          <ac:chgData name="Falcão Lacerda, Rafael" userId="40181ff7-4694-4c53-a944-7b7d63582359" providerId="ADAL" clId="{3B4D5F63-EA56-4616-8A78-0C43AB7049E7}" dt="2025-12-08T02:52:25.656" v="14537"/>
          <ac:picMkLst>
            <pc:docMk/>
            <pc:sldMk cId="4079328676" sldId="1051"/>
            <ac:picMk id="45" creationId="{DAF9E1C2-EEA8-0192-E91C-EB711D7646A1}"/>
          </ac:picMkLst>
        </pc:picChg>
        <pc:picChg chg="mod">
          <ac:chgData name="Falcão Lacerda, Rafael" userId="40181ff7-4694-4c53-a944-7b7d63582359" providerId="ADAL" clId="{3B4D5F63-EA56-4616-8A78-0C43AB7049E7}" dt="2025-12-08T02:52:25.656" v="14537"/>
          <ac:picMkLst>
            <pc:docMk/>
            <pc:sldMk cId="4079328676" sldId="1051"/>
            <ac:picMk id="47" creationId="{A87BD223-93FF-D6A9-F377-DB11B86DA796}"/>
          </ac:picMkLst>
        </pc:picChg>
        <pc:picChg chg="mod">
          <ac:chgData name="Falcão Lacerda, Rafael" userId="40181ff7-4694-4c53-a944-7b7d63582359" providerId="ADAL" clId="{3B4D5F63-EA56-4616-8A78-0C43AB7049E7}" dt="2025-12-08T02:52:25.656" v="14537"/>
          <ac:picMkLst>
            <pc:docMk/>
            <pc:sldMk cId="4079328676" sldId="1051"/>
            <ac:picMk id="49" creationId="{B09CEF42-B911-9EDB-49A5-4DE59BF67CD3}"/>
          </ac:picMkLst>
        </pc:picChg>
        <pc:picChg chg="mod">
          <ac:chgData name="Falcão Lacerda, Rafael" userId="40181ff7-4694-4c53-a944-7b7d63582359" providerId="ADAL" clId="{3B4D5F63-EA56-4616-8A78-0C43AB7049E7}" dt="2025-12-08T03:06:00.483" v="14976"/>
          <ac:picMkLst>
            <pc:docMk/>
            <pc:sldMk cId="4079328676" sldId="1051"/>
            <ac:picMk id="52" creationId="{EA378203-B345-0B06-152B-E40D84BBA7F2}"/>
          </ac:picMkLst>
        </pc:picChg>
        <pc:picChg chg="mod">
          <ac:chgData name="Falcão Lacerda, Rafael" userId="40181ff7-4694-4c53-a944-7b7d63582359" providerId="ADAL" clId="{3B4D5F63-EA56-4616-8A78-0C43AB7049E7}" dt="2025-12-08T03:06:00.483" v="14976"/>
          <ac:picMkLst>
            <pc:docMk/>
            <pc:sldMk cId="4079328676" sldId="1051"/>
            <ac:picMk id="53" creationId="{278BFE45-A223-6255-6308-64F763290525}"/>
          </ac:picMkLst>
        </pc:picChg>
        <pc:picChg chg="mod">
          <ac:chgData name="Falcão Lacerda, Rafael" userId="40181ff7-4694-4c53-a944-7b7d63582359" providerId="ADAL" clId="{3B4D5F63-EA56-4616-8A78-0C43AB7049E7}" dt="2025-12-08T03:07:15.118" v="14986"/>
          <ac:picMkLst>
            <pc:docMk/>
            <pc:sldMk cId="4079328676" sldId="1051"/>
            <ac:picMk id="70" creationId="{F236F4A6-E98E-6CDA-B65B-0DCBE56D7086}"/>
          </ac:picMkLst>
        </pc:picChg>
        <pc:picChg chg="mod">
          <ac:chgData name="Falcão Lacerda, Rafael" userId="40181ff7-4694-4c53-a944-7b7d63582359" providerId="ADAL" clId="{3B4D5F63-EA56-4616-8A78-0C43AB7049E7}" dt="2025-12-08T03:07:15.118" v="14986"/>
          <ac:picMkLst>
            <pc:docMk/>
            <pc:sldMk cId="4079328676" sldId="1051"/>
            <ac:picMk id="72" creationId="{08F05A43-76E0-ED7A-E7BE-889CE97481A2}"/>
          </ac:picMkLst>
        </pc:picChg>
        <pc:picChg chg="mod">
          <ac:chgData name="Falcão Lacerda, Rafael" userId="40181ff7-4694-4c53-a944-7b7d63582359" providerId="ADAL" clId="{3B4D5F63-EA56-4616-8A78-0C43AB7049E7}" dt="2025-12-08T03:08:35.122" v="15010"/>
          <ac:picMkLst>
            <pc:docMk/>
            <pc:sldMk cId="4079328676" sldId="1051"/>
            <ac:picMk id="85" creationId="{DB86CB1E-F8B8-620E-CB0C-FC64667BDB49}"/>
          </ac:picMkLst>
        </pc:picChg>
        <pc:picChg chg="mod">
          <ac:chgData name="Falcão Lacerda, Rafael" userId="40181ff7-4694-4c53-a944-7b7d63582359" providerId="ADAL" clId="{3B4D5F63-EA56-4616-8A78-0C43AB7049E7}" dt="2025-12-08T03:08:35.122" v="15010"/>
          <ac:picMkLst>
            <pc:docMk/>
            <pc:sldMk cId="4079328676" sldId="1051"/>
            <ac:picMk id="86" creationId="{3FC26452-96A8-0F40-A539-42F88357AB45}"/>
          </ac:picMkLst>
        </pc:picChg>
        <pc:picChg chg="mod">
          <ac:chgData name="Falcão Lacerda, Rafael" userId="40181ff7-4694-4c53-a944-7b7d63582359" providerId="ADAL" clId="{3B4D5F63-EA56-4616-8A78-0C43AB7049E7}" dt="2025-12-08T03:15:05.378" v="15101"/>
          <ac:picMkLst>
            <pc:docMk/>
            <pc:sldMk cId="4079328676" sldId="1051"/>
            <ac:picMk id="105" creationId="{22623ED7-F0D0-86C1-6DAB-7505CBEF5140}"/>
          </ac:picMkLst>
        </pc:picChg>
        <pc:picChg chg="mod">
          <ac:chgData name="Falcão Lacerda, Rafael" userId="40181ff7-4694-4c53-a944-7b7d63582359" providerId="ADAL" clId="{3B4D5F63-EA56-4616-8A78-0C43AB7049E7}" dt="2025-12-08T03:15:05.378" v="15101"/>
          <ac:picMkLst>
            <pc:docMk/>
            <pc:sldMk cId="4079328676" sldId="1051"/>
            <ac:picMk id="108" creationId="{66FE6972-6E27-D49C-BF42-D938C7081685}"/>
          </ac:picMkLst>
        </pc:picChg>
        <pc:cxnChg chg="mod">
          <ac:chgData name="Falcão Lacerda, Rafael" userId="40181ff7-4694-4c53-a944-7b7d63582359" providerId="ADAL" clId="{3B4D5F63-EA56-4616-8A78-0C43AB7049E7}" dt="2025-12-08T02:52:14.191" v="14534" actId="478"/>
          <ac:cxnSpMkLst>
            <pc:docMk/>
            <pc:sldMk cId="4079328676" sldId="1051"/>
            <ac:cxnSpMk id="30" creationId="{BC7FE8F0-F856-0EB0-5CED-45DF4CE277B4}"/>
          </ac:cxnSpMkLst>
        </pc:cxnChg>
        <pc:cxnChg chg="mod">
          <ac:chgData name="Falcão Lacerda, Rafael" userId="40181ff7-4694-4c53-a944-7b7d63582359" providerId="ADAL" clId="{3B4D5F63-EA56-4616-8A78-0C43AB7049E7}" dt="2025-12-08T03:05:58.879" v="14975" actId="478"/>
          <ac:cxnSpMkLst>
            <pc:docMk/>
            <pc:sldMk cId="4079328676" sldId="1051"/>
            <ac:cxnSpMk id="43" creationId="{6568CE6A-703C-4354-4DF6-62691CA7EFF8}"/>
          </ac:cxnSpMkLst>
        </pc:cxnChg>
      </pc:sldChg>
      <pc:sldChg chg="addSp delSp modSp add del mod">
        <pc:chgData name="Falcão Lacerda, Rafael" userId="40181ff7-4694-4c53-a944-7b7d63582359" providerId="ADAL" clId="{3B4D5F63-EA56-4616-8A78-0C43AB7049E7}" dt="2025-12-08T03:24:53.875" v="15252" actId="47"/>
        <pc:sldMkLst>
          <pc:docMk/>
          <pc:sldMk cId="436745107" sldId="1052"/>
        </pc:sldMkLst>
        <pc:spChg chg="add del mod modVis">
          <ac:chgData name="Falcão Lacerda, Rafael" userId="40181ff7-4694-4c53-a944-7b7d63582359" providerId="ADAL" clId="{3B4D5F63-EA56-4616-8A78-0C43AB7049E7}" dt="2025-12-08T03:22:37.406" v="15145"/>
          <ac:spMkLst>
            <pc:docMk/>
            <pc:sldMk cId="436745107" sldId="1052"/>
            <ac:spMk id="2" creationId="{01E75152-C8C1-E970-0D4D-7C07BB280788}"/>
          </ac:spMkLst>
        </pc:spChg>
        <pc:spChg chg="add del mod modVis">
          <ac:chgData name="Falcão Lacerda, Rafael" userId="40181ff7-4694-4c53-a944-7b7d63582359" providerId="ADAL" clId="{3B4D5F63-EA56-4616-8A78-0C43AB7049E7}" dt="2025-12-08T03:22:51.864" v="15197"/>
          <ac:spMkLst>
            <pc:docMk/>
            <pc:sldMk cId="436745107" sldId="1052"/>
            <ac:spMk id="6" creationId="{E07C0910-E75A-FEFA-D335-66F3D2BDEAEB}"/>
          </ac:spMkLst>
        </pc:spChg>
        <pc:spChg chg="mod">
          <ac:chgData name="Falcão Lacerda, Rafael" userId="40181ff7-4694-4c53-a944-7b7d63582359" providerId="ADAL" clId="{3B4D5F63-EA56-4616-8A78-0C43AB7049E7}" dt="2025-12-08T03:22:51.842" v="15176" actId="948"/>
          <ac:spMkLst>
            <pc:docMk/>
            <pc:sldMk cId="436745107" sldId="1052"/>
            <ac:spMk id="22" creationId="{E6FED4F8-4DF8-CD62-6960-CAB877A88E7E}"/>
          </ac:spMkLst>
        </pc:spChg>
        <pc:graphicFrameChg chg="mod">
          <ac:chgData name="Falcão Lacerda, Rafael" userId="40181ff7-4694-4c53-a944-7b7d63582359" providerId="ADAL" clId="{3B4D5F63-EA56-4616-8A78-0C43AB7049E7}" dt="2025-12-08T03:22:51.864" v="15199"/>
          <ac:graphicFrameMkLst>
            <pc:docMk/>
            <pc:sldMk cId="436745107" sldId="1052"/>
            <ac:graphicFrameMk id="3" creationId="{4B0DCF18-34D9-A241-D24B-C0BD81684D6F}"/>
          </ac:graphicFrameMkLst>
        </pc:graphicFrameChg>
      </pc:sldChg>
      <pc:sldChg chg="addSp delSp modSp add del mod ord">
        <pc:chgData name="Falcão Lacerda, Rafael" userId="40181ff7-4694-4c53-a944-7b7d63582359" providerId="ADAL" clId="{3B4D5F63-EA56-4616-8A78-0C43AB7049E7}" dt="2025-12-08T03:16:41.912" v="15112" actId="47"/>
        <pc:sldMkLst>
          <pc:docMk/>
          <pc:sldMk cId="1430835055" sldId="1052"/>
        </pc:sldMkLst>
        <pc:spChg chg="del">
          <ac:chgData name="Falcão Lacerda, Rafael" userId="40181ff7-4694-4c53-a944-7b7d63582359" providerId="ADAL" clId="{3B4D5F63-EA56-4616-8A78-0C43AB7049E7}" dt="2025-12-08T02:47:55.974" v="14438" actId="478"/>
          <ac:spMkLst>
            <pc:docMk/>
            <pc:sldMk cId="1430835055" sldId="1052"/>
            <ac:spMk id="2" creationId="{A34730A3-F841-00BC-A3A0-1D5433D015ED}"/>
          </ac:spMkLst>
        </pc:spChg>
        <pc:spChg chg="add mod topLvl">
          <ac:chgData name="Falcão Lacerda, Rafael" userId="40181ff7-4694-4c53-a944-7b7d63582359" providerId="ADAL" clId="{3B4D5F63-EA56-4616-8A78-0C43AB7049E7}" dt="2025-12-08T03:14:45.439" v="15095" actId="165"/>
          <ac:spMkLst>
            <pc:docMk/>
            <pc:sldMk cId="1430835055" sldId="1052"/>
            <ac:spMk id="3" creationId="{54F908E6-B9FD-0A2B-3BEE-D99EC17A249C}"/>
          </ac:spMkLst>
        </pc:spChg>
        <pc:spChg chg="add mod topLvl">
          <ac:chgData name="Falcão Lacerda, Rafael" userId="40181ff7-4694-4c53-a944-7b7d63582359" providerId="ADAL" clId="{3B4D5F63-EA56-4616-8A78-0C43AB7049E7}" dt="2025-12-08T03:14:45.439" v="15095" actId="165"/>
          <ac:spMkLst>
            <pc:docMk/>
            <pc:sldMk cId="1430835055" sldId="1052"/>
            <ac:spMk id="5" creationId="{E4BF7A2A-E3F2-6F39-7769-22AD15FAAB17}"/>
          </ac:spMkLst>
        </pc:spChg>
        <pc:spChg chg="add mod topLvl">
          <ac:chgData name="Falcão Lacerda, Rafael" userId="40181ff7-4694-4c53-a944-7b7d63582359" providerId="ADAL" clId="{3B4D5F63-EA56-4616-8A78-0C43AB7049E7}" dt="2025-12-08T03:14:45.439" v="15095" actId="165"/>
          <ac:spMkLst>
            <pc:docMk/>
            <pc:sldMk cId="1430835055" sldId="1052"/>
            <ac:spMk id="6" creationId="{935B1F6E-56B3-2207-17EB-AAD382037A0F}"/>
          </ac:spMkLst>
        </pc:spChg>
        <pc:spChg chg="add del mod">
          <ac:chgData name="Falcão Lacerda, Rafael" userId="40181ff7-4694-4c53-a944-7b7d63582359" providerId="ADAL" clId="{3B4D5F63-EA56-4616-8A78-0C43AB7049E7}" dt="2025-12-08T02:47:57.885" v="14441" actId="478"/>
          <ac:spMkLst>
            <pc:docMk/>
            <pc:sldMk cId="1430835055" sldId="1052"/>
            <ac:spMk id="11" creationId="{405CCF68-DF0C-87A2-8168-1FEA2084E26C}"/>
          </ac:spMkLst>
        </pc:spChg>
        <pc:spChg chg="add mod topLvl">
          <ac:chgData name="Falcão Lacerda, Rafael" userId="40181ff7-4694-4c53-a944-7b7d63582359" providerId="ADAL" clId="{3B4D5F63-EA56-4616-8A78-0C43AB7049E7}" dt="2025-12-08T03:14:45.439" v="15095" actId="165"/>
          <ac:spMkLst>
            <pc:docMk/>
            <pc:sldMk cId="1430835055" sldId="1052"/>
            <ac:spMk id="24" creationId="{AE32C311-6B30-BA41-ABD7-2BADB24B5A95}"/>
          </ac:spMkLst>
        </pc:spChg>
        <pc:spChg chg="add mod topLvl">
          <ac:chgData name="Falcão Lacerda, Rafael" userId="40181ff7-4694-4c53-a944-7b7d63582359" providerId="ADAL" clId="{3B4D5F63-EA56-4616-8A78-0C43AB7049E7}" dt="2025-12-08T03:14:45.439" v="15095" actId="165"/>
          <ac:spMkLst>
            <pc:docMk/>
            <pc:sldMk cId="1430835055" sldId="1052"/>
            <ac:spMk id="25" creationId="{740D6863-B819-CE44-2B7E-FDFDCDB60801}"/>
          </ac:spMkLst>
        </pc:spChg>
        <pc:spChg chg="add mod topLvl">
          <ac:chgData name="Falcão Lacerda, Rafael" userId="40181ff7-4694-4c53-a944-7b7d63582359" providerId="ADAL" clId="{3B4D5F63-EA56-4616-8A78-0C43AB7049E7}" dt="2025-12-08T03:14:45.439" v="15095" actId="165"/>
          <ac:spMkLst>
            <pc:docMk/>
            <pc:sldMk cId="1430835055" sldId="1052"/>
            <ac:spMk id="26" creationId="{77E985BA-FE3A-3AE8-C568-7AD152A0485E}"/>
          </ac:spMkLst>
        </pc:spChg>
        <pc:spChg chg="add del mod topLvl">
          <ac:chgData name="Falcão Lacerda, Rafael" userId="40181ff7-4694-4c53-a944-7b7d63582359" providerId="ADAL" clId="{3B4D5F63-EA56-4616-8A78-0C43AB7049E7}" dt="2025-12-08T03:05:33.918" v="14973" actId="478"/>
          <ac:spMkLst>
            <pc:docMk/>
            <pc:sldMk cId="1430835055" sldId="1052"/>
            <ac:spMk id="33" creationId="{C9851C1A-577E-75F2-54DA-BEB7B157A958}"/>
          </ac:spMkLst>
        </pc:spChg>
        <pc:spChg chg="mod">
          <ac:chgData name="Falcão Lacerda, Rafael" userId="40181ff7-4694-4c53-a944-7b7d63582359" providerId="ADAL" clId="{3B4D5F63-EA56-4616-8A78-0C43AB7049E7}" dt="2025-12-08T03:00:32.226" v="14812"/>
          <ac:spMkLst>
            <pc:docMk/>
            <pc:sldMk cId="1430835055" sldId="1052"/>
            <ac:spMk id="35" creationId="{022EEE8E-2800-6CA6-21CD-0E777909A9F2}"/>
          </ac:spMkLst>
        </pc:spChg>
        <pc:spChg chg="mod">
          <ac:chgData name="Falcão Lacerda, Rafael" userId="40181ff7-4694-4c53-a944-7b7d63582359" providerId="ADAL" clId="{3B4D5F63-EA56-4616-8A78-0C43AB7049E7}" dt="2025-12-08T03:00:32.226" v="14812"/>
          <ac:spMkLst>
            <pc:docMk/>
            <pc:sldMk cId="1430835055" sldId="1052"/>
            <ac:spMk id="36" creationId="{EB1F783A-48AB-3E20-C610-7327A1AD6F78}"/>
          </ac:spMkLst>
        </pc:spChg>
        <pc:spChg chg="add mod">
          <ac:chgData name="Falcão Lacerda, Rafael" userId="40181ff7-4694-4c53-a944-7b7d63582359" providerId="ADAL" clId="{3B4D5F63-EA56-4616-8A78-0C43AB7049E7}" dt="2025-12-08T03:00:32.226" v="14812"/>
          <ac:spMkLst>
            <pc:docMk/>
            <pc:sldMk cId="1430835055" sldId="1052"/>
            <ac:spMk id="37" creationId="{FDD98353-B55A-BE72-0193-EB24E0CAB21C}"/>
          </ac:spMkLst>
        </pc:spChg>
        <pc:spChg chg="add del mod topLvl">
          <ac:chgData name="Falcão Lacerda, Rafael" userId="40181ff7-4694-4c53-a944-7b7d63582359" providerId="ADAL" clId="{3B4D5F63-EA56-4616-8A78-0C43AB7049E7}" dt="2025-12-08T03:05:29.153" v="14971" actId="478"/>
          <ac:spMkLst>
            <pc:docMk/>
            <pc:sldMk cId="1430835055" sldId="1052"/>
            <ac:spMk id="38" creationId="{B124094A-12C8-1926-0FC8-3F20314F80B6}"/>
          </ac:spMkLst>
        </pc:spChg>
        <pc:spChg chg="add del mod topLvl">
          <ac:chgData name="Falcão Lacerda, Rafael" userId="40181ff7-4694-4c53-a944-7b7d63582359" providerId="ADAL" clId="{3B4D5F63-EA56-4616-8A78-0C43AB7049E7}" dt="2025-12-08T03:05:21.800" v="14969" actId="478"/>
          <ac:spMkLst>
            <pc:docMk/>
            <pc:sldMk cId="1430835055" sldId="1052"/>
            <ac:spMk id="40" creationId="{874C89CC-B31F-DA50-A13B-16E45E2301C7}"/>
          </ac:spMkLst>
        </pc:spChg>
        <pc:spChg chg="mod topLvl">
          <ac:chgData name="Falcão Lacerda, Rafael" userId="40181ff7-4694-4c53-a944-7b7d63582359" providerId="ADAL" clId="{3B4D5F63-EA56-4616-8A78-0C43AB7049E7}" dt="2025-12-08T03:13:59.557" v="15090" actId="164"/>
          <ac:spMkLst>
            <pc:docMk/>
            <pc:sldMk cId="1430835055" sldId="1052"/>
            <ac:spMk id="46" creationId="{A149A25C-A38C-AB95-2F32-6B79F3599CB2}"/>
          </ac:spMkLst>
        </pc:spChg>
        <pc:spChg chg="mod topLvl">
          <ac:chgData name="Falcão Lacerda, Rafael" userId="40181ff7-4694-4c53-a944-7b7d63582359" providerId="ADAL" clId="{3B4D5F63-EA56-4616-8A78-0C43AB7049E7}" dt="2025-12-08T03:13:59.557" v="15090" actId="164"/>
          <ac:spMkLst>
            <pc:docMk/>
            <pc:sldMk cId="1430835055" sldId="1052"/>
            <ac:spMk id="47" creationId="{1D274B1C-4C4C-8B81-E2A5-ED28D448A3B0}"/>
          </ac:spMkLst>
        </pc:spChg>
        <pc:spChg chg="add del mod topLvl">
          <ac:chgData name="Falcão Lacerda, Rafael" userId="40181ff7-4694-4c53-a944-7b7d63582359" providerId="ADAL" clId="{3B4D5F63-EA56-4616-8A78-0C43AB7049E7}" dt="2025-12-08T03:14:52.372" v="15098" actId="478"/>
          <ac:spMkLst>
            <pc:docMk/>
            <pc:sldMk cId="1430835055" sldId="1052"/>
            <ac:spMk id="57" creationId="{72E38222-5851-07B9-5C4F-5FD831578FC4}"/>
          </ac:spMkLst>
        </pc:spChg>
        <pc:spChg chg="add del mod topLvl">
          <ac:chgData name="Falcão Lacerda, Rafael" userId="40181ff7-4694-4c53-a944-7b7d63582359" providerId="ADAL" clId="{3B4D5F63-EA56-4616-8A78-0C43AB7049E7}" dt="2025-12-08T03:14:50.215" v="15097" actId="478"/>
          <ac:spMkLst>
            <pc:docMk/>
            <pc:sldMk cId="1430835055" sldId="1052"/>
            <ac:spMk id="59" creationId="{F1BE7985-48A3-6F00-B4DD-4FB85636D8C4}"/>
          </ac:spMkLst>
        </pc:spChg>
        <pc:spChg chg="add del mod topLvl">
          <ac:chgData name="Falcão Lacerda, Rafael" userId="40181ff7-4694-4c53-a944-7b7d63582359" providerId="ADAL" clId="{3B4D5F63-EA56-4616-8A78-0C43AB7049E7}" dt="2025-12-08T03:14:48.529" v="15096" actId="478"/>
          <ac:spMkLst>
            <pc:docMk/>
            <pc:sldMk cId="1430835055" sldId="1052"/>
            <ac:spMk id="60" creationId="{82D2911F-7844-6239-A17B-423DAD31719C}"/>
          </ac:spMkLst>
        </pc:spChg>
        <pc:grpChg chg="add del mod topLvl">
          <ac:chgData name="Falcão Lacerda, Rafael" userId="40181ff7-4694-4c53-a944-7b7d63582359" providerId="ADAL" clId="{3B4D5F63-EA56-4616-8A78-0C43AB7049E7}" dt="2025-12-08T02:57:58.664" v="14763" actId="165"/>
          <ac:grpSpMkLst>
            <pc:docMk/>
            <pc:sldMk cId="1430835055" sldId="1052"/>
            <ac:grpSpMk id="12" creationId="{8BD7C754-163D-1AA0-2BD2-541278164078}"/>
          </ac:grpSpMkLst>
        </pc:grpChg>
        <pc:grpChg chg="add del mod topLvl">
          <ac:chgData name="Falcão Lacerda, Rafael" userId="40181ff7-4694-4c53-a944-7b7d63582359" providerId="ADAL" clId="{3B4D5F63-EA56-4616-8A78-0C43AB7049E7}" dt="2025-12-08T02:57:58.664" v="14763" actId="165"/>
          <ac:grpSpMkLst>
            <pc:docMk/>
            <pc:sldMk cId="1430835055" sldId="1052"/>
            <ac:grpSpMk id="13" creationId="{0272A75B-6548-FD1E-E19B-8BDEE3F721C3}"/>
          </ac:grpSpMkLst>
        </pc:grpChg>
        <pc:grpChg chg="add del mod topLvl">
          <ac:chgData name="Falcão Lacerda, Rafael" userId="40181ff7-4694-4c53-a944-7b7d63582359" providerId="ADAL" clId="{3B4D5F63-EA56-4616-8A78-0C43AB7049E7}" dt="2025-12-08T02:57:58.664" v="14763" actId="165"/>
          <ac:grpSpMkLst>
            <pc:docMk/>
            <pc:sldMk cId="1430835055" sldId="1052"/>
            <ac:grpSpMk id="14" creationId="{2352E6C9-A876-8BF9-8E53-858CFE3BC723}"/>
          </ac:grpSpMkLst>
        </pc:grpChg>
        <pc:grpChg chg="add del mod">
          <ac:chgData name="Falcão Lacerda, Rafael" userId="40181ff7-4694-4c53-a944-7b7d63582359" providerId="ADAL" clId="{3B4D5F63-EA56-4616-8A78-0C43AB7049E7}" dt="2025-12-08T02:55:28.434" v="14542" actId="165"/>
          <ac:grpSpMkLst>
            <pc:docMk/>
            <pc:sldMk cId="1430835055" sldId="1052"/>
            <ac:grpSpMk id="23" creationId="{7E89531D-EB6A-11CD-ABFA-FD9DD6493F83}"/>
          </ac:grpSpMkLst>
        </pc:grpChg>
        <pc:grpChg chg="add mod topLvl">
          <ac:chgData name="Falcão Lacerda, Rafael" userId="40181ff7-4694-4c53-a944-7b7d63582359" providerId="ADAL" clId="{3B4D5F63-EA56-4616-8A78-0C43AB7049E7}" dt="2025-12-08T03:05:46.664" v="14974" actId="164"/>
          <ac:grpSpMkLst>
            <pc:docMk/>
            <pc:sldMk cId="1430835055" sldId="1052"/>
            <ac:grpSpMk id="27" creationId="{648479AF-AEA5-1E6F-A5C1-489A3AC1A3D9}"/>
          </ac:grpSpMkLst>
        </pc:grpChg>
        <pc:grpChg chg="add del mod topLvl">
          <ac:chgData name="Falcão Lacerda, Rafael" userId="40181ff7-4694-4c53-a944-7b7d63582359" providerId="ADAL" clId="{3B4D5F63-EA56-4616-8A78-0C43AB7049E7}" dt="2025-12-08T03:06:40.261" v="14979" actId="165"/>
          <ac:grpSpMkLst>
            <pc:docMk/>
            <pc:sldMk cId="1430835055" sldId="1052"/>
            <ac:grpSpMk id="28" creationId="{07E80F9B-DD33-8981-4CBA-F0D11FBB7D07}"/>
          </ac:grpSpMkLst>
        </pc:grpChg>
        <pc:grpChg chg="add mod topLvl">
          <ac:chgData name="Falcão Lacerda, Rafael" userId="40181ff7-4694-4c53-a944-7b7d63582359" providerId="ADAL" clId="{3B4D5F63-EA56-4616-8A78-0C43AB7049E7}" dt="2025-12-08T03:05:46.664" v="14974" actId="164"/>
          <ac:grpSpMkLst>
            <pc:docMk/>
            <pc:sldMk cId="1430835055" sldId="1052"/>
            <ac:grpSpMk id="29" creationId="{619210B7-5689-1CEA-CC52-674DD56C70F3}"/>
          </ac:grpSpMkLst>
        </pc:grpChg>
        <pc:grpChg chg="add mod">
          <ac:chgData name="Falcão Lacerda, Rafael" userId="40181ff7-4694-4c53-a944-7b7d63582359" providerId="ADAL" clId="{3B4D5F63-EA56-4616-8A78-0C43AB7049E7}" dt="2025-12-08T03:00:32.226" v="14812"/>
          <ac:grpSpMkLst>
            <pc:docMk/>
            <pc:sldMk cId="1430835055" sldId="1052"/>
            <ac:grpSpMk id="34" creationId="{5B7EABDC-9252-8F6C-BCB1-EF7D73CD01F5}"/>
          </ac:grpSpMkLst>
        </pc:grpChg>
        <pc:grpChg chg="add del mod">
          <ac:chgData name="Falcão Lacerda, Rafael" userId="40181ff7-4694-4c53-a944-7b7d63582359" providerId="ADAL" clId="{3B4D5F63-EA56-4616-8A78-0C43AB7049E7}" dt="2025-12-08T03:05:31.677" v="14972" actId="165"/>
          <ac:grpSpMkLst>
            <pc:docMk/>
            <pc:sldMk cId="1430835055" sldId="1052"/>
            <ac:grpSpMk id="39" creationId="{F2B93203-6FB2-4380-BA7E-D0DB5531C058}"/>
          </ac:grpSpMkLst>
        </pc:grpChg>
        <pc:grpChg chg="add del mod">
          <ac:chgData name="Falcão Lacerda, Rafael" userId="40181ff7-4694-4c53-a944-7b7d63582359" providerId="ADAL" clId="{3B4D5F63-EA56-4616-8A78-0C43AB7049E7}" dt="2025-12-08T03:05:24.676" v="14970" actId="165"/>
          <ac:grpSpMkLst>
            <pc:docMk/>
            <pc:sldMk cId="1430835055" sldId="1052"/>
            <ac:grpSpMk id="41" creationId="{7E09AF31-3E2F-4006-D051-4402F4D8DD74}"/>
          </ac:grpSpMkLst>
        </pc:grpChg>
        <pc:grpChg chg="add del mod">
          <ac:chgData name="Falcão Lacerda, Rafael" userId="40181ff7-4694-4c53-a944-7b7d63582359" providerId="ADAL" clId="{3B4D5F63-EA56-4616-8A78-0C43AB7049E7}" dt="2025-12-08T03:05:19.140" v="14968" actId="165"/>
          <ac:grpSpMkLst>
            <pc:docMk/>
            <pc:sldMk cId="1430835055" sldId="1052"/>
            <ac:grpSpMk id="42" creationId="{1F1EBC19-7178-0C6F-4A2F-594A9FF08563}"/>
          </ac:grpSpMkLst>
        </pc:grpChg>
        <pc:grpChg chg="add del mod">
          <ac:chgData name="Falcão Lacerda, Rafael" userId="40181ff7-4694-4c53-a944-7b7d63582359" providerId="ADAL" clId="{3B4D5F63-EA56-4616-8A78-0C43AB7049E7}" dt="2025-12-08T03:02:50.683" v="14861" actId="165"/>
          <ac:grpSpMkLst>
            <pc:docMk/>
            <pc:sldMk cId="1430835055" sldId="1052"/>
            <ac:grpSpMk id="45" creationId="{CBAB6C4A-A868-2756-4D64-C4E886F631E7}"/>
          </ac:grpSpMkLst>
        </pc:grpChg>
        <pc:grpChg chg="add del mod">
          <ac:chgData name="Falcão Lacerda, Rafael" userId="40181ff7-4694-4c53-a944-7b7d63582359" providerId="ADAL" clId="{3B4D5F63-EA56-4616-8A78-0C43AB7049E7}" dt="2025-12-08T03:03:38.055" v="14895" actId="165"/>
          <ac:grpSpMkLst>
            <pc:docMk/>
            <pc:sldMk cId="1430835055" sldId="1052"/>
            <ac:grpSpMk id="48" creationId="{95C09EAE-6033-2ECF-861A-A3ED1411E0AE}"/>
          </ac:grpSpMkLst>
        </pc:grpChg>
        <pc:grpChg chg="add del mod">
          <ac:chgData name="Falcão Lacerda, Rafael" userId="40181ff7-4694-4c53-a944-7b7d63582359" providerId="ADAL" clId="{3B4D5F63-EA56-4616-8A78-0C43AB7049E7}" dt="2025-12-08T03:06:40.261" v="14979" actId="165"/>
          <ac:grpSpMkLst>
            <pc:docMk/>
            <pc:sldMk cId="1430835055" sldId="1052"/>
            <ac:grpSpMk id="49" creationId="{6073FB59-219C-476F-9E30-117D56EC9038}"/>
          </ac:grpSpMkLst>
        </pc:grpChg>
        <pc:grpChg chg="add mod">
          <ac:chgData name="Falcão Lacerda, Rafael" userId="40181ff7-4694-4c53-a944-7b7d63582359" providerId="ADAL" clId="{3B4D5F63-EA56-4616-8A78-0C43AB7049E7}" dt="2025-12-08T03:05:46.664" v="14974" actId="164"/>
          <ac:grpSpMkLst>
            <pc:docMk/>
            <pc:sldMk cId="1430835055" sldId="1052"/>
            <ac:grpSpMk id="50" creationId="{BF9BBAEA-EB57-B8D2-B0F7-BD8C77D139E2}"/>
          </ac:grpSpMkLst>
        </pc:grpChg>
        <pc:grpChg chg="add mod">
          <ac:chgData name="Falcão Lacerda, Rafael" userId="40181ff7-4694-4c53-a944-7b7d63582359" providerId="ADAL" clId="{3B4D5F63-EA56-4616-8A78-0C43AB7049E7}" dt="2025-12-08T03:12:56.714" v="15076" actId="1076"/>
          <ac:grpSpMkLst>
            <pc:docMk/>
            <pc:sldMk cId="1430835055" sldId="1052"/>
            <ac:grpSpMk id="52" creationId="{E89476CD-2186-1607-71FC-6177C7DC91F8}"/>
          </ac:grpSpMkLst>
        </pc:grpChg>
        <pc:grpChg chg="add mod">
          <ac:chgData name="Falcão Lacerda, Rafael" userId="40181ff7-4694-4c53-a944-7b7d63582359" providerId="ADAL" clId="{3B4D5F63-EA56-4616-8A78-0C43AB7049E7}" dt="2025-12-08T03:14:57.654" v="15099" actId="164"/>
          <ac:grpSpMkLst>
            <pc:docMk/>
            <pc:sldMk cId="1430835055" sldId="1052"/>
            <ac:grpSpMk id="54" creationId="{866C72A4-0C81-9174-1E29-4B92296FB12C}"/>
          </ac:grpSpMkLst>
        </pc:grpChg>
        <pc:grpChg chg="add mod">
          <ac:chgData name="Falcão Lacerda, Rafael" userId="40181ff7-4694-4c53-a944-7b7d63582359" providerId="ADAL" clId="{3B4D5F63-EA56-4616-8A78-0C43AB7049E7}" dt="2025-12-08T03:14:57.654" v="15099" actId="164"/>
          <ac:grpSpMkLst>
            <pc:docMk/>
            <pc:sldMk cId="1430835055" sldId="1052"/>
            <ac:grpSpMk id="55" creationId="{F49E16AC-AC32-F874-E5CC-0D0568A60ECB}"/>
          </ac:grpSpMkLst>
        </pc:grpChg>
        <pc:grpChg chg="add mod topLvl">
          <ac:chgData name="Falcão Lacerda, Rafael" userId="40181ff7-4694-4c53-a944-7b7d63582359" providerId="ADAL" clId="{3B4D5F63-EA56-4616-8A78-0C43AB7049E7}" dt="2025-12-08T03:14:57.654" v="15099" actId="164"/>
          <ac:grpSpMkLst>
            <pc:docMk/>
            <pc:sldMk cId="1430835055" sldId="1052"/>
            <ac:grpSpMk id="56" creationId="{8CA6A896-EBE0-4AE6-0499-D507054E1801}"/>
          </ac:grpSpMkLst>
        </pc:grpChg>
        <pc:grpChg chg="add mod">
          <ac:chgData name="Falcão Lacerda, Rafael" userId="40181ff7-4694-4c53-a944-7b7d63582359" providerId="ADAL" clId="{3B4D5F63-EA56-4616-8A78-0C43AB7049E7}" dt="2025-12-08T03:11:02.864" v="15042" actId="164"/>
          <ac:grpSpMkLst>
            <pc:docMk/>
            <pc:sldMk cId="1430835055" sldId="1052"/>
            <ac:grpSpMk id="58" creationId="{EAA1314C-7DA9-9270-4F56-300A59440BED}"/>
          </ac:grpSpMkLst>
        </pc:grpChg>
        <pc:grpChg chg="add mod">
          <ac:chgData name="Falcão Lacerda, Rafael" userId="40181ff7-4694-4c53-a944-7b7d63582359" providerId="ADAL" clId="{3B4D5F63-EA56-4616-8A78-0C43AB7049E7}" dt="2025-12-08T03:13:53.246" v="15089" actId="164"/>
          <ac:grpSpMkLst>
            <pc:docMk/>
            <pc:sldMk cId="1430835055" sldId="1052"/>
            <ac:grpSpMk id="61" creationId="{5F0C70DD-A9E5-2B0F-B50E-0904F20E5007}"/>
          </ac:grpSpMkLst>
        </pc:grpChg>
        <pc:grpChg chg="add mod">
          <ac:chgData name="Falcão Lacerda, Rafael" userId="40181ff7-4694-4c53-a944-7b7d63582359" providerId="ADAL" clId="{3B4D5F63-EA56-4616-8A78-0C43AB7049E7}" dt="2025-12-08T03:13:53.246" v="15089" actId="164"/>
          <ac:grpSpMkLst>
            <pc:docMk/>
            <pc:sldMk cId="1430835055" sldId="1052"/>
            <ac:grpSpMk id="62" creationId="{5E22F0C7-AF3D-231D-F2B0-48B29699805C}"/>
          </ac:grpSpMkLst>
        </pc:grpChg>
        <pc:grpChg chg="add mod">
          <ac:chgData name="Falcão Lacerda, Rafael" userId="40181ff7-4694-4c53-a944-7b7d63582359" providerId="ADAL" clId="{3B4D5F63-EA56-4616-8A78-0C43AB7049E7}" dt="2025-12-08T03:13:53.246" v="15089" actId="164"/>
          <ac:grpSpMkLst>
            <pc:docMk/>
            <pc:sldMk cId="1430835055" sldId="1052"/>
            <ac:grpSpMk id="63" creationId="{9E963791-F87C-39F6-41F7-2A3BDE4D912B}"/>
          </ac:grpSpMkLst>
        </pc:grpChg>
        <pc:grpChg chg="add mod">
          <ac:chgData name="Falcão Lacerda, Rafael" userId="40181ff7-4694-4c53-a944-7b7d63582359" providerId="ADAL" clId="{3B4D5F63-EA56-4616-8A78-0C43AB7049E7}" dt="2025-12-08T03:13:27.947" v="15086" actId="12788"/>
          <ac:grpSpMkLst>
            <pc:docMk/>
            <pc:sldMk cId="1430835055" sldId="1052"/>
            <ac:grpSpMk id="66" creationId="{BFC3F030-B331-6C7A-45E7-E24D7BEFF69B}"/>
          </ac:grpSpMkLst>
        </pc:grpChg>
        <pc:grpChg chg="add mod">
          <ac:chgData name="Falcão Lacerda, Rafael" userId="40181ff7-4694-4c53-a944-7b7d63582359" providerId="ADAL" clId="{3B4D5F63-EA56-4616-8A78-0C43AB7049E7}" dt="2025-12-08T03:13:29.454" v="15087" actId="465"/>
          <ac:grpSpMkLst>
            <pc:docMk/>
            <pc:sldMk cId="1430835055" sldId="1052"/>
            <ac:grpSpMk id="67" creationId="{2BF1452D-BEF6-5858-8893-73EAA0338801}"/>
          </ac:grpSpMkLst>
        </pc:grpChg>
        <pc:grpChg chg="add mod">
          <ac:chgData name="Falcão Lacerda, Rafael" userId="40181ff7-4694-4c53-a944-7b7d63582359" providerId="ADAL" clId="{3B4D5F63-EA56-4616-8A78-0C43AB7049E7}" dt="2025-12-08T03:13:27.947" v="15086" actId="12788"/>
          <ac:grpSpMkLst>
            <pc:docMk/>
            <pc:sldMk cId="1430835055" sldId="1052"/>
            <ac:grpSpMk id="68" creationId="{65D7E61B-EE35-867C-A8E8-3B41AB9C3416}"/>
          </ac:grpSpMkLst>
        </pc:grpChg>
        <pc:grpChg chg="add mod">
          <ac:chgData name="Falcão Lacerda, Rafael" userId="40181ff7-4694-4c53-a944-7b7d63582359" providerId="ADAL" clId="{3B4D5F63-EA56-4616-8A78-0C43AB7049E7}" dt="2025-12-08T03:14:08.666" v="15091" actId="12789"/>
          <ac:grpSpMkLst>
            <pc:docMk/>
            <pc:sldMk cId="1430835055" sldId="1052"/>
            <ac:grpSpMk id="69" creationId="{88A1971D-18DD-0750-CE6C-4F3344CE8F19}"/>
          </ac:grpSpMkLst>
        </pc:grpChg>
        <pc:grpChg chg="add mod">
          <ac:chgData name="Falcão Lacerda, Rafael" userId="40181ff7-4694-4c53-a944-7b7d63582359" providerId="ADAL" clId="{3B4D5F63-EA56-4616-8A78-0C43AB7049E7}" dt="2025-12-08T03:14:57.654" v="15099" actId="164"/>
          <ac:grpSpMkLst>
            <pc:docMk/>
            <pc:sldMk cId="1430835055" sldId="1052"/>
            <ac:grpSpMk id="70" creationId="{397F40B0-1AF1-6B72-E188-A8B9FB8D14B2}"/>
          </ac:grpSpMkLst>
        </pc:grpChg>
        <pc:grpChg chg="add mod">
          <ac:chgData name="Falcão Lacerda, Rafael" userId="40181ff7-4694-4c53-a944-7b7d63582359" providerId="ADAL" clId="{3B4D5F63-EA56-4616-8A78-0C43AB7049E7}" dt="2025-12-08T03:14:57.654" v="15099" actId="164"/>
          <ac:grpSpMkLst>
            <pc:docMk/>
            <pc:sldMk cId="1430835055" sldId="1052"/>
            <ac:grpSpMk id="73" creationId="{AC22E6A6-9E7B-CB64-2D40-E24BD3B426FE}"/>
          </ac:grpSpMkLst>
        </pc:grpChg>
        <pc:graphicFrameChg chg="mod">
          <ac:chgData name="Falcão Lacerda, Rafael" userId="40181ff7-4694-4c53-a944-7b7d63582359" providerId="ADAL" clId="{3B4D5F63-EA56-4616-8A78-0C43AB7049E7}" dt="2025-12-08T03:16:39.360" v="15109"/>
          <ac:graphicFrameMkLst>
            <pc:docMk/>
            <pc:sldMk cId="1430835055" sldId="1052"/>
            <ac:graphicFrameMk id="4" creationId="{8C4435B5-252E-D7BF-BBCB-91829CE08C37}"/>
          </ac:graphicFrameMkLst>
        </pc:graphicFrameChg>
        <pc:picChg chg="add mod topLvl">
          <ac:chgData name="Falcão Lacerda, Rafael" userId="40181ff7-4694-4c53-a944-7b7d63582359" providerId="ADAL" clId="{3B4D5F63-EA56-4616-8A78-0C43AB7049E7}" dt="2025-12-08T03:14:57.654" v="15099" actId="164"/>
          <ac:picMkLst>
            <pc:docMk/>
            <pc:sldMk cId="1430835055" sldId="1052"/>
            <ac:picMk id="7" creationId="{9BF9E505-3747-5E7C-02A4-28606BB9F78D}"/>
          </ac:picMkLst>
        </pc:picChg>
        <pc:picChg chg="add mod topLvl">
          <ac:chgData name="Falcão Lacerda, Rafael" userId="40181ff7-4694-4c53-a944-7b7d63582359" providerId="ADAL" clId="{3B4D5F63-EA56-4616-8A78-0C43AB7049E7}" dt="2025-12-08T03:14:57.654" v="15099" actId="164"/>
          <ac:picMkLst>
            <pc:docMk/>
            <pc:sldMk cId="1430835055" sldId="1052"/>
            <ac:picMk id="8" creationId="{A71EF9AC-5893-AB64-49DA-A09DD6B066C4}"/>
          </ac:picMkLst>
        </pc:picChg>
        <pc:picChg chg="add mod topLvl">
          <ac:chgData name="Falcão Lacerda, Rafael" userId="40181ff7-4694-4c53-a944-7b7d63582359" providerId="ADAL" clId="{3B4D5F63-EA56-4616-8A78-0C43AB7049E7}" dt="2025-12-08T03:14:57.654" v="15099" actId="164"/>
          <ac:picMkLst>
            <pc:docMk/>
            <pc:sldMk cId="1430835055" sldId="1052"/>
            <ac:picMk id="9" creationId="{23C8121A-725F-F4BD-DD83-E14B43D060BA}"/>
          </ac:picMkLst>
        </pc:picChg>
        <pc:cxnChg chg="add del mod">
          <ac:chgData name="Falcão Lacerda, Rafael" userId="40181ff7-4694-4c53-a944-7b7d63582359" providerId="ADAL" clId="{3B4D5F63-EA56-4616-8A78-0C43AB7049E7}" dt="2025-12-08T02:50:26.053" v="14474" actId="478"/>
          <ac:cxnSpMkLst>
            <pc:docMk/>
            <pc:sldMk cId="1430835055" sldId="1052"/>
            <ac:cxnSpMk id="16" creationId="{45FC80ED-7874-EE53-9E35-CDFA648B9CC7}"/>
          </ac:cxnSpMkLst>
        </pc:cxnChg>
        <pc:cxnChg chg="add mod">
          <ac:chgData name="Falcão Lacerda, Rafael" userId="40181ff7-4694-4c53-a944-7b7d63582359" providerId="ADAL" clId="{3B4D5F63-EA56-4616-8A78-0C43AB7049E7}" dt="2025-12-08T03:14:57.654" v="15099" actId="164"/>
          <ac:cxnSpMkLst>
            <pc:docMk/>
            <pc:sldMk cId="1430835055" sldId="1052"/>
            <ac:cxnSpMk id="18" creationId="{624EFEAB-7911-38FD-EF3F-396D3970144A}"/>
          </ac:cxnSpMkLst>
        </pc:cxnChg>
        <pc:cxnChg chg="add mod">
          <ac:chgData name="Falcão Lacerda, Rafael" userId="40181ff7-4694-4c53-a944-7b7d63582359" providerId="ADAL" clId="{3B4D5F63-EA56-4616-8A78-0C43AB7049E7}" dt="2025-12-08T03:14:57.654" v="15099" actId="164"/>
          <ac:cxnSpMkLst>
            <pc:docMk/>
            <pc:sldMk cId="1430835055" sldId="1052"/>
            <ac:cxnSpMk id="20" creationId="{F536AE2E-1B4F-4504-2306-D08D56ABF0AA}"/>
          </ac:cxnSpMkLst>
        </pc:cxnChg>
        <pc:cxnChg chg="add del mod">
          <ac:chgData name="Falcão Lacerda, Rafael" userId="40181ff7-4694-4c53-a944-7b7d63582359" providerId="ADAL" clId="{3B4D5F63-EA56-4616-8A78-0C43AB7049E7}" dt="2025-12-08T02:55:37.003" v="14566" actId="478"/>
          <ac:cxnSpMkLst>
            <pc:docMk/>
            <pc:sldMk cId="1430835055" sldId="1052"/>
            <ac:cxnSpMk id="22" creationId="{9A720258-7BED-96F9-2378-CC00E0D5FE46}"/>
          </ac:cxnSpMkLst>
        </pc:cxnChg>
        <pc:cxnChg chg="add del mod">
          <ac:chgData name="Falcão Lacerda, Rafael" userId="40181ff7-4694-4c53-a944-7b7d63582359" providerId="ADAL" clId="{3B4D5F63-EA56-4616-8A78-0C43AB7049E7}" dt="2025-12-08T03:01:37.772" v="14838" actId="478"/>
          <ac:cxnSpMkLst>
            <pc:docMk/>
            <pc:sldMk cId="1430835055" sldId="1052"/>
            <ac:cxnSpMk id="31" creationId="{6CB589A1-E3A9-BF03-657C-490D77E1536B}"/>
          </ac:cxnSpMkLst>
        </pc:cxnChg>
        <pc:cxnChg chg="add del mod">
          <ac:chgData name="Falcão Lacerda, Rafael" userId="40181ff7-4694-4c53-a944-7b7d63582359" providerId="ADAL" clId="{3B4D5F63-EA56-4616-8A78-0C43AB7049E7}" dt="2025-12-08T03:12:13.028" v="15071" actId="478"/>
          <ac:cxnSpMkLst>
            <pc:docMk/>
            <pc:sldMk cId="1430835055" sldId="1052"/>
            <ac:cxnSpMk id="44" creationId="{F257B609-A8B2-6260-544F-43537F946CBC}"/>
          </ac:cxnSpMkLst>
        </pc:cxnChg>
        <pc:cxnChg chg="add del mod">
          <ac:chgData name="Falcão Lacerda, Rafael" userId="40181ff7-4694-4c53-a944-7b7d63582359" providerId="ADAL" clId="{3B4D5F63-EA56-4616-8A78-0C43AB7049E7}" dt="2025-12-08T03:12:40.811" v="15073" actId="11529"/>
          <ac:cxnSpMkLst>
            <pc:docMk/>
            <pc:sldMk cId="1430835055" sldId="1052"/>
            <ac:cxnSpMk id="65" creationId="{658827B2-8B13-47BC-884E-00E487273BA3}"/>
          </ac:cxnSpMkLst>
        </pc:cxnChg>
        <pc:cxnChg chg="add mod">
          <ac:chgData name="Falcão Lacerda, Rafael" userId="40181ff7-4694-4c53-a944-7b7d63582359" providerId="ADAL" clId="{3B4D5F63-EA56-4616-8A78-0C43AB7049E7}" dt="2025-12-08T03:14:52.372" v="15098" actId="478"/>
          <ac:cxnSpMkLst>
            <pc:docMk/>
            <pc:sldMk cId="1430835055" sldId="1052"/>
            <ac:cxnSpMk id="72" creationId="{46D0BAB4-ABD3-B72C-ADCE-F513BF5815F0}"/>
          </ac:cxnSpMkLst>
        </pc:cxnChg>
      </pc:sldChg>
      <pc:sldChg chg="addSp delSp modSp add del mod">
        <pc:chgData name="Falcão Lacerda, Rafael" userId="40181ff7-4694-4c53-a944-7b7d63582359" providerId="ADAL" clId="{3B4D5F63-EA56-4616-8A78-0C43AB7049E7}" dt="2025-12-08T03:16:44.382" v="15113" actId="47"/>
        <pc:sldMkLst>
          <pc:docMk/>
          <pc:sldMk cId="920294824" sldId="1053"/>
        </pc:sldMkLst>
        <pc:spChg chg="mod">
          <ac:chgData name="Falcão Lacerda, Rafael" userId="40181ff7-4694-4c53-a944-7b7d63582359" providerId="ADAL" clId="{3B4D5F63-EA56-4616-8A78-0C43AB7049E7}" dt="2025-12-08T03:02:25.350" v="14843" actId="165"/>
          <ac:spMkLst>
            <pc:docMk/>
            <pc:sldMk cId="920294824" sldId="1053"/>
            <ac:spMk id="3" creationId="{FAB2243C-557C-5032-B50E-F34B39506021}"/>
          </ac:spMkLst>
        </pc:spChg>
        <pc:spChg chg="add mod">
          <ac:chgData name="Falcão Lacerda, Rafael" userId="40181ff7-4694-4c53-a944-7b7d63582359" providerId="ADAL" clId="{3B4D5F63-EA56-4616-8A78-0C43AB7049E7}" dt="2025-12-08T03:10:31.977" v="15034" actId="14100"/>
          <ac:spMkLst>
            <pc:docMk/>
            <pc:sldMk cId="920294824" sldId="1053"/>
            <ac:spMk id="11" creationId="{467681B7-2C4F-B6A4-0F61-4981170D296D}"/>
          </ac:spMkLst>
        </pc:spChg>
        <pc:spChg chg="mod">
          <ac:chgData name="Falcão Lacerda, Rafael" userId="40181ff7-4694-4c53-a944-7b7d63582359" providerId="ADAL" clId="{3B4D5F63-EA56-4616-8A78-0C43AB7049E7}" dt="2025-12-08T03:02:25.350" v="14843" actId="165"/>
          <ac:spMkLst>
            <pc:docMk/>
            <pc:sldMk cId="920294824" sldId="1053"/>
            <ac:spMk id="24" creationId="{34945E54-EF01-C6D8-3159-BD058BC63D92}"/>
          </ac:spMkLst>
        </pc:spChg>
        <pc:spChg chg="mod topLvl">
          <ac:chgData name="Falcão Lacerda, Rafael" userId="40181ff7-4694-4c53-a944-7b7d63582359" providerId="ADAL" clId="{3B4D5F63-EA56-4616-8A78-0C43AB7049E7}" dt="2025-12-08T03:02:29.633" v="14845" actId="1076"/>
          <ac:spMkLst>
            <pc:docMk/>
            <pc:sldMk cId="920294824" sldId="1053"/>
            <ac:spMk id="40" creationId="{2389DE92-1E3D-E32D-EF19-C49C1FF7D11D}"/>
          </ac:spMkLst>
        </pc:spChg>
        <pc:grpChg chg="mod topLvl">
          <ac:chgData name="Falcão Lacerda, Rafael" userId="40181ff7-4694-4c53-a944-7b7d63582359" providerId="ADAL" clId="{3B4D5F63-EA56-4616-8A78-0C43AB7049E7}" dt="2025-12-08T03:02:27.759" v="14844" actId="1076"/>
          <ac:grpSpMkLst>
            <pc:docMk/>
            <pc:sldMk cId="920294824" sldId="1053"/>
            <ac:grpSpMk id="29" creationId="{B344A22B-DF9C-8AD2-6B1C-9B7A5C9E4BEE}"/>
          </ac:grpSpMkLst>
        </pc:grpChg>
        <pc:grpChg chg="del">
          <ac:chgData name="Falcão Lacerda, Rafael" userId="40181ff7-4694-4c53-a944-7b7d63582359" providerId="ADAL" clId="{3B4D5F63-EA56-4616-8A78-0C43AB7049E7}" dt="2025-12-08T03:02:25.350" v="14843" actId="165"/>
          <ac:grpSpMkLst>
            <pc:docMk/>
            <pc:sldMk cId="920294824" sldId="1053"/>
            <ac:grpSpMk id="42" creationId="{F0EF03C9-C9EF-6166-32CF-F2343DA58930}"/>
          </ac:grpSpMkLst>
        </pc:grpChg>
        <pc:graphicFrameChg chg="mod">
          <ac:chgData name="Falcão Lacerda, Rafael" userId="40181ff7-4694-4c53-a944-7b7d63582359" providerId="ADAL" clId="{3B4D5F63-EA56-4616-8A78-0C43AB7049E7}" dt="2025-12-08T03:16:39.406" v="15111"/>
          <ac:graphicFrameMkLst>
            <pc:docMk/>
            <pc:sldMk cId="920294824" sldId="1053"/>
            <ac:graphicFrameMk id="4" creationId="{0BDCCA99-974C-9255-AE9E-76C704FF6FE0}"/>
          </ac:graphicFrameMkLst>
        </pc:graphicFrameChg>
        <pc:cxnChg chg="mod">
          <ac:chgData name="Falcão Lacerda, Rafael" userId="40181ff7-4694-4c53-a944-7b7d63582359" providerId="ADAL" clId="{3B4D5F63-EA56-4616-8A78-0C43AB7049E7}" dt="2025-12-08T03:02:29.633" v="14845" actId="1076"/>
          <ac:cxnSpMkLst>
            <pc:docMk/>
            <pc:sldMk cId="920294824" sldId="1053"/>
            <ac:cxnSpMk id="44" creationId="{8A67BF0A-28B4-4606-C86D-FE91869A65D0}"/>
          </ac:cxnSpMkLst>
        </pc:cxnChg>
      </pc:sldChg>
      <pc:sldChg chg="addSp delSp modSp add mod ord">
        <pc:chgData name="Falcão Lacerda, Rafael" userId="40181ff7-4694-4c53-a944-7b7d63582359" providerId="ADAL" clId="{3B4D5F63-EA56-4616-8A78-0C43AB7049E7}" dt="2025-12-08T17:10:37.168" v="33624" actId="20577"/>
        <pc:sldMkLst>
          <pc:docMk/>
          <pc:sldMk cId="2898289174" sldId="1053"/>
        </pc:sldMkLst>
        <pc:spChg chg="mod">
          <ac:chgData name="Falcão Lacerda, Rafael" userId="40181ff7-4694-4c53-a944-7b7d63582359" providerId="ADAL" clId="{3B4D5F63-EA56-4616-8A78-0C43AB7049E7}" dt="2025-12-08T17:10:37.168" v="33624" actId="20577"/>
          <ac:spMkLst>
            <pc:docMk/>
            <pc:sldMk cId="2898289174" sldId="1053"/>
            <ac:spMk id="2" creationId="{AC019283-6D7E-0471-CAAE-D52088813B20}"/>
          </ac:spMkLst>
        </pc:spChg>
        <pc:spChg chg="mod">
          <ac:chgData name="Falcão Lacerda, Rafael" userId="40181ff7-4694-4c53-a944-7b7d63582359" providerId="ADAL" clId="{3B4D5F63-EA56-4616-8A78-0C43AB7049E7}" dt="2025-12-08T03:56:27.715" v="16771" actId="20577"/>
          <ac:spMkLst>
            <pc:docMk/>
            <pc:sldMk cId="2898289174" sldId="1053"/>
            <ac:spMk id="3" creationId="{A99E66F4-FE19-C5BD-0A3F-61C24B6CB72D}"/>
          </ac:spMkLst>
        </pc:spChg>
        <pc:spChg chg="add del mod modVis">
          <ac:chgData name="Falcão Lacerda, Rafael" userId="40181ff7-4694-4c53-a944-7b7d63582359" providerId="ADAL" clId="{3B4D5F63-EA56-4616-8A78-0C43AB7049E7}" dt="2025-12-08T03:24:49.402" v="15247"/>
          <ac:spMkLst>
            <pc:docMk/>
            <pc:sldMk cId="2898289174" sldId="1053"/>
            <ac:spMk id="6" creationId="{0C69E1F2-487B-EF34-3A96-A42C14E2FDB8}"/>
          </ac:spMkLst>
        </pc:spChg>
        <pc:spChg chg="mod">
          <ac:chgData name="Falcão Lacerda, Rafael" userId="40181ff7-4694-4c53-a944-7b7d63582359" providerId="ADAL" clId="{3B4D5F63-EA56-4616-8A78-0C43AB7049E7}" dt="2025-12-08T03:55:19.592" v="16577" actId="20577"/>
          <ac:spMkLst>
            <pc:docMk/>
            <pc:sldMk cId="2898289174" sldId="1053"/>
            <ac:spMk id="7" creationId="{0988C441-982D-FD5E-32EF-74C6D0CDB7B7}"/>
          </ac:spMkLst>
        </pc:spChg>
        <pc:spChg chg="mod">
          <ac:chgData name="Falcão Lacerda, Rafael" userId="40181ff7-4694-4c53-a944-7b7d63582359" providerId="ADAL" clId="{3B4D5F63-EA56-4616-8A78-0C43AB7049E7}" dt="2025-12-08T03:27:39.969" v="15373" actId="20577"/>
          <ac:spMkLst>
            <pc:docMk/>
            <pc:sldMk cId="2898289174" sldId="1053"/>
            <ac:spMk id="8" creationId="{1628ED82-75C3-7ACA-2F8E-38278EC8A052}"/>
          </ac:spMkLst>
        </pc:spChg>
        <pc:spChg chg="mod">
          <ac:chgData name="Falcão Lacerda, Rafael" userId="40181ff7-4694-4c53-a944-7b7d63582359" providerId="ADAL" clId="{3B4D5F63-EA56-4616-8A78-0C43AB7049E7}" dt="2025-12-08T03:28:03.106" v="15450" actId="20577"/>
          <ac:spMkLst>
            <pc:docMk/>
            <pc:sldMk cId="2898289174" sldId="1053"/>
            <ac:spMk id="9" creationId="{06EEAC23-3232-000A-8C43-1AD7380E0C4F}"/>
          </ac:spMkLst>
        </pc:spChg>
        <pc:spChg chg="mod">
          <ac:chgData name="Falcão Lacerda, Rafael" userId="40181ff7-4694-4c53-a944-7b7d63582359" providerId="ADAL" clId="{3B4D5F63-EA56-4616-8A78-0C43AB7049E7}" dt="2025-12-08T03:28:15.825" v="15504" actId="20577"/>
          <ac:spMkLst>
            <pc:docMk/>
            <pc:sldMk cId="2898289174" sldId="1053"/>
            <ac:spMk id="11" creationId="{16A2D324-79BA-DBA8-AC35-EF1BE5568D23}"/>
          </ac:spMkLst>
        </pc:spChg>
        <pc:spChg chg="mod">
          <ac:chgData name="Falcão Lacerda, Rafael" userId="40181ff7-4694-4c53-a944-7b7d63582359" providerId="ADAL" clId="{3B4D5F63-EA56-4616-8A78-0C43AB7049E7}" dt="2025-12-08T03:58:07.458" v="16986" actId="20577"/>
          <ac:spMkLst>
            <pc:docMk/>
            <pc:sldMk cId="2898289174" sldId="1053"/>
            <ac:spMk id="12" creationId="{BCF8137C-0F11-DA75-4962-6B463A1C514F}"/>
          </ac:spMkLst>
        </pc:spChg>
        <pc:spChg chg="mod">
          <ac:chgData name="Falcão Lacerda, Rafael" userId="40181ff7-4694-4c53-a944-7b7d63582359" providerId="ADAL" clId="{3B4D5F63-EA56-4616-8A78-0C43AB7049E7}" dt="2025-12-08T03:28:33.349" v="15561" actId="20577"/>
          <ac:spMkLst>
            <pc:docMk/>
            <pc:sldMk cId="2898289174" sldId="1053"/>
            <ac:spMk id="14" creationId="{0A9F6C89-74E1-A799-EB68-338C1B4F4BE9}"/>
          </ac:spMkLst>
        </pc:spChg>
        <pc:spChg chg="mod">
          <ac:chgData name="Falcão Lacerda, Rafael" userId="40181ff7-4694-4c53-a944-7b7d63582359" providerId="ADAL" clId="{3B4D5F63-EA56-4616-8A78-0C43AB7049E7}" dt="2025-12-08T03:59:14.366" v="17264" actId="20577"/>
          <ac:spMkLst>
            <pc:docMk/>
            <pc:sldMk cId="2898289174" sldId="1053"/>
            <ac:spMk id="15" creationId="{97E0CA0A-E8CA-A68E-0B16-6BBE5B906EFB}"/>
          </ac:spMkLst>
        </pc:spChg>
        <pc:spChg chg="mod">
          <ac:chgData name="Falcão Lacerda, Rafael" userId="40181ff7-4694-4c53-a944-7b7d63582359" providerId="ADAL" clId="{3B4D5F63-EA56-4616-8A78-0C43AB7049E7}" dt="2025-12-08T03:24:49.354" v="15226" actId="948"/>
          <ac:spMkLst>
            <pc:docMk/>
            <pc:sldMk cId="2898289174" sldId="1053"/>
            <ac:spMk id="29" creationId="{55F9886A-974B-03B8-C3E8-E1239F575F67}"/>
          </ac:spMkLst>
        </pc:spChg>
        <pc:graphicFrameChg chg="mod">
          <ac:chgData name="Falcão Lacerda, Rafael" userId="40181ff7-4694-4c53-a944-7b7d63582359" providerId="ADAL" clId="{3B4D5F63-EA56-4616-8A78-0C43AB7049E7}" dt="2025-12-08T03:24:49.402" v="15249"/>
          <ac:graphicFrameMkLst>
            <pc:docMk/>
            <pc:sldMk cId="2898289174" sldId="1053"/>
            <ac:graphicFrameMk id="16" creationId="{B8AEB7CC-FB06-6541-B81F-428043F8502D}"/>
          </ac:graphicFrameMkLst>
        </pc:graphicFrameChg>
      </pc:sldChg>
      <pc:sldChg chg="addSp delSp modSp add del mod">
        <pc:chgData name="Falcão Lacerda, Rafael" userId="40181ff7-4694-4c53-a944-7b7d63582359" providerId="ADAL" clId="{3B4D5F63-EA56-4616-8A78-0C43AB7049E7}" dt="2025-12-08T07:02:29.013" v="22269" actId="47"/>
        <pc:sldMkLst>
          <pc:docMk/>
          <pc:sldMk cId="3074023758" sldId="1054"/>
        </pc:sldMkLst>
        <pc:spChg chg="add del mod modVis">
          <ac:chgData name="Falcão Lacerda, Rafael" userId="40181ff7-4694-4c53-a944-7b7d63582359" providerId="ADAL" clId="{3B4D5F63-EA56-4616-8A78-0C43AB7049E7}" dt="2025-12-08T04:21:37.424" v="17339"/>
          <ac:spMkLst>
            <pc:docMk/>
            <pc:sldMk cId="3074023758" sldId="1054"/>
            <ac:spMk id="2" creationId="{8C045F85-B658-CFCE-71A2-916F1DD6E0AC}"/>
          </ac:spMkLst>
        </pc:spChg>
        <pc:spChg chg="add del mod modVis">
          <ac:chgData name="Falcão Lacerda, Rafael" userId="40181ff7-4694-4c53-a944-7b7d63582359" providerId="ADAL" clId="{3B4D5F63-EA56-4616-8A78-0C43AB7049E7}" dt="2025-12-08T04:21:39.212" v="17378"/>
          <ac:spMkLst>
            <pc:docMk/>
            <pc:sldMk cId="3074023758" sldId="1054"/>
            <ac:spMk id="4" creationId="{C7CE6591-5D58-E040-7FB9-CF048DAFC8EF}"/>
          </ac:spMkLst>
        </pc:spChg>
        <pc:spChg chg="add del mod modVis">
          <ac:chgData name="Falcão Lacerda, Rafael" userId="40181ff7-4694-4c53-a944-7b7d63582359" providerId="ADAL" clId="{3B4D5F63-EA56-4616-8A78-0C43AB7049E7}" dt="2025-12-08T04:21:42.124" v="17412"/>
          <ac:spMkLst>
            <pc:docMk/>
            <pc:sldMk cId="3074023758" sldId="1054"/>
            <ac:spMk id="5" creationId="{4F6168FC-E5F3-9CFB-9D89-52CBCC126FD1}"/>
          </ac:spMkLst>
        </pc:spChg>
        <pc:spChg chg="add del mod modVis">
          <ac:chgData name="Falcão Lacerda, Rafael" userId="40181ff7-4694-4c53-a944-7b7d63582359" providerId="ADAL" clId="{3B4D5F63-EA56-4616-8A78-0C43AB7049E7}" dt="2025-12-08T06:01:47.050" v="17439"/>
          <ac:spMkLst>
            <pc:docMk/>
            <pc:sldMk cId="3074023758" sldId="1054"/>
            <ac:spMk id="6" creationId="{4766511C-8EBA-869D-5E2F-699EF9CE1559}"/>
          </ac:spMkLst>
        </pc:spChg>
        <pc:spChg chg="add del mod modVis">
          <ac:chgData name="Falcão Lacerda, Rafael" userId="40181ff7-4694-4c53-a944-7b7d63582359" providerId="ADAL" clId="{3B4D5F63-EA56-4616-8A78-0C43AB7049E7}" dt="2025-12-08T06:01:48.622" v="17467"/>
          <ac:spMkLst>
            <pc:docMk/>
            <pc:sldMk cId="3074023758" sldId="1054"/>
            <ac:spMk id="7" creationId="{F640A133-7E95-4185-D04A-7D6657E0C932}"/>
          </ac:spMkLst>
        </pc:spChg>
        <pc:spChg chg="add del mod modVis">
          <ac:chgData name="Falcão Lacerda, Rafael" userId="40181ff7-4694-4c53-a944-7b7d63582359" providerId="ADAL" clId="{3B4D5F63-EA56-4616-8A78-0C43AB7049E7}" dt="2025-12-08T06:01:49.493" v="17493"/>
          <ac:spMkLst>
            <pc:docMk/>
            <pc:sldMk cId="3074023758" sldId="1054"/>
            <ac:spMk id="8" creationId="{EE408180-924B-A507-93CE-6250B0763679}"/>
          </ac:spMkLst>
        </pc:spChg>
        <pc:spChg chg="add del mod modVis">
          <ac:chgData name="Falcão Lacerda, Rafael" userId="40181ff7-4694-4c53-a944-7b7d63582359" providerId="ADAL" clId="{3B4D5F63-EA56-4616-8A78-0C43AB7049E7}" dt="2025-12-08T06:01:50.400" v="17520"/>
          <ac:spMkLst>
            <pc:docMk/>
            <pc:sldMk cId="3074023758" sldId="1054"/>
            <ac:spMk id="9" creationId="{7FC94E4B-EBF7-1750-8DBC-0B552DA8E298}"/>
          </ac:spMkLst>
        </pc:spChg>
        <pc:spChg chg="add del mod modVis">
          <ac:chgData name="Falcão Lacerda, Rafael" userId="40181ff7-4694-4c53-a944-7b7d63582359" providerId="ADAL" clId="{3B4D5F63-EA56-4616-8A78-0C43AB7049E7}" dt="2025-12-08T06:01:51.252" v="17546"/>
          <ac:spMkLst>
            <pc:docMk/>
            <pc:sldMk cId="3074023758" sldId="1054"/>
            <ac:spMk id="10" creationId="{5BE205B9-9E80-9B2B-AC18-41CB537682B3}"/>
          </ac:spMkLst>
        </pc:spChg>
        <pc:spChg chg="add del mod modVis">
          <ac:chgData name="Falcão Lacerda, Rafael" userId="40181ff7-4694-4c53-a944-7b7d63582359" providerId="ADAL" clId="{3B4D5F63-EA56-4616-8A78-0C43AB7049E7}" dt="2025-12-08T06:01:55.276" v="17573"/>
          <ac:spMkLst>
            <pc:docMk/>
            <pc:sldMk cId="3074023758" sldId="1054"/>
            <ac:spMk id="11" creationId="{716AE266-9426-AB68-898E-4D81728FC09D}"/>
          </ac:spMkLst>
        </pc:spChg>
        <pc:spChg chg="add del mod modVis">
          <ac:chgData name="Falcão Lacerda, Rafael" userId="40181ff7-4694-4c53-a944-7b7d63582359" providerId="ADAL" clId="{3B4D5F63-EA56-4616-8A78-0C43AB7049E7}" dt="2025-12-08T06:05:19.454" v="18117"/>
          <ac:spMkLst>
            <pc:docMk/>
            <pc:sldMk cId="3074023758" sldId="1054"/>
            <ac:spMk id="12" creationId="{AE365E03-D076-C74B-D60C-7E54E40711FE}"/>
          </ac:spMkLst>
        </pc:spChg>
        <pc:spChg chg="mod">
          <ac:chgData name="Falcão Lacerda, Rafael" userId="40181ff7-4694-4c53-a944-7b7d63582359" providerId="ADAL" clId="{3B4D5F63-EA56-4616-8A78-0C43AB7049E7}" dt="2025-12-08T06:05:19.407" v="18095" actId="948"/>
          <ac:spMkLst>
            <pc:docMk/>
            <pc:sldMk cId="3074023758" sldId="1054"/>
            <ac:spMk id="15" creationId="{2A969C80-A1C7-A023-CF7C-C2FC5F0AFE9A}"/>
          </ac:spMkLst>
        </pc:spChg>
        <pc:spChg chg="mod">
          <ac:chgData name="Falcão Lacerda, Rafael" userId="40181ff7-4694-4c53-a944-7b7d63582359" providerId="ADAL" clId="{3B4D5F63-EA56-4616-8A78-0C43AB7049E7}" dt="2025-12-08T06:14:14.537" v="18375" actId="20577"/>
          <ac:spMkLst>
            <pc:docMk/>
            <pc:sldMk cId="3074023758" sldId="1054"/>
            <ac:spMk id="21" creationId="{587E39B0-47D7-6D0C-16A9-609D5764DA1B}"/>
          </ac:spMkLst>
        </pc:spChg>
        <pc:spChg chg="mod">
          <ac:chgData name="Falcão Lacerda, Rafael" userId="40181ff7-4694-4c53-a944-7b7d63582359" providerId="ADAL" clId="{3B4D5F63-EA56-4616-8A78-0C43AB7049E7}" dt="2025-12-08T06:22:25.125" v="19618" actId="14100"/>
          <ac:spMkLst>
            <pc:docMk/>
            <pc:sldMk cId="3074023758" sldId="1054"/>
            <ac:spMk id="22" creationId="{B3D80722-EDE3-2590-E37D-EAB90E70FE8D}"/>
          </ac:spMkLst>
        </pc:spChg>
        <pc:spChg chg="mod">
          <ac:chgData name="Falcão Lacerda, Rafael" userId="40181ff7-4694-4c53-a944-7b7d63582359" providerId="ADAL" clId="{3B4D5F63-EA56-4616-8A78-0C43AB7049E7}" dt="2025-12-08T06:13:26.429" v="18331" actId="20577"/>
          <ac:spMkLst>
            <pc:docMk/>
            <pc:sldMk cId="3074023758" sldId="1054"/>
            <ac:spMk id="23" creationId="{09BE4C62-7A70-4D1D-1896-99F4FE646F72}"/>
          </ac:spMkLst>
        </pc:spChg>
        <pc:spChg chg="mod">
          <ac:chgData name="Falcão Lacerda, Rafael" userId="40181ff7-4694-4c53-a944-7b7d63582359" providerId="ADAL" clId="{3B4D5F63-EA56-4616-8A78-0C43AB7049E7}" dt="2025-12-08T06:14:05.943" v="18374" actId="14100"/>
          <ac:spMkLst>
            <pc:docMk/>
            <pc:sldMk cId="3074023758" sldId="1054"/>
            <ac:spMk id="24" creationId="{3D82B3D9-4536-DCD6-0137-D727D9FFF97F}"/>
          </ac:spMkLst>
        </pc:spChg>
        <pc:spChg chg="mod">
          <ac:chgData name="Falcão Lacerda, Rafael" userId="40181ff7-4694-4c53-a944-7b7d63582359" providerId="ADAL" clId="{3B4D5F63-EA56-4616-8A78-0C43AB7049E7}" dt="2025-12-08T06:14:24.895" v="18392" actId="20577"/>
          <ac:spMkLst>
            <pc:docMk/>
            <pc:sldMk cId="3074023758" sldId="1054"/>
            <ac:spMk id="25" creationId="{F4DCA03E-64CC-347A-3EB9-455E5A80D6F7}"/>
          </ac:spMkLst>
        </pc:spChg>
        <pc:spChg chg="mod">
          <ac:chgData name="Falcão Lacerda, Rafael" userId="40181ff7-4694-4c53-a944-7b7d63582359" providerId="ADAL" clId="{3B4D5F63-EA56-4616-8A78-0C43AB7049E7}" dt="2025-12-08T06:14:47.464" v="18505" actId="20577"/>
          <ac:spMkLst>
            <pc:docMk/>
            <pc:sldMk cId="3074023758" sldId="1054"/>
            <ac:spMk id="26" creationId="{F2E1918A-6DDB-EA1F-8D95-784F9621ACD6}"/>
          </ac:spMkLst>
        </pc:spChg>
        <pc:spChg chg="mod">
          <ac:chgData name="Falcão Lacerda, Rafael" userId="40181ff7-4694-4c53-a944-7b7d63582359" providerId="ADAL" clId="{3B4D5F63-EA56-4616-8A78-0C43AB7049E7}" dt="2025-12-08T06:14:57.053" v="18531" actId="20577"/>
          <ac:spMkLst>
            <pc:docMk/>
            <pc:sldMk cId="3074023758" sldId="1054"/>
            <ac:spMk id="27" creationId="{4B476D77-3616-2376-5D7F-C76A6BF2C4C5}"/>
          </ac:spMkLst>
        </pc:spChg>
        <pc:spChg chg="mod">
          <ac:chgData name="Falcão Lacerda, Rafael" userId="40181ff7-4694-4c53-a944-7b7d63582359" providerId="ADAL" clId="{3B4D5F63-EA56-4616-8A78-0C43AB7049E7}" dt="2025-12-08T06:15:10.257" v="18545" actId="20577"/>
          <ac:spMkLst>
            <pc:docMk/>
            <pc:sldMk cId="3074023758" sldId="1054"/>
            <ac:spMk id="28" creationId="{94C41DC1-E45B-E9D0-68B0-41B83E4DAB23}"/>
          </ac:spMkLst>
        </pc:spChg>
        <pc:spChg chg="mod">
          <ac:chgData name="Falcão Lacerda, Rafael" userId="40181ff7-4694-4c53-a944-7b7d63582359" providerId="ADAL" clId="{3B4D5F63-EA56-4616-8A78-0C43AB7049E7}" dt="2025-12-08T06:15:35.766" v="18678" actId="20577"/>
          <ac:spMkLst>
            <pc:docMk/>
            <pc:sldMk cId="3074023758" sldId="1054"/>
            <ac:spMk id="29" creationId="{2C6F357F-6B83-9EC5-2FF1-EC422B119C2F}"/>
          </ac:spMkLst>
        </pc:spChg>
        <pc:spChg chg="mod">
          <ac:chgData name="Falcão Lacerda, Rafael" userId="40181ff7-4694-4c53-a944-7b7d63582359" providerId="ADAL" clId="{3B4D5F63-EA56-4616-8A78-0C43AB7049E7}" dt="2025-12-08T06:15:42.979" v="18689" actId="20577"/>
          <ac:spMkLst>
            <pc:docMk/>
            <pc:sldMk cId="3074023758" sldId="1054"/>
            <ac:spMk id="30" creationId="{F6448592-D9FC-3DC8-6043-5D8D9291E1E5}"/>
          </ac:spMkLst>
        </pc:spChg>
        <pc:spChg chg="mod">
          <ac:chgData name="Falcão Lacerda, Rafael" userId="40181ff7-4694-4c53-a944-7b7d63582359" providerId="ADAL" clId="{3B4D5F63-EA56-4616-8A78-0C43AB7049E7}" dt="2025-12-08T06:16:12.739" v="18735" actId="14100"/>
          <ac:spMkLst>
            <pc:docMk/>
            <pc:sldMk cId="3074023758" sldId="1054"/>
            <ac:spMk id="31" creationId="{9B6F3041-E40B-83AA-07ED-C2996EE73AE0}"/>
          </ac:spMkLst>
        </pc:spChg>
        <pc:spChg chg="mod">
          <ac:chgData name="Falcão Lacerda, Rafael" userId="40181ff7-4694-4c53-a944-7b7d63582359" providerId="ADAL" clId="{3B4D5F63-EA56-4616-8A78-0C43AB7049E7}" dt="2025-12-08T06:17:02.291" v="18859" actId="20577"/>
          <ac:spMkLst>
            <pc:docMk/>
            <pc:sldMk cId="3074023758" sldId="1054"/>
            <ac:spMk id="32" creationId="{E9B9D94D-01BA-08EB-359F-6104E5DC8172}"/>
          </ac:spMkLst>
        </pc:spChg>
        <pc:spChg chg="mod">
          <ac:chgData name="Falcão Lacerda, Rafael" userId="40181ff7-4694-4c53-a944-7b7d63582359" providerId="ADAL" clId="{3B4D5F63-EA56-4616-8A78-0C43AB7049E7}" dt="2025-12-08T06:17:10.568" v="18884" actId="20577"/>
          <ac:spMkLst>
            <pc:docMk/>
            <pc:sldMk cId="3074023758" sldId="1054"/>
            <ac:spMk id="33" creationId="{FC8D836D-8C6D-DC6F-9A5B-1FFF14FE0C21}"/>
          </ac:spMkLst>
        </pc:spChg>
        <pc:graphicFrameChg chg="mod">
          <ac:chgData name="Falcão Lacerda, Rafael" userId="40181ff7-4694-4c53-a944-7b7d63582359" providerId="ADAL" clId="{3B4D5F63-EA56-4616-8A78-0C43AB7049E7}" dt="2025-12-08T06:05:19.454" v="18119"/>
          <ac:graphicFrameMkLst>
            <pc:docMk/>
            <pc:sldMk cId="3074023758" sldId="1054"/>
            <ac:graphicFrameMk id="3" creationId="{E420EB3A-3042-EA5C-69BC-7690F96A2C95}"/>
          </ac:graphicFrameMkLst>
        </pc:graphicFrameChg>
      </pc:sldChg>
      <pc:sldChg chg="addSp delSp modSp add del mod">
        <pc:chgData name="Falcão Lacerda, Rafael" userId="40181ff7-4694-4c53-a944-7b7d63582359" providerId="ADAL" clId="{3B4D5F63-EA56-4616-8A78-0C43AB7049E7}" dt="2025-12-08T06:28:23.307" v="19619" actId="47"/>
        <pc:sldMkLst>
          <pc:docMk/>
          <pc:sldMk cId="3092196046" sldId="1055"/>
        </pc:sldMkLst>
        <pc:spChg chg="add del mod modVis">
          <ac:chgData name="Falcão Lacerda, Rafael" userId="40181ff7-4694-4c53-a944-7b7d63582359" providerId="ADAL" clId="{3B4D5F63-EA56-4616-8A78-0C43AB7049E7}" dt="2025-12-08T06:02:27.152" v="17688"/>
          <ac:spMkLst>
            <pc:docMk/>
            <pc:sldMk cId="3092196046" sldId="1055"/>
            <ac:spMk id="2" creationId="{A9753737-E805-FC79-A3C4-B5A2BD603D56}"/>
          </ac:spMkLst>
        </pc:spChg>
        <pc:spChg chg="add del mod modVis">
          <ac:chgData name="Falcão Lacerda, Rafael" userId="40181ff7-4694-4c53-a944-7b7d63582359" providerId="ADAL" clId="{3B4D5F63-EA56-4616-8A78-0C43AB7049E7}" dt="2025-12-08T06:02:29.427" v="17714"/>
          <ac:spMkLst>
            <pc:docMk/>
            <pc:sldMk cId="3092196046" sldId="1055"/>
            <ac:spMk id="4" creationId="{CA9BBC8B-887C-43B0-F4DA-283580B372D0}"/>
          </ac:spMkLst>
        </pc:spChg>
        <pc:spChg chg="add del mod modVis">
          <ac:chgData name="Falcão Lacerda, Rafael" userId="40181ff7-4694-4c53-a944-7b7d63582359" providerId="ADAL" clId="{3B4D5F63-EA56-4616-8A78-0C43AB7049E7}" dt="2025-12-08T06:02:30.858" v="17741"/>
          <ac:spMkLst>
            <pc:docMk/>
            <pc:sldMk cId="3092196046" sldId="1055"/>
            <ac:spMk id="5" creationId="{07F43A04-3A77-80FF-2CDB-E2FED96A8930}"/>
          </ac:spMkLst>
        </pc:spChg>
        <pc:spChg chg="add del mod modVis">
          <ac:chgData name="Falcão Lacerda, Rafael" userId="40181ff7-4694-4c53-a944-7b7d63582359" providerId="ADAL" clId="{3B4D5F63-EA56-4616-8A78-0C43AB7049E7}" dt="2025-12-08T06:02:32.520" v="17767"/>
          <ac:spMkLst>
            <pc:docMk/>
            <pc:sldMk cId="3092196046" sldId="1055"/>
            <ac:spMk id="6" creationId="{626CE8D9-2E1A-3FF1-1C0D-884C9468DE93}"/>
          </ac:spMkLst>
        </pc:spChg>
        <pc:spChg chg="add del mod modVis">
          <ac:chgData name="Falcão Lacerda, Rafael" userId="40181ff7-4694-4c53-a944-7b7d63582359" providerId="ADAL" clId="{3B4D5F63-EA56-4616-8A78-0C43AB7049E7}" dt="2025-12-08T06:02:33.113" v="17793"/>
          <ac:spMkLst>
            <pc:docMk/>
            <pc:sldMk cId="3092196046" sldId="1055"/>
            <ac:spMk id="7" creationId="{C788CB3C-E8D5-7A50-C667-8D2B18E721B0}"/>
          </ac:spMkLst>
        </pc:spChg>
        <pc:spChg chg="add del mod modVis">
          <ac:chgData name="Falcão Lacerda, Rafael" userId="40181ff7-4694-4c53-a944-7b7d63582359" providerId="ADAL" clId="{3B4D5F63-EA56-4616-8A78-0C43AB7049E7}" dt="2025-12-08T06:02:34.173" v="17820"/>
          <ac:spMkLst>
            <pc:docMk/>
            <pc:sldMk cId="3092196046" sldId="1055"/>
            <ac:spMk id="8" creationId="{8C8FF438-39AC-84B2-4E08-BAC2541B878A}"/>
          </ac:spMkLst>
        </pc:spChg>
        <pc:spChg chg="add del mod modVis">
          <ac:chgData name="Falcão Lacerda, Rafael" userId="40181ff7-4694-4c53-a944-7b7d63582359" providerId="ADAL" clId="{3B4D5F63-EA56-4616-8A78-0C43AB7049E7}" dt="2025-12-08T06:02:35.284" v="17847"/>
          <ac:spMkLst>
            <pc:docMk/>
            <pc:sldMk cId="3092196046" sldId="1055"/>
            <ac:spMk id="9" creationId="{C86DF797-3844-EEDF-89C3-6292DAF84E3E}"/>
          </ac:spMkLst>
        </pc:spChg>
        <pc:spChg chg="add del mod modVis">
          <ac:chgData name="Falcão Lacerda, Rafael" userId="40181ff7-4694-4c53-a944-7b7d63582359" providerId="ADAL" clId="{3B4D5F63-EA56-4616-8A78-0C43AB7049E7}" dt="2025-12-08T06:03:38.417" v="17988"/>
          <ac:spMkLst>
            <pc:docMk/>
            <pc:sldMk cId="3092196046" sldId="1055"/>
            <ac:spMk id="10" creationId="{14F88753-1DF1-EF27-696D-D1D0775A5923}"/>
          </ac:spMkLst>
        </pc:spChg>
        <pc:spChg chg="add del mod modVis">
          <ac:chgData name="Falcão Lacerda, Rafael" userId="40181ff7-4694-4c53-a944-7b7d63582359" providerId="ADAL" clId="{3B4D5F63-EA56-4616-8A78-0C43AB7049E7}" dt="2025-12-08T06:03:39.071" v="18015"/>
          <ac:spMkLst>
            <pc:docMk/>
            <pc:sldMk cId="3092196046" sldId="1055"/>
            <ac:spMk id="11" creationId="{448BB341-1C26-8654-F351-5890A928DC81}"/>
          </ac:spMkLst>
        </pc:spChg>
        <pc:spChg chg="add del mod modVis">
          <ac:chgData name="Falcão Lacerda, Rafael" userId="40181ff7-4694-4c53-a944-7b7d63582359" providerId="ADAL" clId="{3B4D5F63-EA56-4616-8A78-0C43AB7049E7}" dt="2025-12-08T06:03:44.842" v="18045"/>
          <ac:spMkLst>
            <pc:docMk/>
            <pc:sldMk cId="3092196046" sldId="1055"/>
            <ac:spMk id="12" creationId="{BA415D74-36D8-2CD0-B748-321ACE1C78F2}"/>
          </ac:spMkLst>
        </pc:spChg>
        <pc:spChg chg="add del mod modVis">
          <ac:chgData name="Falcão Lacerda, Rafael" userId="40181ff7-4694-4c53-a944-7b7d63582359" providerId="ADAL" clId="{3B4D5F63-EA56-4616-8A78-0C43AB7049E7}" dt="2025-12-08T06:03:46.929" v="18071"/>
          <ac:spMkLst>
            <pc:docMk/>
            <pc:sldMk cId="3092196046" sldId="1055"/>
            <ac:spMk id="13" creationId="{A2455B77-EF31-0F5F-8863-E9F22D984139}"/>
          </ac:spMkLst>
        </pc:spChg>
        <pc:spChg chg="mod">
          <ac:chgData name="Falcão Lacerda, Rafael" userId="40181ff7-4694-4c53-a944-7b7d63582359" providerId="ADAL" clId="{3B4D5F63-EA56-4616-8A78-0C43AB7049E7}" dt="2025-12-08T06:03:46.881" v="18049" actId="948"/>
          <ac:spMkLst>
            <pc:docMk/>
            <pc:sldMk cId="3092196046" sldId="1055"/>
            <ac:spMk id="15" creationId="{82FDC52F-5D0F-DEFC-CB44-9DA47563481F}"/>
          </ac:spMkLst>
        </pc:spChg>
        <pc:graphicFrameChg chg="mod">
          <ac:chgData name="Falcão Lacerda, Rafael" userId="40181ff7-4694-4c53-a944-7b7d63582359" providerId="ADAL" clId="{3B4D5F63-EA56-4616-8A78-0C43AB7049E7}" dt="2025-12-08T06:03:46.944" v="18073"/>
          <ac:graphicFrameMkLst>
            <pc:docMk/>
            <pc:sldMk cId="3092196046" sldId="1055"/>
            <ac:graphicFrameMk id="3" creationId="{3DA8150B-8238-6A47-4E3F-B09C1AA59C3C}"/>
          </ac:graphicFrameMkLst>
        </pc:graphicFrameChg>
      </pc:sldChg>
      <pc:sldChg chg="addSp delSp modSp add del mod">
        <pc:chgData name="Falcão Lacerda, Rafael" userId="40181ff7-4694-4c53-a944-7b7d63582359" providerId="ADAL" clId="{3B4D5F63-EA56-4616-8A78-0C43AB7049E7}" dt="2025-12-08T07:16:02.358" v="22933" actId="47"/>
        <pc:sldMkLst>
          <pc:docMk/>
          <pc:sldMk cId="1682110587" sldId="1056"/>
        </pc:sldMkLst>
        <pc:spChg chg="add del mod modVis">
          <ac:chgData name="Falcão Lacerda, Rafael" userId="40181ff7-4694-4c53-a944-7b7d63582359" providerId="ADAL" clId="{3B4D5F63-EA56-4616-8A78-0C43AB7049E7}" dt="2025-12-08T06:02:46.010" v="17898"/>
          <ac:spMkLst>
            <pc:docMk/>
            <pc:sldMk cId="1682110587" sldId="1056"/>
            <ac:spMk id="2" creationId="{875CBAE8-C6A3-F50E-CF1A-1B95DBF5F72D}"/>
          </ac:spMkLst>
        </pc:spChg>
        <pc:spChg chg="mod">
          <ac:chgData name="Falcão Lacerda, Rafael" userId="40181ff7-4694-4c53-a944-7b7d63582359" providerId="ADAL" clId="{3B4D5F63-EA56-4616-8A78-0C43AB7049E7}" dt="2025-12-08T06:02:45.983" v="17876" actId="948"/>
          <ac:spMkLst>
            <pc:docMk/>
            <pc:sldMk cId="1682110587" sldId="1056"/>
            <ac:spMk id="15" creationId="{FD3537DB-AFAB-96E4-EE05-293607ACB7A6}"/>
          </ac:spMkLst>
        </pc:spChg>
        <pc:graphicFrameChg chg="mod">
          <ac:chgData name="Falcão Lacerda, Rafael" userId="40181ff7-4694-4c53-a944-7b7d63582359" providerId="ADAL" clId="{3B4D5F63-EA56-4616-8A78-0C43AB7049E7}" dt="2025-12-08T06:02:46.026" v="17900"/>
          <ac:graphicFrameMkLst>
            <pc:docMk/>
            <pc:sldMk cId="1682110587" sldId="1056"/>
            <ac:graphicFrameMk id="3" creationId="{D0E0EFCD-823A-19D0-CC1B-97E120CE88F8}"/>
          </ac:graphicFrameMkLst>
        </pc:graphicFrameChg>
      </pc:sldChg>
      <pc:sldChg chg="add del">
        <pc:chgData name="Falcão Lacerda, Rafael" userId="40181ff7-4694-4c53-a944-7b7d63582359" providerId="ADAL" clId="{3B4D5F63-EA56-4616-8A78-0C43AB7049E7}" dt="2025-12-08T07:16:05.566" v="22935" actId="47"/>
        <pc:sldMkLst>
          <pc:docMk/>
          <pc:sldMk cId="3871710310" sldId="1057"/>
        </pc:sldMkLst>
      </pc:sldChg>
      <pc:sldChg chg="addSp delSp modSp add del mod">
        <pc:chgData name="Falcão Lacerda, Rafael" userId="40181ff7-4694-4c53-a944-7b7d63582359" providerId="ADAL" clId="{3B4D5F63-EA56-4616-8A78-0C43AB7049E7}" dt="2025-12-08T06:17:22.942" v="18886" actId="47"/>
        <pc:sldMkLst>
          <pc:docMk/>
          <pc:sldMk cId="4281334330" sldId="1058"/>
        </pc:sldMkLst>
        <pc:spChg chg="add del mod modVis">
          <ac:chgData name="Falcão Lacerda, Rafael" userId="40181ff7-4694-4c53-a944-7b7d63582359" providerId="ADAL" clId="{3B4D5F63-EA56-4616-8A78-0C43AB7049E7}" dt="2025-12-08T06:02:05.265" v="17599"/>
          <ac:spMkLst>
            <pc:docMk/>
            <pc:sldMk cId="4281334330" sldId="1058"/>
            <ac:spMk id="2" creationId="{D20A1F58-842A-E341-6870-527C19A889DC}"/>
          </ac:spMkLst>
        </pc:spChg>
        <pc:spChg chg="add del mod modVis">
          <ac:chgData name="Falcão Lacerda, Rafael" userId="40181ff7-4694-4c53-a944-7b7d63582359" providerId="ADAL" clId="{3B4D5F63-EA56-4616-8A78-0C43AB7049E7}" dt="2025-12-08T06:02:07.229" v="17625"/>
          <ac:spMkLst>
            <pc:docMk/>
            <pc:sldMk cId="4281334330" sldId="1058"/>
            <ac:spMk id="4" creationId="{C6CE8627-72DE-C949-245D-EE3B133A1F71}"/>
          </ac:spMkLst>
        </pc:spChg>
        <pc:spChg chg="add del mod modVis">
          <ac:chgData name="Falcão Lacerda, Rafael" userId="40181ff7-4694-4c53-a944-7b7d63582359" providerId="ADAL" clId="{3B4D5F63-EA56-4616-8A78-0C43AB7049E7}" dt="2025-12-08T06:05:24.973" v="18143"/>
          <ac:spMkLst>
            <pc:docMk/>
            <pc:sldMk cId="4281334330" sldId="1058"/>
            <ac:spMk id="5" creationId="{05789431-3F56-5DEE-3913-3C5E3A9CD9E9}"/>
          </ac:spMkLst>
        </pc:spChg>
        <pc:spChg chg="add del mod modVis">
          <ac:chgData name="Falcão Lacerda, Rafael" userId="40181ff7-4694-4c53-a944-7b7d63582359" providerId="ADAL" clId="{3B4D5F63-EA56-4616-8A78-0C43AB7049E7}" dt="2025-12-08T06:05:28.027" v="18169"/>
          <ac:spMkLst>
            <pc:docMk/>
            <pc:sldMk cId="4281334330" sldId="1058"/>
            <ac:spMk id="6" creationId="{A6EB5658-8AF7-B380-C0A7-5BA76343973E}"/>
          </ac:spMkLst>
        </pc:spChg>
        <pc:spChg chg="mod">
          <ac:chgData name="Falcão Lacerda, Rafael" userId="40181ff7-4694-4c53-a944-7b7d63582359" providerId="ADAL" clId="{3B4D5F63-EA56-4616-8A78-0C43AB7049E7}" dt="2025-12-08T06:05:27.992" v="18147" actId="948"/>
          <ac:spMkLst>
            <pc:docMk/>
            <pc:sldMk cId="4281334330" sldId="1058"/>
            <ac:spMk id="15" creationId="{0F45F009-A3B6-5B40-1463-995F579E75DD}"/>
          </ac:spMkLst>
        </pc:spChg>
        <pc:graphicFrameChg chg="mod">
          <ac:chgData name="Falcão Lacerda, Rafael" userId="40181ff7-4694-4c53-a944-7b7d63582359" providerId="ADAL" clId="{3B4D5F63-EA56-4616-8A78-0C43AB7049E7}" dt="2025-12-08T06:05:28.032" v="18171"/>
          <ac:graphicFrameMkLst>
            <pc:docMk/>
            <pc:sldMk cId="4281334330" sldId="1058"/>
            <ac:graphicFrameMk id="3" creationId="{D3C31F21-C5B3-7DA7-BA50-2D400AA523E4}"/>
          </ac:graphicFrameMkLst>
        </pc:graphicFrameChg>
      </pc:sldChg>
      <pc:sldChg chg="addSp delSp modSp add del mod ord">
        <pc:chgData name="Falcão Lacerda, Rafael" userId="40181ff7-4694-4c53-a944-7b7d63582359" providerId="ADAL" clId="{3B4D5F63-EA56-4616-8A78-0C43AB7049E7}" dt="2025-12-08T07:16:04.332" v="22934" actId="47"/>
        <pc:sldMkLst>
          <pc:docMk/>
          <pc:sldMk cId="731492047" sldId="1059"/>
        </pc:sldMkLst>
        <pc:spChg chg="add del mod modVis">
          <ac:chgData name="Falcão Lacerda, Rafael" userId="40181ff7-4694-4c53-a944-7b7d63582359" providerId="ADAL" clId="{3B4D5F63-EA56-4616-8A78-0C43AB7049E7}" dt="2025-12-08T06:03:23.646" v="17961"/>
          <ac:spMkLst>
            <pc:docMk/>
            <pc:sldMk cId="731492047" sldId="1059"/>
            <ac:spMk id="2" creationId="{3FF4D27C-16F4-FBDD-EE85-34BB2D99BA4B}"/>
          </ac:spMkLst>
        </pc:spChg>
        <pc:spChg chg="mod">
          <ac:chgData name="Falcão Lacerda, Rafael" userId="40181ff7-4694-4c53-a944-7b7d63582359" providerId="ADAL" clId="{3B4D5F63-EA56-4616-8A78-0C43AB7049E7}" dt="2025-12-08T06:03:23.610" v="17939" actId="948"/>
          <ac:spMkLst>
            <pc:docMk/>
            <pc:sldMk cId="731492047" sldId="1059"/>
            <ac:spMk id="15" creationId="{6A235A3A-16C1-7EF5-7A27-D9CBC37CDE8D}"/>
          </ac:spMkLst>
        </pc:spChg>
        <pc:graphicFrameChg chg="mod">
          <ac:chgData name="Falcão Lacerda, Rafael" userId="40181ff7-4694-4c53-a944-7b7d63582359" providerId="ADAL" clId="{3B4D5F63-EA56-4616-8A78-0C43AB7049E7}" dt="2025-12-08T06:03:23.653" v="17963"/>
          <ac:graphicFrameMkLst>
            <pc:docMk/>
            <pc:sldMk cId="731492047" sldId="1059"/>
            <ac:graphicFrameMk id="3" creationId="{6D1B40F3-C403-9C86-C9E9-6EA83578C4AF}"/>
          </ac:graphicFrameMkLst>
        </pc:graphicFrameChg>
      </pc:sldChg>
      <pc:sldChg chg="addSp delSp modSp add del mod">
        <pc:chgData name="Falcão Lacerda, Rafael" userId="40181ff7-4694-4c53-a944-7b7d63582359" providerId="ADAL" clId="{3B4D5F63-EA56-4616-8A78-0C43AB7049E7}" dt="2025-12-08T07:08:57.318" v="22766" actId="47"/>
        <pc:sldMkLst>
          <pc:docMk/>
          <pc:sldMk cId="407912021" sldId="1060"/>
        </pc:sldMkLst>
        <pc:spChg chg="add del mod modVis">
          <ac:chgData name="Falcão Lacerda, Rafael" userId="40181ff7-4694-4c53-a944-7b7d63582359" providerId="ADAL" clId="{3B4D5F63-EA56-4616-8A78-0C43AB7049E7}" dt="2025-12-08T06:17:27.368" v="18910"/>
          <ac:spMkLst>
            <pc:docMk/>
            <pc:sldMk cId="407912021" sldId="1060"/>
            <ac:spMk id="2" creationId="{75CD51A0-B808-8F7D-046F-6E9E9403A8CA}"/>
          </ac:spMkLst>
        </pc:spChg>
        <pc:spChg chg="mod">
          <ac:chgData name="Falcão Lacerda, Rafael" userId="40181ff7-4694-4c53-a944-7b7d63582359" providerId="ADAL" clId="{3B4D5F63-EA56-4616-8A78-0C43AB7049E7}" dt="2025-12-08T06:17:27.334" v="18888" actId="948"/>
          <ac:spMkLst>
            <pc:docMk/>
            <pc:sldMk cId="407912021" sldId="1060"/>
            <ac:spMk id="15" creationId="{8AF7DD01-D3B5-5709-753F-D8C155976D40}"/>
          </ac:spMkLst>
        </pc:spChg>
        <pc:spChg chg="mod">
          <ac:chgData name="Falcão Lacerda, Rafael" userId="40181ff7-4694-4c53-a944-7b7d63582359" providerId="ADAL" clId="{3B4D5F63-EA56-4616-8A78-0C43AB7049E7}" dt="2025-12-08T06:17:37.271" v="18920" actId="20577"/>
          <ac:spMkLst>
            <pc:docMk/>
            <pc:sldMk cId="407912021" sldId="1060"/>
            <ac:spMk id="21" creationId="{6AF14064-8DB9-2A8A-5A43-07820096AC98}"/>
          </ac:spMkLst>
        </pc:spChg>
        <pc:spChg chg="mod">
          <ac:chgData name="Falcão Lacerda, Rafael" userId="40181ff7-4694-4c53-a944-7b7d63582359" providerId="ADAL" clId="{3B4D5F63-EA56-4616-8A78-0C43AB7049E7}" dt="2025-12-08T06:22:12.707" v="19616"/>
          <ac:spMkLst>
            <pc:docMk/>
            <pc:sldMk cId="407912021" sldId="1060"/>
            <ac:spMk id="22" creationId="{91D5DAFB-6C23-72A1-12E3-C1BAFDCA8A66}"/>
          </ac:spMkLst>
        </pc:spChg>
        <pc:spChg chg="mod">
          <ac:chgData name="Falcão Lacerda, Rafael" userId="40181ff7-4694-4c53-a944-7b7d63582359" providerId="ADAL" clId="{3B4D5F63-EA56-4616-8A78-0C43AB7049E7}" dt="2025-12-08T06:18:03.083" v="19035" actId="20577"/>
          <ac:spMkLst>
            <pc:docMk/>
            <pc:sldMk cId="407912021" sldId="1060"/>
            <ac:spMk id="23" creationId="{B3FEFD6C-6F91-41DA-F7EA-C042DDB84439}"/>
          </ac:spMkLst>
        </pc:spChg>
        <pc:spChg chg="mod">
          <ac:chgData name="Falcão Lacerda, Rafael" userId="40181ff7-4694-4c53-a944-7b7d63582359" providerId="ADAL" clId="{3B4D5F63-EA56-4616-8A78-0C43AB7049E7}" dt="2025-12-08T06:18:11.794" v="19064" actId="20577"/>
          <ac:spMkLst>
            <pc:docMk/>
            <pc:sldMk cId="407912021" sldId="1060"/>
            <ac:spMk id="24" creationId="{E1F28DDD-B92A-979F-B0D3-EBB1F883D754}"/>
          </ac:spMkLst>
        </pc:spChg>
        <pc:spChg chg="mod">
          <ac:chgData name="Falcão Lacerda, Rafael" userId="40181ff7-4694-4c53-a944-7b7d63582359" providerId="ADAL" clId="{3B4D5F63-EA56-4616-8A78-0C43AB7049E7}" dt="2025-12-08T06:18:30.619" v="19086" actId="20577"/>
          <ac:spMkLst>
            <pc:docMk/>
            <pc:sldMk cId="407912021" sldId="1060"/>
            <ac:spMk id="25" creationId="{E9F7EAF7-72C7-722D-0DE0-B649B1309D04}"/>
          </ac:spMkLst>
        </pc:spChg>
        <pc:spChg chg="mod">
          <ac:chgData name="Falcão Lacerda, Rafael" userId="40181ff7-4694-4c53-a944-7b7d63582359" providerId="ADAL" clId="{3B4D5F63-EA56-4616-8A78-0C43AB7049E7}" dt="2025-12-08T06:18:53.082" v="19198" actId="20577"/>
          <ac:spMkLst>
            <pc:docMk/>
            <pc:sldMk cId="407912021" sldId="1060"/>
            <ac:spMk id="26" creationId="{E64B7A41-4299-1668-3CB8-C695B874103C}"/>
          </ac:spMkLst>
        </pc:spChg>
        <pc:spChg chg="mod">
          <ac:chgData name="Falcão Lacerda, Rafael" userId="40181ff7-4694-4c53-a944-7b7d63582359" providerId="ADAL" clId="{3B4D5F63-EA56-4616-8A78-0C43AB7049E7}" dt="2025-12-08T06:19:00.032" v="19219" actId="20577"/>
          <ac:spMkLst>
            <pc:docMk/>
            <pc:sldMk cId="407912021" sldId="1060"/>
            <ac:spMk id="27" creationId="{562380B1-4470-8A8A-6B8E-34765E4CFC19}"/>
          </ac:spMkLst>
        </pc:spChg>
        <pc:spChg chg="mod">
          <ac:chgData name="Falcão Lacerda, Rafael" userId="40181ff7-4694-4c53-a944-7b7d63582359" providerId="ADAL" clId="{3B4D5F63-EA56-4616-8A78-0C43AB7049E7}" dt="2025-12-08T06:19:10.588" v="19229" actId="20577"/>
          <ac:spMkLst>
            <pc:docMk/>
            <pc:sldMk cId="407912021" sldId="1060"/>
            <ac:spMk id="28" creationId="{D09A7335-1EC2-B8B3-FD93-EA331EDE88CF}"/>
          </ac:spMkLst>
        </pc:spChg>
        <pc:spChg chg="mod">
          <ac:chgData name="Falcão Lacerda, Rafael" userId="40181ff7-4694-4c53-a944-7b7d63582359" providerId="ADAL" clId="{3B4D5F63-EA56-4616-8A78-0C43AB7049E7}" dt="2025-12-08T06:19:29.363" v="19324" actId="20577"/>
          <ac:spMkLst>
            <pc:docMk/>
            <pc:sldMk cId="407912021" sldId="1060"/>
            <ac:spMk id="29" creationId="{F4511A9D-99BE-BEB6-487B-3E96E076C9DF}"/>
          </ac:spMkLst>
        </pc:spChg>
        <pc:spChg chg="mod">
          <ac:chgData name="Falcão Lacerda, Rafael" userId="40181ff7-4694-4c53-a944-7b7d63582359" providerId="ADAL" clId="{3B4D5F63-EA56-4616-8A78-0C43AB7049E7}" dt="2025-12-08T06:19:37.905" v="19351" actId="20577"/>
          <ac:spMkLst>
            <pc:docMk/>
            <pc:sldMk cId="407912021" sldId="1060"/>
            <ac:spMk id="30" creationId="{955C5DBA-3372-3C3F-4A3B-857B7E644629}"/>
          </ac:spMkLst>
        </pc:spChg>
        <pc:spChg chg="mod">
          <ac:chgData name="Falcão Lacerda, Rafael" userId="40181ff7-4694-4c53-a944-7b7d63582359" providerId="ADAL" clId="{3B4D5F63-EA56-4616-8A78-0C43AB7049E7}" dt="2025-12-08T06:19:54.611" v="19385" actId="20577"/>
          <ac:spMkLst>
            <pc:docMk/>
            <pc:sldMk cId="407912021" sldId="1060"/>
            <ac:spMk id="31" creationId="{F8F16012-1446-6FB1-C08F-56C5C44E4A7A}"/>
          </ac:spMkLst>
        </pc:spChg>
        <pc:spChg chg="mod">
          <ac:chgData name="Falcão Lacerda, Rafael" userId="40181ff7-4694-4c53-a944-7b7d63582359" providerId="ADAL" clId="{3B4D5F63-EA56-4616-8A78-0C43AB7049E7}" dt="2025-12-08T06:20:23.161" v="19541" actId="20577"/>
          <ac:spMkLst>
            <pc:docMk/>
            <pc:sldMk cId="407912021" sldId="1060"/>
            <ac:spMk id="32" creationId="{AFF393A9-28E4-C68E-EFDC-E1A73D6E5572}"/>
          </ac:spMkLst>
        </pc:spChg>
        <pc:spChg chg="mod">
          <ac:chgData name="Falcão Lacerda, Rafael" userId="40181ff7-4694-4c53-a944-7b7d63582359" providerId="ADAL" clId="{3B4D5F63-EA56-4616-8A78-0C43AB7049E7}" dt="2025-12-08T06:20:29.958" v="19558" actId="20577"/>
          <ac:spMkLst>
            <pc:docMk/>
            <pc:sldMk cId="407912021" sldId="1060"/>
            <ac:spMk id="33" creationId="{AD7BBF7E-A14A-5501-2CAD-830A6AB74CA8}"/>
          </ac:spMkLst>
        </pc:spChg>
        <pc:graphicFrameChg chg="mod">
          <ac:chgData name="Falcão Lacerda, Rafael" userId="40181ff7-4694-4c53-a944-7b7d63582359" providerId="ADAL" clId="{3B4D5F63-EA56-4616-8A78-0C43AB7049E7}" dt="2025-12-08T06:17:27.369" v="18912"/>
          <ac:graphicFrameMkLst>
            <pc:docMk/>
            <pc:sldMk cId="407912021" sldId="1060"/>
            <ac:graphicFrameMk id="3" creationId="{0C88BB1B-23B3-B884-968D-C08F0B7D3247}"/>
          </ac:graphicFrameMkLst>
        </pc:graphicFrameChg>
      </pc:sldChg>
      <pc:sldChg chg="addSp delSp modSp add del mod ord">
        <pc:chgData name="Falcão Lacerda, Rafael" userId="40181ff7-4694-4c53-a944-7b7d63582359" providerId="ADAL" clId="{3B4D5F63-EA56-4616-8A78-0C43AB7049E7}" dt="2025-12-08T07:14:39.763" v="22906" actId="47"/>
        <pc:sldMkLst>
          <pc:docMk/>
          <pc:sldMk cId="565563104" sldId="1061"/>
        </pc:sldMkLst>
        <pc:spChg chg="add del mod modVis">
          <ac:chgData name="Falcão Lacerda, Rafael" userId="40181ff7-4694-4c53-a944-7b7d63582359" providerId="ADAL" clId="{3B4D5F63-EA56-4616-8A78-0C43AB7049E7}" dt="2025-12-08T06:44:51.241" v="21298"/>
          <ac:spMkLst>
            <pc:docMk/>
            <pc:sldMk cId="565563104" sldId="1061"/>
            <ac:spMk id="2" creationId="{5D799913-BE8A-20AC-8750-43EBC45D2EB8}"/>
          </ac:spMkLst>
        </pc:spChg>
        <pc:spChg chg="add del mod modVis">
          <ac:chgData name="Falcão Lacerda, Rafael" userId="40181ff7-4694-4c53-a944-7b7d63582359" providerId="ADAL" clId="{3B4D5F63-EA56-4616-8A78-0C43AB7049E7}" dt="2025-12-08T06:44:53.799" v="21335"/>
          <ac:spMkLst>
            <pc:docMk/>
            <pc:sldMk cId="565563104" sldId="1061"/>
            <ac:spMk id="4" creationId="{2B475704-417E-5649-3A65-730252D744D9}"/>
          </ac:spMkLst>
        </pc:spChg>
        <pc:spChg chg="add del mod modVis">
          <ac:chgData name="Falcão Lacerda, Rafael" userId="40181ff7-4694-4c53-a944-7b7d63582359" providerId="ADAL" clId="{3B4D5F63-EA56-4616-8A78-0C43AB7049E7}" dt="2025-12-08T06:45:00.758" v="21395"/>
          <ac:spMkLst>
            <pc:docMk/>
            <pc:sldMk cId="565563104" sldId="1061"/>
            <ac:spMk id="5" creationId="{31DA41CB-D574-CC81-E4B1-27FC94066E6E}"/>
          </ac:spMkLst>
        </pc:spChg>
        <pc:spChg chg="add del mod modVis">
          <ac:chgData name="Falcão Lacerda, Rafael" userId="40181ff7-4694-4c53-a944-7b7d63582359" providerId="ADAL" clId="{3B4D5F63-EA56-4616-8A78-0C43AB7049E7}" dt="2025-12-08T06:45:19.636" v="21421"/>
          <ac:spMkLst>
            <pc:docMk/>
            <pc:sldMk cId="565563104" sldId="1061"/>
            <ac:spMk id="6" creationId="{254C7B36-16FC-3605-8D60-03D48F49F683}"/>
          </ac:spMkLst>
        </pc:spChg>
        <pc:spChg chg="add del mod modVis">
          <ac:chgData name="Falcão Lacerda, Rafael" userId="40181ff7-4694-4c53-a944-7b7d63582359" providerId="ADAL" clId="{3B4D5F63-EA56-4616-8A78-0C43AB7049E7}" dt="2025-12-08T07:11:19.393" v="22844"/>
          <ac:spMkLst>
            <pc:docMk/>
            <pc:sldMk cId="565563104" sldId="1061"/>
            <ac:spMk id="7" creationId="{5E767C30-17BC-E854-B1C8-B54E8E225C99}"/>
          </ac:spMkLst>
        </pc:spChg>
        <pc:spChg chg="mod">
          <ac:chgData name="Falcão Lacerda, Rafael" userId="40181ff7-4694-4c53-a944-7b7d63582359" providerId="ADAL" clId="{3B4D5F63-EA56-4616-8A78-0C43AB7049E7}" dt="2025-12-08T07:11:19.346" v="22822" actId="948"/>
          <ac:spMkLst>
            <pc:docMk/>
            <pc:sldMk cId="565563104" sldId="1061"/>
            <ac:spMk id="15" creationId="{4AEAAF2B-8429-C04A-D305-99D08249C21D}"/>
          </ac:spMkLst>
        </pc:spChg>
        <pc:spChg chg="mod">
          <ac:chgData name="Falcão Lacerda, Rafael" userId="40181ff7-4694-4c53-a944-7b7d63582359" providerId="ADAL" clId="{3B4D5F63-EA56-4616-8A78-0C43AB7049E7}" dt="2025-12-08T06:54:06.308" v="21833" actId="14100"/>
          <ac:spMkLst>
            <pc:docMk/>
            <pc:sldMk cId="565563104" sldId="1061"/>
            <ac:spMk id="21" creationId="{B38D19F3-64EA-2DDA-C329-E717E8742F1D}"/>
          </ac:spMkLst>
        </pc:spChg>
        <pc:spChg chg="mod">
          <ac:chgData name="Falcão Lacerda, Rafael" userId="40181ff7-4694-4c53-a944-7b7d63582359" providerId="ADAL" clId="{3B4D5F63-EA56-4616-8A78-0C43AB7049E7}" dt="2025-12-08T06:45:48.604" v="21493" actId="20577"/>
          <ac:spMkLst>
            <pc:docMk/>
            <pc:sldMk cId="565563104" sldId="1061"/>
            <ac:spMk id="22" creationId="{E1A66987-68AE-24A5-A305-217750BF0996}"/>
          </ac:spMkLst>
        </pc:spChg>
        <pc:spChg chg="mod">
          <ac:chgData name="Falcão Lacerda, Rafael" userId="40181ff7-4694-4c53-a944-7b7d63582359" providerId="ADAL" clId="{3B4D5F63-EA56-4616-8A78-0C43AB7049E7}" dt="2025-12-08T06:43:16.166" v="21204" actId="554"/>
          <ac:spMkLst>
            <pc:docMk/>
            <pc:sldMk cId="565563104" sldId="1061"/>
            <ac:spMk id="23" creationId="{48CC9D83-C2AB-DCF4-8A0F-C9E993330225}"/>
          </ac:spMkLst>
        </pc:spChg>
        <pc:spChg chg="mod">
          <ac:chgData name="Falcão Lacerda, Rafael" userId="40181ff7-4694-4c53-a944-7b7d63582359" providerId="ADAL" clId="{3B4D5F63-EA56-4616-8A78-0C43AB7049E7}" dt="2025-12-08T06:43:16.166" v="21204" actId="554"/>
          <ac:spMkLst>
            <pc:docMk/>
            <pc:sldMk cId="565563104" sldId="1061"/>
            <ac:spMk id="24" creationId="{46A232F4-C913-4D01-15D1-94D9107AFBCE}"/>
          </ac:spMkLst>
        </pc:spChg>
        <pc:spChg chg="mod">
          <ac:chgData name="Falcão Lacerda, Rafael" userId="40181ff7-4694-4c53-a944-7b7d63582359" providerId="ADAL" clId="{3B4D5F63-EA56-4616-8A78-0C43AB7049E7}" dt="2025-12-08T06:54:06.308" v="21833" actId="14100"/>
          <ac:spMkLst>
            <pc:docMk/>
            <pc:sldMk cId="565563104" sldId="1061"/>
            <ac:spMk id="25" creationId="{4C6C7689-9CB6-78A4-1050-D7E7CFE3D8C6}"/>
          </ac:spMkLst>
        </pc:spChg>
        <pc:spChg chg="mod">
          <ac:chgData name="Falcão Lacerda, Rafael" userId="40181ff7-4694-4c53-a944-7b7d63582359" providerId="ADAL" clId="{3B4D5F63-EA56-4616-8A78-0C43AB7049E7}" dt="2025-12-08T06:43:22.445" v="21205" actId="554"/>
          <ac:spMkLst>
            <pc:docMk/>
            <pc:sldMk cId="565563104" sldId="1061"/>
            <ac:spMk id="26" creationId="{92E17A9B-B84A-9AE1-B38F-FE035F793ACF}"/>
          </ac:spMkLst>
        </pc:spChg>
        <pc:spChg chg="mod">
          <ac:chgData name="Falcão Lacerda, Rafael" userId="40181ff7-4694-4c53-a944-7b7d63582359" providerId="ADAL" clId="{3B4D5F63-EA56-4616-8A78-0C43AB7049E7}" dt="2025-12-08T06:43:22.445" v="21205" actId="554"/>
          <ac:spMkLst>
            <pc:docMk/>
            <pc:sldMk cId="565563104" sldId="1061"/>
            <ac:spMk id="27" creationId="{AF5208B7-1154-2EC7-9C03-F7EC6DEC120B}"/>
          </ac:spMkLst>
        </pc:spChg>
        <pc:spChg chg="mod">
          <ac:chgData name="Falcão Lacerda, Rafael" userId="40181ff7-4694-4c53-a944-7b7d63582359" providerId="ADAL" clId="{3B4D5F63-EA56-4616-8A78-0C43AB7049E7}" dt="2025-12-08T06:54:06.308" v="21833" actId="14100"/>
          <ac:spMkLst>
            <pc:docMk/>
            <pc:sldMk cId="565563104" sldId="1061"/>
            <ac:spMk id="28" creationId="{550A1A22-8AED-EC8E-5434-B74DF96DC61D}"/>
          </ac:spMkLst>
        </pc:spChg>
        <pc:spChg chg="mod">
          <ac:chgData name="Falcão Lacerda, Rafael" userId="40181ff7-4694-4c53-a944-7b7d63582359" providerId="ADAL" clId="{3B4D5F63-EA56-4616-8A78-0C43AB7049E7}" dt="2025-12-08T06:43:26.650" v="21206" actId="554"/>
          <ac:spMkLst>
            <pc:docMk/>
            <pc:sldMk cId="565563104" sldId="1061"/>
            <ac:spMk id="29" creationId="{A4343CC7-6FF4-671F-263B-C48F99D4857A}"/>
          </ac:spMkLst>
        </pc:spChg>
        <pc:spChg chg="mod">
          <ac:chgData name="Falcão Lacerda, Rafael" userId="40181ff7-4694-4c53-a944-7b7d63582359" providerId="ADAL" clId="{3B4D5F63-EA56-4616-8A78-0C43AB7049E7}" dt="2025-12-08T06:43:26.650" v="21206" actId="554"/>
          <ac:spMkLst>
            <pc:docMk/>
            <pc:sldMk cId="565563104" sldId="1061"/>
            <ac:spMk id="30" creationId="{F01620EF-F6EC-4F53-8A3C-2F41682A4250}"/>
          </ac:spMkLst>
        </pc:spChg>
        <pc:spChg chg="mod">
          <ac:chgData name="Falcão Lacerda, Rafael" userId="40181ff7-4694-4c53-a944-7b7d63582359" providerId="ADAL" clId="{3B4D5F63-EA56-4616-8A78-0C43AB7049E7}" dt="2025-12-08T06:54:06.308" v="21833" actId="14100"/>
          <ac:spMkLst>
            <pc:docMk/>
            <pc:sldMk cId="565563104" sldId="1061"/>
            <ac:spMk id="31" creationId="{E7AF76B8-EF43-CFD9-3A77-8C40941BE252}"/>
          </ac:spMkLst>
        </pc:spChg>
        <pc:spChg chg="mod">
          <ac:chgData name="Falcão Lacerda, Rafael" userId="40181ff7-4694-4c53-a944-7b7d63582359" providerId="ADAL" clId="{3B4D5F63-EA56-4616-8A78-0C43AB7049E7}" dt="2025-12-08T06:43:31.296" v="21207" actId="554"/>
          <ac:spMkLst>
            <pc:docMk/>
            <pc:sldMk cId="565563104" sldId="1061"/>
            <ac:spMk id="32" creationId="{79E66413-3E54-39DA-7973-58CBC059AFDD}"/>
          </ac:spMkLst>
        </pc:spChg>
        <pc:spChg chg="mod">
          <ac:chgData name="Falcão Lacerda, Rafael" userId="40181ff7-4694-4c53-a944-7b7d63582359" providerId="ADAL" clId="{3B4D5F63-EA56-4616-8A78-0C43AB7049E7}" dt="2025-12-08T06:43:31.296" v="21207" actId="554"/>
          <ac:spMkLst>
            <pc:docMk/>
            <pc:sldMk cId="565563104" sldId="1061"/>
            <ac:spMk id="33" creationId="{89B02722-3A9A-C45F-D86B-880430B3FEFE}"/>
          </ac:spMkLst>
        </pc:spChg>
        <pc:graphicFrameChg chg="mod">
          <ac:chgData name="Falcão Lacerda, Rafael" userId="40181ff7-4694-4c53-a944-7b7d63582359" providerId="ADAL" clId="{3B4D5F63-EA56-4616-8A78-0C43AB7049E7}" dt="2025-12-08T07:11:19.919" v="22848"/>
          <ac:graphicFrameMkLst>
            <pc:docMk/>
            <pc:sldMk cId="565563104" sldId="1061"/>
            <ac:graphicFrameMk id="3" creationId="{1628D271-8462-95DC-BD8D-919D6DCF1948}"/>
          </ac:graphicFrameMkLst>
        </pc:graphicFrameChg>
      </pc:sldChg>
      <pc:sldChg chg="addSp delSp modSp add mod ord">
        <pc:chgData name="Falcão Lacerda, Rafael" userId="40181ff7-4694-4c53-a944-7b7d63582359" providerId="ADAL" clId="{3B4D5F63-EA56-4616-8A78-0C43AB7049E7}" dt="2025-12-08T17:10:43.932" v="33625" actId="207"/>
        <pc:sldMkLst>
          <pc:docMk/>
          <pc:sldMk cId="1298822786" sldId="1062"/>
        </pc:sldMkLst>
        <pc:spChg chg="add del mod">
          <ac:chgData name="Falcão Lacerda, Rafael" userId="40181ff7-4694-4c53-a944-7b7d63582359" providerId="ADAL" clId="{3B4D5F63-EA56-4616-8A78-0C43AB7049E7}" dt="2025-12-08T06:56:52.757" v="21992" actId="478"/>
          <ac:spMkLst>
            <pc:docMk/>
            <pc:sldMk cId="1298822786" sldId="1062"/>
            <ac:spMk id="2" creationId="{538B53A6-E181-9FFB-72AB-3773F4D0A7CA}"/>
          </ac:spMkLst>
        </pc:spChg>
        <pc:spChg chg="add del mod">
          <ac:chgData name="Falcão Lacerda, Rafael" userId="40181ff7-4694-4c53-a944-7b7d63582359" providerId="ADAL" clId="{3B4D5F63-EA56-4616-8A78-0C43AB7049E7}" dt="2025-12-08T06:56:52.757" v="21992" actId="478"/>
          <ac:spMkLst>
            <pc:docMk/>
            <pc:sldMk cId="1298822786" sldId="1062"/>
            <ac:spMk id="4" creationId="{0BF6D667-0EA3-DC39-878C-B8A23E5FFE79}"/>
          </ac:spMkLst>
        </pc:spChg>
        <pc:spChg chg="add mod">
          <ac:chgData name="Falcão Lacerda, Rafael" userId="40181ff7-4694-4c53-a944-7b7d63582359" providerId="ADAL" clId="{3B4D5F63-EA56-4616-8A78-0C43AB7049E7}" dt="2025-12-08T07:02:00.887" v="22240" actId="164"/>
          <ac:spMkLst>
            <pc:docMk/>
            <pc:sldMk cId="1298822786" sldId="1062"/>
            <ac:spMk id="6" creationId="{BA0CBFB2-A7EC-AF5F-3DBF-87279669B2AE}"/>
          </ac:spMkLst>
        </pc:spChg>
        <pc:spChg chg="add del mod">
          <ac:chgData name="Falcão Lacerda, Rafael" userId="40181ff7-4694-4c53-a944-7b7d63582359" providerId="ADAL" clId="{3B4D5F63-EA56-4616-8A78-0C43AB7049E7}" dt="2025-12-08T07:02:00.887" v="22240" actId="164"/>
          <ac:spMkLst>
            <pc:docMk/>
            <pc:sldMk cId="1298822786" sldId="1062"/>
            <ac:spMk id="7" creationId="{401C6966-B163-D47F-3030-133EB2B4255C}"/>
          </ac:spMkLst>
        </pc:spChg>
        <pc:spChg chg="add mod">
          <ac:chgData name="Falcão Lacerda, Rafael" userId="40181ff7-4694-4c53-a944-7b7d63582359" providerId="ADAL" clId="{3B4D5F63-EA56-4616-8A78-0C43AB7049E7}" dt="2025-12-08T07:02:00.887" v="22240" actId="164"/>
          <ac:spMkLst>
            <pc:docMk/>
            <pc:sldMk cId="1298822786" sldId="1062"/>
            <ac:spMk id="8" creationId="{60912DE4-87C2-83D7-D046-0F336D92D3FF}"/>
          </ac:spMkLst>
        </pc:spChg>
        <pc:spChg chg="add mod">
          <ac:chgData name="Falcão Lacerda, Rafael" userId="40181ff7-4694-4c53-a944-7b7d63582359" providerId="ADAL" clId="{3B4D5F63-EA56-4616-8A78-0C43AB7049E7}" dt="2025-12-08T07:02:00.887" v="22240" actId="164"/>
          <ac:spMkLst>
            <pc:docMk/>
            <pc:sldMk cId="1298822786" sldId="1062"/>
            <ac:spMk id="9" creationId="{B5177493-A36F-FB27-459A-B2A4A773BD9F}"/>
          </ac:spMkLst>
        </pc:spChg>
        <pc:spChg chg="add del mod">
          <ac:chgData name="Falcão Lacerda, Rafael" userId="40181ff7-4694-4c53-a944-7b7d63582359" providerId="ADAL" clId="{3B4D5F63-EA56-4616-8A78-0C43AB7049E7}" dt="2025-12-08T06:57:27.121" v="22004" actId="478"/>
          <ac:spMkLst>
            <pc:docMk/>
            <pc:sldMk cId="1298822786" sldId="1062"/>
            <ac:spMk id="11" creationId="{E54CD414-DFF4-D889-4973-DB71592BF508}"/>
          </ac:spMkLst>
        </pc:spChg>
        <pc:spChg chg="add del mod">
          <ac:chgData name="Falcão Lacerda, Rafael" userId="40181ff7-4694-4c53-a944-7b7d63582359" providerId="ADAL" clId="{3B4D5F63-EA56-4616-8A78-0C43AB7049E7}" dt="2025-12-08T06:58:15.575" v="22039" actId="478"/>
          <ac:spMkLst>
            <pc:docMk/>
            <pc:sldMk cId="1298822786" sldId="1062"/>
            <ac:spMk id="13" creationId="{18CD2FB3-7CE1-CBDE-C822-DDAB636CC8ED}"/>
          </ac:spMkLst>
        </pc:spChg>
        <pc:spChg chg="mod">
          <ac:chgData name="Falcão Lacerda, Rafael" userId="40181ff7-4694-4c53-a944-7b7d63582359" providerId="ADAL" clId="{3B4D5F63-EA56-4616-8A78-0C43AB7049E7}" dt="2025-12-08T07:02:24.154" v="22244" actId="948"/>
          <ac:spMkLst>
            <pc:docMk/>
            <pc:sldMk cId="1298822786" sldId="1062"/>
            <ac:spMk id="15" creationId="{C478DC5A-ADEC-A438-5A07-B0FD9B7B1C82}"/>
          </ac:spMkLst>
        </pc:spChg>
        <pc:spChg chg="add del mod">
          <ac:chgData name="Falcão Lacerda, Rafael" userId="40181ff7-4694-4c53-a944-7b7d63582359" providerId="ADAL" clId="{3B4D5F63-EA56-4616-8A78-0C43AB7049E7}" dt="2025-12-08T06:58:16.697" v="22040" actId="478"/>
          <ac:spMkLst>
            <pc:docMk/>
            <pc:sldMk cId="1298822786" sldId="1062"/>
            <ac:spMk id="16" creationId="{9F6DDE62-C2D4-BFD8-B325-CC8FB1901C0B}"/>
          </ac:spMkLst>
        </pc:spChg>
        <pc:spChg chg="add del mod">
          <ac:chgData name="Falcão Lacerda, Rafael" userId="40181ff7-4694-4c53-a944-7b7d63582359" providerId="ADAL" clId="{3B4D5F63-EA56-4616-8A78-0C43AB7049E7}" dt="2025-12-08T06:58:17.998" v="22041" actId="478"/>
          <ac:spMkLst>
            <pc:docMk/>
            <pc:sldMk cId="1298822786" sldId="1062"/>
            <ac:spMk id="18" creationId="{FE08C202-D2DA-5D94-63B9-21BB8790C453}"/>
          </ac:spMkLst>
        </pc:spChg>
        <pc:spChg chg="add mod">
          <ac:chgData name="Falcão Lacerda, Rafael" userId="40181ff7-4694-4c53-a944-7b7d63582359" providerId="ADAL" clId="{3B4D5F63-EA56-4616-8A78-0C43AB7049E7}" dt="2025-12-08T07:02:03.853" v="22241" actId="164"/>
          <ac:spMkLst>
            <pc:docMk/>
            <pc:sldMk cId="1298822786" sldId="1062"/>
            <ac:spMk id="19" creationId="{DD38C6EA-F080-9CC1-6F19-D7BA98C15BAE}"/>
          </ac:spMkLst>
        </pc:spChg>
        <pc:spChg chg="add mod">
          <ac:chgData name="Falcão Lacerda, Rafael" userId="40181ff7-4694-4c53-a944-7b7d63582359" providerId="ADAL" clId="{3B4D5F63-EA56-4616-8A78-0C43AB7049E7}" dt="2025-12-08T07:02:03.853" v="22241" actId="164"/>
          <ac:spMkLst>
            <pc:docMk/>
            <pc:sldMk cId="1298822786" sldId="1062"/>
            <ac:spMk id="20" creationId="{1C9BD2E0-E057-1DA5-7CE0-5DCED37D8803}"/>
          </ac:spMkLst>
        </pc:spChg>
        <pc:spChg chg="del mod">
          <ac:chgData name="Falcão Lacerda, Rafael" userId="40181ff7-4694-4c53-a944-7b7d63582359" providerId="ADAL" clId="{3B4D5F63-EA56-4616-8A78-0C43AB7049E7}" dt="2025-12-08T07:00:58.731" v="22199" actId="478"/>
          <ac:spMkLst>
            <pc:docMk/>
            <pc:sldMk cId="1298822786" sldId="1062"/>
            <ac:spMk id="21" creationId="{157BD679-B948-5A77-3D4A-D09983F4152F}"/>
          </ac:spMkLst>
        </pc:spChg>
        <pc:spChg chg="mod">
          <ac:chgData name="Falcão Lacerda, Rafael" userId="40181ff7-4694-4c53-a944-7b7d63582359" providerId="ADAL" clId="{3B4D5F63-EA56-4616-8A78-0C43AB7049E7}" dt="2025-12-08T17:10:43.932" v="33625" actId="207"/>
          <ac:spMkLst>
            <pc:docMk/>
            <pc:sldMk cId="1298822786" sldId="1062"/>
            <ac:spMk id="22" creationId="{D517E5B9-E4DA-64A7-70D3-3BA4DFEEB950}"/>
          </ac:spMkLst>
        </pc:spChg>
        <pc:spChg chg="del mod">
          <ac:chgData name="Falcão Lacerda, Rafael" userId="40181ff7-4694-4c53-a944-7b7d63582359" providerId="ADAL" clId="{3B4D5F63-EA56-4616-8A78-0C43AB7049E7}" dt="2025-12-08T06:57:23.648" v="22003" actId="478"/>
          <ac:spMkLst>
            <pc:docMk/>
            <pc:sldMk cId="1298822786" sldId="1062"/>
            <ac:spMk id="23" creationId="{D981405C-38F5-0CED-6679-97C2FF2866AD}"/>
          </ac:spMkLst>
        </pc:spChg>
        <pc:spChg chg="del mod">
          <ac:chgData name="Falcão Lacerda, Rafael" userId="40181ff7-4694-4c53-a944-7b7d63582359" providerId="ADAL" clId="{3B4D5F63-EA56-4616-8A78-0C43AB7049E7}" dt="2025-12-08T06:59:41.694" v="22159" actId="478"/>
          <ac:spMkLst>
            <pc:docMk/>
            <pc:sldMk cId="1298822786" sldId="1062"/>
            <ac:spMk id="24" creationId="{F4047F4B-12E3-5646-3555-51E07EF07363}"/>
          </ac:spMkLst>
        </pc:spChg>
        <pc:spChg chg="del mod">
          <ac:chgData name="Falcão Lacerda, Rafael" userId="40181ff7-4694-4c53-a944-7b7d63582359" providerId="ADAL" clId="{3B4D5F63-EA56-4616-8A78-0C43AB7049E7}" dt="2025-12-08T07:00:58.731" v="22199" actId="478"/>
          <ac:spMkLst>
            <pc:docMk/>
            <pc:sldMk cId="1298822786" sldId="1062"/>
            <ac:spMk id="25" creationId="{C5EEECDB-2D9E-CF20-8A5E-718D6E0A27AA}"/>
          </ac:spMkLst>
        </pc:spChg>
        <pc:spChg chg="del mod">
          <ac:chgData name="Falcão Lacerda, Rafael" userId="40181ff7-4694-4c53-a944-7b7d63582359" providerId="ADAL" clId="{3B4D5F63-EA56-4616-8A78-0C43AB7049E7}" dt="2025-12-08T06:58:13.310" v="22038" actId="478"/>
          <ac:spMkLst>
            <pc:docMk/>
            <pc:sldMk cId="1298822786" sldId="1062"/>
            <ac:spMk id="26" creationId="{E3AC7209-9EA3-1293-8AC6-A14D46E7BAFE}"/>
          </ac:spMkLst>
        </pc:spChg>
        <pc:spChg chg="del mod">
          <ac:chgData name="Falcão Lacerda, Rafael" userId="40181ff7-4694-4c53-a944-7b7d63582359" providerId="ADAL" clId="{3B4D5F63-EA56-4616-8A78-0C43AB7049E7}" dt="2025-12-08T06:59:53.757" v="22162" actId="478"/>
          <ac:spMkLst>
            <pc:docMk/>
            <pc:sldMk cId="1298822786" sldId="1062"/>
            <ac:spMk id="27" creationId="{737F039C-AE8E-9753-07B2-7140F346BD29}"/>
          </ac:spMkLst>
        </pc:spChg>
        <pc:spChg chg="del mod">
          <ac:chgData name="Falcão Lacerda, Rafael" userId="40181ff7-4694-4c53-a944-7b7d63582359" providerId="ADAL" clId="{3B4D5F63-EA56-4616-8A78-0C43AB7049E7}" dt="2025-12-08T07:00:58.731" v="22199" actId="478"/>
          <ac:spMkLst>
            <pc:docMk/>
            <pc:sldMk cId="1298822786" sldId="1062"/>
            <ac:spMk id="28" creationId="{283359FF-5335-EB0F-AAB7-56D3443128E1}"/>
          </ac:spMkLst>
        </pc:spChg>
        <pc:spChg chg="del mod">
          <ac:chgData name="Falcão Lacerda, Rafael" userId="40181ff7-4694-4c53-a944-7b7d63582359" providerId="ADAL" clId="{3B4D5F63-EA56-4616-8A78-0C43AB7049E7}" dt="2025-12-08T06:58:13.310" v="22038" actId="478"/>
          <ac:spMkLst>
            <pc:docMk/>
            <pc:sldMk cId="1298822786" sldId="1062"/>
            <ac:spMk id="29" creationId="{55FD673A-4FEE-0934-B2E9-336E0015D444}"/>
          </ac:spMkLst>
        </pc:spChg>
        <pc:spChg chg="del mod">
          <ac:chgData name="Falcão Lacerda, Rafael" userId="40181ff7-4694-4c53-a944-7b7d63582359" providerId="ADAL" clId="{3B4D5F63-EA56-4616-8A78-0C43AB7049E7}" dt="2025-12-08T07:00:01.326" v="22165" actId="478"/>
          <ac:spMkLst>
            <pc:docMk/>
            <pc:sldMk cId="1298822786" sldId="1062"/>
            <ac:spMk id="30" creationId="{37DA1896-3DA8-28F8-F0AC-3A4B68B6104A}"/>
          </ac:spMkLst>
        </pc:spChg>
        <pc:spChg chg="del mod">
          <ac:chgData name="Falcão Lacerda, Rafael" userId="40181ff7-4694-4c53-a944-7b7d63582359" providerId="ADAL" clId="{3B4D5F63-EA56-4616-8A78-0C43AB7049E7}" dt="2025-12-08T07:00:58.731" v="22199" actId="478"/>
          <ac:spMkLst>
            <pc:docMk/>
            <pc:sldMk cId="1298822786" sldId="1062"/>
            <ac:spMk id="31" creationId="{822656C5-558C-3FED-C8EC-B321E8F29F60}"/>
          </ac:spMkLst>
        </pc:spChg>
        <pc:spChg chg="del mod">
          <ac:chgData name="Falcão Lacerda, Rafael" userId="40181ff7-4694-4c53-a944-7b7d63582359" providerId="ADAL" clId="{3B4D5F63-EA56-4616-8A78-0C43AB7049E7}" dt="2025-12-08T06:58:13.310" v="22038" actId="478"/>
          <ac:spMkLst>
            <pc:docMk/>
            <pc:sldMk cId="1298822786" sldId="1062"/>
            <ac:spMk id="32" creationId="{9DBF079E-8C4D-99F0-1569-7551C8F29A98}"/>
          </ac:spMkLst>
        </pc:spChg>
        <pc:spChg chg="del mod">
          <ac:chgData name="Falcão Lacerda, Rafael" userId="40181ff7-4694-4c53-a944-7b7d63582359" providerId="ADAL" clId="{3B4D5F63-EA56-4616-8A78-0C43AB7049E7}" dt="2025-12-08T07:00:11.655" v="22168" actId="478"/>
          <ac:spMkLst>
            <pc:docMk/>
            <pc:sldMk cId="1298822786" sldId="1062"/>
            <ac:spMk id="33" creationId="{D3C8AB9F-E274-559E-2DC5-6AE125704342}"/>
          </ac:spMkLst>
        </pc:spChg>
        <pc:spChg chg="add mod">
          <ac:chgData name="Falcão Lacerda, Rafael" userId="40181ff7-4694-4c53-a944-7b7d63582359" providerId="ADAL" clId="{3B4D5F63-EA56-4616-8A78-0C43AB7049E7}" dt="2025-12-08T07:02:03.853" v="22241" actId="164"/>
          <ac:spMkLst>
            <pc:docMk/>
            <pc:sldMk cId="1298822786" sldId="1062"/>
            <ac:spMk id="34" creationId="{B835E702-77DA-656E-A462-95258D6243AD}"/>
          </ac:spMkLst>
        </pc:spChg>
        <pc:spChg chg="add mod">
          <ac:chgData name="Falcão Lacerda, Rafael" userId="40181ff7-4694-4c53-a944-7b7d63582359" providerId="ADAL" clId="{3B4D5F63-EA56-4616-8A78-0C43AB7049E7}" dt="2025-12-08T07:02:03.853" v="22241" actId="164"/>
          <ac:spMkLst>
            <pc:docMk/>
            <pc:sldMk cId="1298822786" sldId="1062"/>
            <ac:spMk id="35" creationId="{F8B1B7B5-A721-4B1C-9A30-18DC79EAAAA5}"/>
          </ac:spMkLst>
        </pc:spChg>
        <pc:spChg chg="add del mod modVis">
          <ac:chgData name="Falcão Lacerda, Rafael" userId="40181ff7-4694-4c53-a944-7b7d63582359" providerId="ADAL" clId="{3B4D5F63-EA56-4616-8A78-0C43AB7049E7}" dt="2025-12-08T06:59:22.644" v="22076"/>
          <ac:spMkLst>
            <pc:docMk/>
            <pc:sldMk cId="1298822786" sldId="1062"/>
            <ac:spMk id="36" creationId="{FD4DA0FB-F8FA-BDB6-196F-4E77A428F9C8}"/>
          </ac:spMkLst>
        </pc:spChg>
        <pc:spChg chg="add del mod modVis">
          <ac:chgData name="Falcão Lacerda, Rafael" userId="40181ff7-4694-4c53-a944-7b7d63582359" providerId="ADAL" clId="{3B4D5F63-EA56-4616-8A78-0C43AB7049E7}" dt="2025-12-08T06:59:27.134" v="22104"/>
          <ac:spMkLst>
            <pc:docMk/>
            <pc:sldMk cId="1298822786" sldId="1062"/>
            <ac:spMk id="37" creationId="{2847DA91-E5CC-A6B1-A45A-487B55A5A0EF}"/>
          </ac:spMkLst>
        </pc:spChg>
        <pc:spChg chg="add del mod modVis">
          <ac:chgData name="Falcão Lacerda, Rafael" userId="40181ff7-4694-4c53-a944-7b7d63582359" providerId="ADAL" clId="{3B4D5F63-EA56-4616-8A78-0C43AB7049E7}" dt="2025-12-08T06:59:32.058" v="22130"/>
          <ac:spMkLst>
            <pc:docMk/>
            <pc:sldMk cId="1298822786" sldId="1062"/>
            <ac:spMk id="38" creationId="{0211A8A2-51AA-705C-30AB-E145E82E7A0A}"/>
          </ac:spMkLst>
        </pc:spChg>
        <pc:spChg chg="add del mod modVis">
          <ac:chgData name="Falcão Lacerda, Rafael" userId="40181ff7-4694-4c53-a944-7b7d63582359" providerId="ADAL" clId="{3B4D5F63-EA56-4616-8A78-0C43AB7049E7}" dt="2025-12-08T06:59:37.649" v="22156"/>
          <ac:spMkLst>
            <pc:docMk/>
            <pc:sldMk cId="1298822786" sldId="1062"/>
            <ac:spMk id="39" creationId="{1602AA52-2A8E-4044-4051-E4C5295A5D57}"/>
          </ac:spMkLst>
        </pc:spChg>
        <pc:spChg chg="add del mod">
          <ac:chgData name="Falcão Lacerda, Rafael" userId="40181ff7-4694-4c53-a944-7b7d63582359" providerId="ADAL" clId="{3B4D5F63-EA56-4616-8A78-0C43AB7049E7}" dt="2025-12-08T06:59:42.641" v="22160" actId="478"/>
          <ac:spMkLst>
            <pc:docMk/>
            <pc:sldMk cId="1298822786" sldId="1062"/>
            <ac:spMk id="41" creationId="{E462972B-26A7-1D0F-33E4-83D44EA4F2FB}"/>
          </ac:spMkLst>
        </pc:spChg>
        <pc:spChg chg="add del mod">
          <ac:chgData name="Falcão Lacerda, Rafael" userId="40181ff7-4694-4c53-a944-7b7d63582359" providerId="ADAL" clId="{3B4D5F63-EA56-4616-8A78-0C43AB7049E7}" dt="2025-12-08T06:59:55.292" v="22163" actId="478"/>
          <ac:spMkLst>
            <pc:docMk/>
            <pc:sldMk cId="1298822786" sldId="1062"/>
            <ac:spMk id="43" creationId="{3985771E-BCDF-79D8-1D96-0F658D616E3F}"/>
          </ac:spMkLst>
        </pc:spChg>
        <pc:spChg chg="add del mod">
          <ac:chgData name="Falcão Lacerda, Rafael" userId="40181ff7-4694-4c53-a944-7b7d63582359" providerId="ADAL" clId="{3B4D5F63-EA56-4616-8A78-0C43AB7049E7}" dt="2025-12-08T07:00:02.770" v="22166" actId="478"/>
          <ac:spMkLst>
            <pc:docMk/>
            <pc:sldMk cId="1298822786" sldId="1062"/>
            <ac:spMk id="45" creationId="{7D49F1A8-B61A-86C0-E721-A26D48CEE243}"/>
          </ac:spMkLst>
        </pc:spChg>
        <pc:spChg chg="add del mod">
          <ac:chgData name="Falcão Lacerda, Rafael" userId="40181ff7-4694-4c53-a944-7b7d63582359" providerId="ADAL" clId="{3B4D5F63-EA56-4616-8A78-0C43AB7049E7}" dt="2025-12-08T07:00:12.967" v="22169" actId="478"/>
          <ac:spMkLst>
            <pc:docMk/>
            <pc:sldMk cId="1298822786" sldId="1062"/>
            <ac:spMk id="47" creationId="{6512536D-8A5B-F00D-AB3C-C2983151BCA2}"/>
          </ac:spMkLst>
        </pc:spChg>
        <pc:spChg chg="add del mod modVis">
          <ac:chgData name="Falcão Lacerda, Rafael" userId="40181ff7-4694-4c53-a944-7b7d63582359" providerId="ADAL" clId="{3B4D5F63-EA56-4616-8A78-0C43AB7049E7}" dt="2025-12-08T07:00:37.033" v="22194"/>
          <ac:spMkLst>
            <pc:docMk/>
            <pc:sldMk cId="1298822786" sldId="1062"/>
            <ac:spMk id="48" creationId="{3B75A802-575D-DD45-4277-D2E72980A73C}"/>
          </ac:spMkLst>
        </pc:spChg>
        <pc:spChg chg="add mod">
          <ac:chgData name="Falcão Lacerda, Rafael" userId="40181ff7-4694-4c53-a944-7b7d63582359" providerId="ADAL" clId="{3B4D5F63-EA56-4616-8A78-0C43AB7049E7}" dt="2025-12-08T07:44:09.938" v="26135" actId="20577"/>
          <ac:spMkLst>
            <pc:docMk/>
            <pc:sldMk cId="1298822786" sldId="1062"/>
            <ac:spMk id="49" creationId="{9C2CE27E-B143-77A8-4071-952B5E71545C}"/>
          </ac:spMkLst>
        </pc:spChg>
        <pc:spChg chg="add mod">
          <ac:chgData name="Falcão Lacerda, Rafael" userId="40181ff7-4694-4c53-a944-7b7d63582359" providerId="ADAL" clId="{3B4D5F63-EA56-4616-8A78-0C43AB7049E7}" dt="2025-12-08T07:44:19.874" v="26145" actId="20577"/>
          <ac:spMkLst>
            <pc:docMk/>
            <pc:sldMk cId="1298822786" sldId="1062"/>
            <ac:spMk id="50" creationId="{B6AA6282-79BC-B146-3BAC-77606A98D823}"/>
          </ac:spMkLst>
        </pc:spChg>
        <pc:spChg chg="add mod">
          <ac:chgData name="Falcão Lacerda, Rafael" userId="40181ff7-4694-4c53-a944-7b7d63582359" providerId="ADAL" clId="{3B4D5F63-EA56-4616-8A78-0C43AB7049E7}" dt="2025-12-08T07:44:26.980" v="26155" actId="20577"/>
          <ac:spMkLst>
            <pc:docMk/>
            <pc:sldMk cId="1298822786" sldId="1062"/>
            <ac:spMk id="51" creationId="{347E48ED-FD9F-6301-D91B-E2C70AA23856}"/>
          </ac:spMkLst>
        </pc:spChg>
        <pc:spChg chg="add mod">
          <ac:chgData name="Falcão Lacerda, Rafael" userId="40181ff7-4694-4c53-a944-7b7d63582359" providerId="ADAL" clId="{3B4D5F63-EA56-4616-8A78-0C43AB7049E7}" dt="2025-12-08T07:44:34.117" v="26165" actId="20577"/>
          <ac:spMkLst>
            <pc:docMk/>
            <pc:sldMk cId="1298822786" sldId="1062"/>
            <ac:spMk id="52" creationId="{78CCFB2A-71CC-2544-A77D-9C5DF960A5C5}"/>
          </ac:spMkLst>
        </pc:spChg>
        <pc:spChg chg="add del mod">
          <ac:chgData name="Falcão Lacerda, Rafael" userId="40181ff7-4694-4c53-a944-7b7d63582359" providerId="ADAL" clId="{3B4D5F63-EA56-4616-8A78-0C43AB7049E7}" dt="2025-12-08T07:01:00.651" v="22200" actId="478"/>
          <ac:spMkLst>
            <pc:docMk/>
            <pc:sldMk cId="1298822786" sldId="1062"/>
            <ac:spMk id="54" creationId="{A61DEC68-D341-C12D-2916-DF498E37F6ED}"/>
          </ac:spMkLst>
        </pc:spChg>
        <pc:spChg chg="add del mod">
          <ac:chgData name="Falcão Lacerda, Rafael" userId="40181ff7-4694-4c53-a944-7b7d63582359" providerId="ADAL" clId="{3B4D5F63-EA56-4616-8A78-0C43AB7049E7}" dt="2025-12-08T07:01:01.554" v="22201" actId="478"/>
          <ac:spMkLst>
            <pc:docMk/>
            <pc:sldMk cId="1298822786" sldId="1062"/>
            <ac:spMk id="56" creationId="{004FA34F-FABF-7D23-0473-4F8B7A7F8E5B}"/>
          </ac:spMkLst>
        </pc:spChg>
        <pc:spChg chg="add del mod">
          <ac:chgData name="Falcão Lacerda, Rafael" userId="40181ff7-4694-4c53-a944-7b7d63582359" providerId="ADAL" clId="{3B4D5F63-EA56-4616-8A78-0C43AB7049E7}" dt="2025-12-08T07:01:02.642" v="22202" actId="478"/>
          <ac:spMkLst>
            <pc:docMk/>
            <pc:sldMk cId="1298822786" sldId="1062"/>
            <ac:spMk id="58" creationId="{B6158808-42AD-74A2-E272-D91BBAF76191}"/>
          </ac:spMkLst>
        </pc:spChg>
        <pc:spChg chg="add del mod">
          <ac:chgData name="Falcão Lacerda, Rafael" userId="40181ff7-4694-4c53-a944-7b7d63582359" providerId="ADAL" clId="{3B4D5F63-EA56-4616-8A78-0C43AB7049E7}" dt="2025-12-08T07:01:03.347" v="22203" actId="478"/>
          <ac:spMkLst>
            <pc:docMk/>
            <pc:sldMk cId="1298822786" sldId="1062"/>
            <ac:spMk id="60" creationId="{281B6E58-63D0-259A-EF0C-FE31929BC518}"/>
          </ac:spMkLst>
        </pc:spChg>
        <pc:spChg chg="add del mod modVis">
          <ac:chgData name="Falcão Lacerda, Rafael" userId="40181ff7-4694-4c53-a944-7b7d63582359" providerId="ADAL" clId="{3B4D5F63-EA56-4616-8A78-0C43AB7049E7}" dt="2025-12-08T07:01:10.750" v="22227"/>
          <ac:spMkLst>
            <pc:docMk/>
            <pc:sldMk cId="1298822786" sldId="1062"/>
            <ac:spMk id="61" creationId="{35201357-8B5C-2459-8310-525A2AF94D40}"/>
          </ac:spMkLst>
        </pc:spChg>
        <pc:spChg chg="add del mod modVis">
          <ac:chgData name="Falcão Lacerda, Rafael" userId="40181ff7-4694-4c53-a944-7b7d63582359" providerId="ADAL" clId="{3B4D5F63-EA56-4616-8A78-0C43AB7049E7}" dt="2025-12-08T07:02:24.217" v="22266"/>
          <ac:spMkLst>
            <pc:docMk/>
            <pc:sldMk cId="1298822786" sldId="1062"/>
            <ac:spMk id="65" creationId="{46EDD7BE-FCA5-326C-470E-7125670AD9E6}"/>
          </ac:spMkLst>
        </pc:spChg>
        <pc:grpChg chg="add mod">
          <ac:chgData name="Falcão Lacerda, Rafael" userId="40181ff7-4694-4c53-a944-7b7d63582359" providerId="ADAL" clId="{3B4D5F63-EA56-4616-8A78-0C43AB7049E7}" dt="2025-12-08T06:56:49.680" v="21991" actId="164"/>
          <ac:grpSpMkLst>
            <pc:docMk/>
            <pc:sldMk cId="1298822786" sldId="1062"/>
            <ac:grpSpMk id="5" creationId="{ADBE7A30-0164-0493-F3ED-4D17A0283F04}"/>
          </ac:grpSpMkLst>
        </pc:grpChg>
        <pc:grpChg chg="add mod">
          <ac:chgData name="Falcão Lacerda, Rafael" userId="40181ff7-4694-4c53-a944-7b7d63582359" providerId="ADAL" clId="{3B4D5F63-EA56-4616-8A78-0C43AB7049E7}" dt="2025-12-08T07:01:56.696" v="22239" actId="164"/>
          <ac:grpSpMkLst>
            <pc:docMk/>
            <pc:sldMk cId="1298822786" sldId="1062"/>
            <ac:grpSpMk id="62" creationId="{1AC96ACA-A956-8D0D-B396-7E9DCA5F4142}"/>
          </ac:grpSpMkLst>
        </pc:grpChg>
        <pc:grpChg chg="add mod">
          <ac:chgData name="Falcão Lacerda, Rafael" userId="40181ff7-4694-4c53-a944-7b7d63582359" providerId="ADAL" clId="{3B4D5F63-EA56-4616-8A78-0C43AB7049E7}" dt="2025-12-08T07:02:09.770" v="22242" actId="408"/>
          <ac:grpSpMkLst>
            <pc:docMk/>
            <pc:sldMk cId="1298822786" sldId="1062"/>
            <ac:grpSpMk id="63" creationId="{CCA7D18A-5E5C-4896-9BCB-DF80B411D9B1}"/>
          </ac:grpSpMkLst>
        </pc:grpChg>
        <pc:grpChg chg="add mod">
          <ac:chgData name="Falcão Lacerda, Rafael" userId="40181ff7-4694-4c53-a944-7b7d63582359" providerId="ADAL" clId="{3B4D5F63-EA56-4616-8A78-0C43AB7049E7}" dt="2025-12-08T07:02:03.853" v="22241" actId="164"/>
          <ac:grpSpMkLst>
            <pc:docMk/>
            <pc:sldMk cId="1298822786" sldId="1062"/>
            <ac:grpSpMk id="64" creationId="{DD77AF8A-DC16-158B-B6E4-235554DB8E8F}"/>
          </ac:grpSpMkLst>
        </pc:grpChg>
        <pc:graphicFrameChg chg="mod">
          <ac:chgData name="Falcão Lacerda, Rafael" userId="40181ff7-4694-4c53-a944-7b7d63582359" providerId="ADAL" clId="{3B4D5F63-EA56-4616-8A78-0C43AB7049E7}" dt="2025-12-08T07:02:24.217" v="22268"/>
          <ac:graphicFrameMkLst>
            <pc:docMk/>
            <pc:sldMk cId="1298822786" sldId="1062"/>
            <ac:graphicFrameMk id="3" creationId="{E97EFAAE-DDE0-EBDC-3427-14AE6F0652BB}"/>
          </ac:graphicFrameMkLst>
        </pc:graphicFrameChg>
      </pc:sldChg>
      <pc:sldChg chg="add del">
        <pc:chgData name="Falcão Lacerda, Rafael" userId="40181ff7-4694-4c53-a944-7b7d63582359" providerId="ADAL" clId="{3B4D5F63-EA56-4616-8A78-0C43AB7049E7}" dt="2025-12-08T07:08:57.318" v="22766" actId="47"/>
        <pc:sldMkLst>
          <pc:docMk/>
          <pc:sldMk cId="116049487" sldId="1063"/>
        </pc:sldMkLst>
      </pc:sldChg>
      <pc:sldChg chg="addSp delSp modSp add mod">
        <pc:chgData name="Falcão Lacerda, Rafael" userId="40181ff7-4694-4c53-a944-7b7d63582359" providerId="ADAL" clId="{3B4D5F63-EA56-4616-8A78-0C43AB7049E7}" dt="2025-12-08T17:10:50.085" v="33626" actId="207"/>
        <pc:sldMkLst>
          <pc:docMk/>
          <pc:sldMk cId="2767021473" sldId="1064"/>
        </pc:sldMkLst>
        <pc:spChg chg="add del mod modVis">
          <ac:chgData name="Falcão Lacerda, Rafael" userId="40181ff7-4694-4c53-a944-7b7d63582359" providerId="ADAL" clId="{3B4D5F63-EA56-4616-8A78-0C43AB7049E7}" dt="2025-12-08T07:02:37.984" v="22294"/>
          <ac:spMkLst>
            <pc:docMk/>
            <pc:sldMk cId="2767021473" sldId="1064"/>
            <ac:spMk id="2" creationId="{F234A41F-8BE6-526C-66A8-5A9F7B48A511}"/>
          </ac:spMkLst>
        </pc:spChg>
        <pc:spChg chg="mod">
          <ac:chgData name="Falcão Lacerda, Rafael" userId="40181ff7-4694-4c53-a944-7b7d63582359" providerId="ADAL" clId="{3B4D5F63-EA56-4616-8A78-0C43AB7049E7}" dt="2025-12-08T07:02:52.032" v="22298"/>
          <ac:spMkLst>
            <pc:docMk/>
            <pc:sldMk cId="2767021473" sldId="1064"/>
            <ac:spMk id="6" creationId="{FA767496-0669-1A66-3341-EC70589DAD08}"/>
          </ac:spMkLst>
        </pc:spChg>
        <pc:spChg chg="mod">
          <ac:chgData name="Falcão Lacerda, Rafael" userId="40181ff7-4694-4c53-a944-7b7d63582359" providerId="ADAL" clId="{3B4D5F63-EA56-4616-8A78-0C43AB7049E7}" dt="2025-12-08T07:02:59.088" v="22299"/>
          <ac:spMkLst>
            <pc:docMk/>
            <pc:sldMk cId="2767021473" sldId="1064"/>
            <ac:spMk id="7" creationId="{7D88F0DF-24F5-BF40-95FF-461D1860D7D5}"/>
          </ac:spMkLst>
        </pc:spChg>
        <pc:spChg chg="mod">
          <ac:chgData name="Falcão Lacerda, Rafael" userId="40181ff7-4694-4c53-a944-7b7d63582359" providerId="ADAL" clId="{3B4D5F63-EA56-4616-8A78-0C43AB7049E7}" dt="2025-12-08T07:03:05.061" v="22300"/>
          <ac:spMkLst>
            <pc:docMk/>
            <pc:sldMk cId="2767021473" sldId="1064"/>
            <ac:spMk id="8" creationId="{60795AE4-B5C4-1FCF-648F-BB39BC914791}"/>
          </ac:spMkLst>
        </pc:spChg>
        <pc:spChg chg="mod">
          <ac:chgData name="Falcão Lacerda, Rafael" userId="40181ff7-4694-4c53-a944-7b7d63582359" providerId="ADAL" clId="{3B4D5F63-EA56-4616-8A78-0C43AB7049E7}" dt="2025-12-08T07:03:11.746" v="22301"/>
          <ac:spMkLst>
            <pc:docMk/>
            <pc:sldMk cId="2767021473" sldId="1064"/>
            <ac:spMk id="9" creationId="{1D945165-14FB-3DA5-5011-FBF9D7B8E2F5}"/>
          </ac:spMkLst>
        </pc:spChg>
        <pc:spChg chg="mod">
          <ac:chgData name="Falcão Lacerda, Rafael" userId="40181ff7-4694-4c53-a944-7b7d63582359" providerId="ADAL" clId="{3B4D5F63-EA56-4616-8A78-0C43AB7049E7}" dt="2025-12-08T07:02:37.963" v="22272" actId="948"/>
          <ac:spMkLst>
            <pc:docMk/>
            <pc:sldMk cId="2767021473" sldId="1064"/>
            <ac:spMk id="15" creationId="{B4A7382C-62A6-16AF-A932-2DADED32E6E2}"/>
          </ac:spMkLst>
        </pc:spChg>
        <pc:spChg chg="mod">
          <ac:chgData name="Falcão Lacerda, Rafael" userId="40181ff7-4694-4c53-a944-7b7d63582359" providerId="ADAL" clId="{3B4D5F63-EA56-4616-8A78-0C43AB7049E7}" dt="2025-12-08T07:03:18.192" v="22302"/>
          <ac:spMkLst>
            <pc:docMk/>
            <pc:sldMk cId="2767021473" sldId="1064"/>
            <ac:spMk id="19" creationId="{12F75ED4-790C-9E31-8DA9-D4C53086852E}"/>
          </ac:spMkLst>
        </pc:spChg>
        <pc:spChg chg="mod">
          <ac:chgData name="Falcão Lacerda, Rafael" userId="40181ff7-4694-4c53-a944-7b7d63582359" providerId="ADAL" clId="{3B4D5F63-EA56-4616-8A78-0C43AB7049E7}" dt="2025-12-08T07:03:24.219" v="22303"/>
          <ac:spMkLst>
            <pc:docMk/>
            <pc:sldMk cId="2767021473" sldId="1064"/>
            <ac:spMk id="20" creationId="{5DB36008-B498-2DF3-4DDB-4F652C58532B}"/>
          </ac:spMkLst>
        </pc:spChg>
        <pc:spChg chg="mod">
          <ac:chgData name="Falcão Lacerda, Rafael" userId="40181ff7-4694-4c53-a944-7b7d63582359" providerId="ADAL" clId="{3B4D5F63-EA56-4616-8A78-0C43AB7049E7}" dt="2025-12-08T17:10:50.085" v="33626" actId="207"/>
          <ac:spMkLst>
            <pc:docMk/>
            <pc:sldMk cId="2767021473" sldId="1064"/>
            <ac:spMk id="22" creationId="{110EF677-1960-5698-E74D-CBF77F9DCD49}"/>
          </ac:spMkLst>
        </pc:spChg>
        <pc:spChg chg="mod">
          <ac:chgData name="Falcão Lacerda, Rafael" userId="40181ff7-4694-4c53-a944-7b7d63582359" providerId="ADAL" clId="{3B4D5F63-EA56-4616-8A78-0C43AB7049E7}" dt="2025-12-08T07:03:31.197" v="22304"/>
          <ac:spMkLst>
            <pc:docMk/>
            <pc:sldMk cId="2767021473" sldId="1064"/>
            <ac:spMk id="34" creationId="{CFA23746-26E9-8B59-BFE1-35FBF33734B0}"/>
          </ac:spMkLst>
        </pc:spChg>
        <pc:spChg chg="mod">
          <ac:chgData name="Falcão Lacerda, Rafael" userId="40181ff7-4694-4c53-a944-7b7d63582359" providerId="ADAL" clId="{3B4D5F63-EA56-4616-8A78-0C43AB7049E7}" dt="2025-12-08T07:03:37.483" v="22305"/>
          <ac:spMkLst>
            <pc:docMk/>
            <pc:sldMk cId="2767021473" sldId="1064"/>
            <ac:spMk id="35" creationId="{7CE9001E-9E82-4D5C-E21D-C4B72C6AF417}"/>
          </ac:spMkLst>
        </pc:spChg>
        <pc:spChg chg="mod">
          <ac:chgData name="Falcão Lacerda, Rafael" userId="40181ff7-4694-4c53-a944-7b7d63582359" providerId="ADAL" clId="{3B4D5F63-EA56-4616-8A78-0C43AB7049E7}" dt="2025-12-08T07:44:41.932" v="26175" actId="20577"/>
          <ac:spMkLst>
            <pc:docMk/>
            <pc:sldMk cId="2767021473" sldId="1064"/>
            <ac:spMk id="49" creationId="{39F213D5-14F6-B0CA-25E0-66336EEA7EC5}"/>
          </ac:spMkLst>
        </pc:spChg>
        <pc:spChg chg="mod">
          <ac:chgData name="Falcão Lacerda, Rafael" userId="40181ff7-4694-4c53-a944-7b7d63582359" providerId="ADAL" clId="{3B4D5F63-EA56-4616-8A78-0C43AB7049E7}" dt="2025-12-08T07:44:48.518" v="26185" actId="20577"/>
          <ac:spMkLst>
            <pc:docMk/>
            <pc:sldMk cId="2767021473" sldId="1064"/>
            <ac:spMk id="50" creationId="{382FC2EC-9D6E-B993-ADEF-D7F37FA8472D}"/>
          </ac:spMkLst>
        </pc:spChg>
        <pc:spChg chg="mod">
          <ac:chgData name="Falcão Lacerda, Rafael" userId="40181ff7-4694-4c53-a944-7b7d63582359" providerId="ADAL" clId="{3B4D5F63-EA56-4616-8A78-0C43AB7049E7}" dt="2025-12-08T07:44:54.591" v="26195" actId="20577"/>
          <ac:spMkLst>
            <pc:docMk/>
            <pc:sldMk cId="2767021473" sldId="1064"/>
            <ac:spMk id="51" creationId="{8CA3CA4A-5A5C-11E2-5652-BEAB594C332F}"/>
          </ac:spMkLst>
        </pc:spChg>
        <pc:spChg chg="mod">
          <ac:chgData name="Falcão Lacerda, Rafael" userId="40181ff7-4694-4c53-a944-7b7d63582359" providerId="ADAL" clId="{3B4D5F63-EA56-4616-8A78-0C43AB7049E7}" dt="2025-12-08T07:45:00.480" v="26205" actId="20577"/>
          <ac:spMkLst>
            <pc:docMk/>
            <pc:sldMk cId="2767021473" sldId="1064"/>
            <ac:spMk id="52" creationId="{E297C90E-F0D7-B5CF-1015-739617761BC8}"/>
          </ac:spMkLst>
        </pc:spChg>
        <pc:graphicFrameChg chg="mod">
          <ac:chgData name="Falcão Lacerda, Rafael" userId="40181ff7-4694-4c53-a944-7b7d63582359" providerId="ADAL" clId="{3B4D5F63-EA56-4616-8A78-0C43AB7049E7}" dt="2025-12-08T07:02:37.984" v="22296"/>
          <ac:graphicFrameMkLst>
            <pc:docMk/>
            <pc:sldMk cId="2767021473" sldId="1064"/>
            <ac:graphicFrameMk id="3" creationId="{149B7AD1-5A5E-EB9C-49E2-DCC8266C7260}"/>
          </ac:graphicFrameMkLst>
        </pc:graphicFrameChg>
      </pc:sldChg>
      <pc:sldChg chg="addSp delSp modSp add mod ord">
        <pc:chgData name="Falcão Lacerda, Rafael" userId="40181ff7-4694-4c53-a944-7b7d63582359" providerId="ADAL" clId="{3B4D5F63-EA56-4616-8A78-0C43AB7049E7}" dt="2025-12-08T17:10:56.718" v="33627" actId="207"/>
        <pc:sldMkLst>
          <pc:docMk/>
          <pc:sldMk cId="1161607210" sldId="1065"/>
        </pc:sldMkLst>
        <pc:spChg chg="add del mod modVis">
          <ac:chgData name="Falcão Lacerda, Rafael" userId="40181ff7-4694-4c53-a944-7b7d63582359" providerId="ADAL" clId="{3B4D5F63-EA56-4616-8A78-0C43AB7049E7}" dt="2025-12-08T07:14:20.708" v="22903"/>
          <ac:spMkLst>
            <pc:docMk/>
            <pc:sldMk cId="1161607210" sldId="1065"/>
            <ac:spMk id="2" creationId="{17F185F0-2761-82CA-A014-31BBCFD84EFA}"/>
          </ac:spMkLst>
        </pc:spChg>
        <pc:spChg chg="add del mod modVis">
          <ac:chgData name="Falcão Lacerda, Rafael" userId="40181ff7-4694-4c53-a944-7b7d63582359" providerId="ADAL" clId="{3B4D5F63-EA56-4616-8A78-0C43AB7049E7}" dt="2025-12-08T07:14:48.279" v="22930"/>
          <ac:spMkLst>
            <pc:docMk/>
            <pc:sldMk cId="1161607210" sldId="1065"/>
            <ac:spMk id="4" creationId="{29F7BFED-77F9-3097-E8A1-331155DEE010}"/>
          </ac:spMkLst>
        </pc:spChg>
        <pc:spChg chg="mod">
          <ac:chgData name="Falcão Lacerda, Rafael" userId="40181ff7-4694-4c53-a944-7b7d63582359" providerId="ADAL" clId="{3B4D5F63-EA56-4616-8A78-0C43AB7049E7}" dt="2025-12-08T07:13:23.376" v="22871" actId="20577"/>
          <ac:spMkLst>
            <pc:docMk/>
            <pc:sldMk cId="1161607210" sldId="1065"/>
            <ac:spMk id="6" creationId="{8C1A392E-1823-0DFB-2E68-6510738A57D4}"/>
          </ac:spMkLst>
        </pc:spChg>
        <pc:spChg chg="mod">
          <ac:chgData name="Falcão Lacerda, Rafael" userId="40181ff7-4694-4c53-a944-7b7d63582359" providerId="ADAL" clId="{3B4D5F63-EA56-4616-8A78-0C43AB7049E7}" dt="2025-12-08T07:13:29.777" v="22872"/>
          <ac:spMkLst>
            <pc:docMk/>
            <pc:sldMk cId="1161607210" sldId="1065"/>
            <ac:spMk id="7" creationId="{E6A421C7-8810-A41F-BBA4-225DEED2D7FE}"/>
          </ac:spMkLst>
        </pc:spChg>
        <pc:spChg chg="mod">
          <ac:chgData name="Falcão Lacerda, Rafael" userId="40181ff7-4694-4c53-a944-7b7d63582359" providerId="ADAL" clId="{3B4D5F63-EA56-4616-8A78-0C43AB7049E7}" dt="2025-12-08T07:13:34.873" v="22873"/>
          <ac:spMkLst>
            <pc:docMk/>
            <pc:sldMk cId="1161607210" sldId="1065"/>
            <ac:spMk id="8" creationId="{7935A70E-27C4-1FE7-408B-22C445CBA35A}"/>
          </ac:spMkLst>
        </pc:spChg>
        <pc:spChg chg="mod">
          <ac:chgData name="Falcão Lacerda, Rafael" userId="40181ff7-4694-4c53-a944-7b7d63582359" providerId="ADAL" clId="{3B4D5F63-EA56-4616-8A78-0C43AB7049E7}" dt="2025-12-08T07:13:40.299" v="22874"/>
          <ac:spMkLst>
            <pc:docMk/>
            <pc:sldMk cId="1161607210" sldId="1065"/>
            <ac:spMk id="9" creationId="{20C4CE68-9BE8-C83E-AB3A-8C0964B00838}"/>
          </ac:spMkLst>
        </pc:spChg>
        <pc:spChg chg="mod">
          <ac:chgData name="Falcão Lacerda, Rafael" userId="40181ff7-4694-4c53-a944-7b7d63582359" providerId="ADAL" clId="{3B4D5F63-EA56-4616-8A78-0C43AB7049E7}" dt="2025-12-08T07:14:48.252" v="22908" actId="948"/>
          <ac:spMkLst>
            <pc:docMk/>
            <pc:sldMk cId="1161607210" sldId="1065"/>
            <ac:spMk id="15" creationId="{30F25435-6701-93C4-B4CF-3AB186712E2E}"/>
          </ac:spMkLst>
        </pc:spChg>
        <pc:spChg chg="mod">
          <ac:chgData name="Falcão Lacerda, Rafael" userId="40181ff7-4694-4c53-a944-7b7d63582359" providerId="ADAL" clId="{3B4D5F63-EA56-4616-8A78-0C43AB7049E7}" dt="2025-12-08T07:13:47.213" v="22875"/>
          <ac:spMkLst>
            <pc:docMk/>
            <pc:sldMk cId="1161607210" sldId="1065"/>
            <ac:spMk id="19" creationId="{70E74A1B-FB9E-D4D3-890F-BFE38B29EFA0}"/>
          </ac:spMkLst>
        </pc:spChg>
        <pc:spChg chg="mod">
          <ac:chgData name="Falcão Lacerda, Rafael" userId="40181ff7-4694-4c53-a944-7b7d63582359" providerId="ADAL" clId="{3B4D5F63-EA56-4616-8A78-0C43AB7049E7}" dt="2025-12-08T07:13:52.927" v="22876"/>
          <ac:spMkLst>
            <pc:docMk/>
            <pc:sldMk cId="1161607210" sldId="1065"/>
            <ac:spMk id="20" creationId="{3E86331F-76AC-A874-24EF-CC0165DF56BE}"/>
          </ac:spMkLst>
        </pc:spChg>
        <pc:spChg chg="mod">
          <ac:chgData name="Falcão Lacerda, Rafael" userId="40181ff7-4694-4c53-a944-7b7d63582359" providerId="ADAL" clId="{3B4D5F63-EA56-4616-8A78-0C43AB7049E7}" dt="2025-12-08T17:10:56.718" v="33627" actId="207"/>
          <ac:spMkLst>
            <pc:docMk/>
            <pc:sldMk cId="1161607210" sldId="1065"/>
            <ac:spMk id="22" creationId="{D4DB7F20-86FC-7516-1ABA-6DD3782BAE22}"/>
          </ac:spMkLst>
        </pc:spChg>
        <pc:spChg chg="mod">
          <ac:chgData name="Falcão Lacerda, Rafael" userId="40181ff7-4694-4c53-a944-7b7d63582359" providerId="ADAL" clId="{3B4D5F63-EA56-4616-8A78-0C43AB7049E7}" dt="2025-12-08T07:13:58.030" v="22877"/>
          <ac:spMkLst>
            <pc:docMk/>
            <pc:sldMk cId="1161607210" sldId="1065"/>
            <ac:spMk id="34" creationId="{05D7C42C-691D-F1B7-4449-09793FA52B49}"/>
          </ac:spMkLst>
        </pc:spChg>
        <pc:spChg chg="mod">
          <ac:chgData name="Falcão Lacerda, Rafael" userId="40181ff7-4694-4c53-a944-7b7d63582359" providerId="ADAL" clId="{3B4D5F63-EA56-4616-8A78-0C43AB7049E7}" dt="2025-12-08T07:14:04.923" v="22878"/>
          <ac:spMkLst>
            <pc:docMk/>
            <pc:sldMk cId="1161607210" sldId="1065"/>
            <ac:spMk id="35" creationId="{C7CF13B3-06E9-39D4-F97B-DA7121A00E9E}"/>
          </ac:spMkLst>
        </pc:spChg>
        <pc:spChg chg="mod">
          <ac:chgData name="Falcão Lacerda, Rafael" userId="40181ff7-4694-4c53-a944-7b7d63582359" providerId="ADAL" clId="{3B4D5F63-EA56-4616-8A78-0C43AB7049E7}" dt="2025-12-08T07:45:07.453" v="26215" actId="20577"/>
          <ac:spMkLst>
            <pc:docMk/>
            <pc:sldMk cId="1161607210" sldId="1065"/>
            <ac:spMk id="49" creationId="{608A8FE4-0ECF-5DF4-9999-552C08F1DB13}"/>
          </ac:spMkLst>
        </pc:spChg>
        <pc:spChg chg="mod">
          <ac:chgData name="Falcão Lacerda, Rafael" userId="40181ff7-4694-4c53-a944-7b7d63582359" providerId="ADAL" clId="{3B4D5F63-EA56-4616-8A78-0C43AB7049E7}" dt="2025-12-08T07:45:14.281" v="26226" actId="20577"/>
          <ac:spMkLst>
            <pc:docMk/>
            <pc:sldMk cId="1161607210" sldId="1065"/>
            <ac:spMk id="50" creationId="{3AB6F912-98C8-5003-B956-930375C54A32}"/>
          </ac:spMkLst>
        </pc:spChg>
        <pc:spChg chg="mod">
          <ac:chgData name="Falcão Lacerda, Rafael" userId="40181ff7-4694-4c53-a944-7b7d63582359" providerId="ADAL" clId="{3B4D5F63-EA56-4616-8A78-0C43AB7049E7}" dt="2025-12-08T07:45:19.736" v="26236" actId="20577"/>
          <ac:spMkLst>
            <pc:docMk/>
            <pc:sldMk cId="1161607210" sldId="1065"/>
            <ac:spMk id="51" creationId="{89E39666-DE88-96F1-EFC7-A476BFAFF0D8}"/>
          </ac:spMkLst>
        </pc:spChg>
        <pc:spChg chg="mod">
          <ac:chgData name="Falcão Lacerda, Rafael" userId="40181ff7-4694-4c53-a944-7b7d63582359" providerId="ADAL" clId="{3B4D5F63-EA56-4616-8A78-0C43AB7049E7}" dt="2025-12-08T07:45:24.887" v="26246" actId="20577"/>
          <ac:spMkLst>
            <pc:docMk/>
            <pc:sldMk cId="1161607210" sldId="1065"/>
            <ac:spMk id="52" creationId="{4D5BC4B0-604A-00A2-2397-2D05FE35B1EE}"/>
          </ac:spMkLst>
        </pc:spChg>
        <pc:graphicFrameChg chg="mod">
          <ac:chgData name="Falcão Lacerda, Rafael" userId="40181ff7-4694-4c53-a944-7b7d63582359" providerId="ADAL" clId="{3B4D5F63-EA56-4616-8A78-0C43AB7049E7}" dt="2025-12-08T07:14:48.279" v="22932"/>
          <ac:graphicFrameMkLst>
            <pc:docMk/>
            <pc:sldMk cId="1161607210" sldId="1065"/>
            <ac:graphicFrameMk id="3" creationId="{67682B6E-5601-FEEF-6644-6282EA12B093}"/>
          </ac:graphicFrameMkLst>
        </pc:graphicFrameChg>
      </pc:sldChg>
      <pc:sldChg chg="addSp delSp modSp add del mod ord">
        <pc:chgData name="Falcão Lacerda, Rafael" userId="40181ff7-4694-4c53-a944-7b7d63582359" providerId="ADAL" clId="{3B4D5F63-EA56-4616-8A78-0C43AB7049E7}" dt="2025-12-08T07:12:10.107" v="22855" actId="47"/>
        <pc:sldMkLst>
          <pc:docMk/>
          <pc:sldMk cId="3555947171" sldId="1065"/>
        </pc:sldMkLst>
        <pc:spChg chg="add del mod modVis">
          <ac:chgData name="Falcão Lacerda, Rafael" userId="40181ff7-4694-4c53-a944-7b7d63582359" providerId="ADAL" clId="{3B4D5F63-EA56-4616-8A78-0C43AB7049E7}" dt="2025-12-08T07:09:10.898" v="22791"/>
          <ac:spMkLst>
            <pc:docMk/>
            <pc:sldMk cId="3555947171" sldId="1065"/>
            <ac:spMk id="2" creationId="{625D4F14-3CCC-0149-8612-072485CAF5E7}"/>
          </ac:spMkLst>
        </pc:spChg>
        <pc:spChg chg="add del mod modVis">
          <ac:chgData name="Falcão Lacerda, Rafael" userId="40181ff7-4694-4c53-a944-7b7d63582359" providerId="ADAL" clId="{3B4D5F63-EA56-4616-8A78-0C43AB7049E7}" dt="2025-12-08T07:09:15.008" v="22817"/>
          <ac:spMkLst>
            <pc:docMk/>
            <pc:sldMk cId="3555947171" sldId="1065"/>
            <ac:spMk id="4" creationId="{BBE0F730-02EF-2441-B1AE-23BE114FBA9E}"/>
          </ac:spMkLst>
        </pc:spChg>
        <pc:spChg chg="mod">
          <ac:chgData name="Falcão Lacerda, Rafael" userId="40181ff7-4694-4c53-a944-7b7d63582359" providerId="ADAL" clId="{3B4D5F63-EA56-4616-8A78-0C43AB7049E7}" dt="2025-12-08T07:09:14.960" v="22795" actId="948"/>
          <ac:spMkLst>
            <pc:docMk/>
            <pc:sldMk cId="3555947171" sldId="1065"/>
            <ac:spMk id="15" creationId="{07C10CAA-7556-3352-37EE-297C2283F834}"/>
          </ac:spMkLst>
        </pc:spChg>
        <pc:spChg chg="mod">
          <ac:chgData name="Falcão Lacerda, Rafael" userId="40181ff7-4694-4c53-a944-7b7d63582359" providerId="ADAL" clId="{3B4D5F63-EA56-4616-8A78-0C43AB7049E7}" dt="2025-12-08T07:09:21.514" v="22820"/>
          <ac:spMkLst>
            <pc:docMk/>
            <pc:sldMk cId="3555947171" sldId="1065"/>
            <ac:spMk id="22" creationId="{E43A1443-C0F4-7655-703F-11F9C82F120A}"/>
          </ac:spMkLst>
        </pc:spChg>
        <pc:graphicFrameChg chg="mod">
          <ac:chgData name="Falcão Lacerda, Rafael" userId="40181ff7-4694-4c53-a944-7b7d63582359" providerId="ADAL" clId="{3B4D5F63-EA56-4616-8A78-0C43AB7049E7}" dt="2025-12-08T07:09:15.008" v="22819"/>
          <ac:graphicFrameMkLst>
            <pc:docMk/>
            <pc:sldMk cId="3555947171" sldId="1065"/>
            <ac:graphicFrameMk id="3" creationId="{F4FDAB4A-0E20-F589-6D39-2F4DEF18D680}"/>
          </ac:graphicFrameMkLst>
        </pc:graphicFrameChg>
      </pc:sldChg>
      <pc:sldChg chg="addSp delSp modSp add del mod">
        <pc:chgData name="Falcão Lacerda, Rafael" userId="40181ff7-4694-4c53-a944-7b7d63582359" providerId="ADAL" clId="{3B4D5F63-EA56-4616-8A78-0C43AB7049E7}" dt="2025-12-08T07:32:02.624" v="24521" actId="2696"/>
        <pc:sldMkLst>
          <pc:docMk/>
          <pc:sldMk cId="1589931485" sldId="1066"/>
        </pc:sldMkLst>
        <pc:spChg chg="add del mod modVis">
          <ac:chgData name="Falcão Lacerda, Rafael" userId="40181ff7-4694-4c53-a944-7b7d63582359" providerId="ADAL" clId="{3B4D5F63-EA56-4616-8A78-0C43AB7049E7}" dt="2025-12-08T07:16:37.930" v="22984"/>
          <ac:spMkLst>
            <pc:docMk/>
            <pc:sldMk cId="1589931485" sldId="1066"/>
            <ac:spMk id="2" creationId="{D4CA1E72-81FB-B514-875B-5D3E1F46901A}"/>
          </ac:spMkLst>
        </pc:spChg>
        <pc:spChg chg="add del mod modVis">
          <ac:chgData name="Falcão Lacerda, Rafael" userId="40181ff7-4694-4c53-a944-7b7d63582359" providerId="ADAL" clId="{3B4D5F63-EA56-4616-8A78-0C43AB7049E7}" dt="2025-12-08T07:16:38.505" v="23010"/>
          <ac:spMkLst>
            <pc:docMk/>
            <pc:sldMk cId="1589931485" sldId="1066"/>
            <ac:spMk id="4" creationId="{7270B625-DFC5-2130-C830-A32B6EC6CA95}"/>
          </ac:spMkLst>
        </pc:spChg>
        <pc:spChg chg="add del mod modVis">
          <ac:chgData name="Falcão Lacerda, Rafael" userId="40181ff7-4694-4c53-a944-7b7d63582359" providerId="ADAL" clId="{3B4D5F63-EA56-4616-8A78-0C43AB7049E7}" dt="2025-12-08T07:16:50.447" v="23061"/>
          <ac:spMkLst>
            <pc:docMk/>
            <pc:sldMk cId="1589931485" sldId="1066"/>
            <ac:spMk id="5" creationId="{185C4D01-FE4D-5FF8-5B69-70FCE136125B}"/>
          </ac:spMkLst>
        </pc:spChg>
        <pc:spChg chg="mod">
          <ac:chgData name="Falcão Lacerda, Rafael" userId="40181ff7-4694-4c53-a944-7b7d63582359" providerId="ADAL" clId="{3B4D5F63-EA56-4616-8A78-0C43AB7049E7}" dt="2025-12-08T07:28:43.042" v="24240" actId="20577"/>
          <ac:spMkLst>
            <pc:docMk/>
            <pc:sldMk cId="1589931485" sldId="1066"/>
            <ac:spMk id="6" creationId="{3A1B70FD-2EAE-7DBA-565E-0D3836FA0E6D}"/>
          </ac:spMkLst>
        </pc:spChg>
        <pc:spChg chg="mod">
          <ac:chgData name="Falcão Lacerda, Rafael" userId="40181ff7-4694-4c53-a944-7b7d63582359" providerId="ADAL" clId="{3B4D5F63-EA56-4616-8A78-0C43AB7049E7}" dt="2025-12-08T07:30:23.052" v="24520" actId="20577"/>
          <ac:spMkLst>
            <pc:docMk/>
            <pc:sldMk cId="1589931485" sldId="1066"/>
            <ac:spMk id="7" creationId="{80D730F2-B9D2-544A-A83D-003DE13B4B4F}"/>
          </ac:spMkLst>
        </pc:spChg>
        <pc:spChg chg="mod">
          <ac:chgData name="Falcão Lacerda, Rafael" userId="40181ff7-4694-4c53-a944-7b7d63582359" providerId="ADAL" clId="{3B4D5F63-EA56-4616-8A78-0C43AB7049E7}" dt="2025-12-08T07:28:51.385" v="24260" actId="20577"/>
          <ac:spMkLst>
            <pc:docMk/>
            <pc:sldMk cId="1589931485" sldId="1066"/>
            <ac:spMk id="8" creationId="{697F946A-DC43-60B1-BA86-4A16BF68DE4D}"/>
          </ac:spMkLst>
        </pc:spChg>
        <pc:spChg chg="mod">
          <ac:chgData name="Falcão Lacerda, Rafael" userId="40181ff7-4694-4c53-a944-7b7d63582359" providerId="ADAL" clId="{3B4D5F63-EA56-4616-8A78-0C43AB7049E7}" dt="2025-12-08T07:29:15.410" v="24386" actId="20577"/>
          <ac:spMkLst>
            <pc:docMk/>
            <pc:sldMk cId="1589931485" sldId="1066"/>
            <ac:spMk id="9" creationId="{EDC247AC-689D-C108-6C26-F37C7DA24DCA}"/>
          </ac:spMkLst>
        </pc:spChg>
        <pc:spChg chg="add del mod modVis">
          <ac:chgData name="Falcão Lacerda, Rafael" userId="40181ff7-4694-4c53-a944-7b7d63582359" providerId="ADAL" clId="{3B4D5F63-EA56-4616-8A78-0C43AB7049E7}" dt="2025-12-08T07:16:51.707" v="23087"/>
          <ac:spMkLst>
            <pc:docMk/>
            <pc:sldMk cId="1589931485" sldId="1066"/>
            <ac:spMk id="10" creationId="{CE47CE61-7727-7B61-C93D-996ECC430B8F}"/>
          </ac:spMkLst>
        </pc:spChg>
        <pc:spChg chg="add del mod modVis">
          <ac:chgData name="Falcão Lacerda, Rafael" userId="40181ff7-4694-4c53-a944-7b7d63582359" providerId="ADAL" clId="{3B4D5F63-EA56-4616-8A78-0C43AB7049E7}" dt="2025-12-08T07:16:53.499" v="23118"/>
          <ac:spMkLst>
            <pc:docMk/>
            <pc:sldMk cId="1589931485" sldId="1066"/>
            <ac:spMk id="11" creationId="{B73D20C0-EC56-F43C-E7B8-D8274CDE4D73}"/>
          </ac:spMkLst>
        </pc:spChg>
        <pc:spChg chg="mod">
          <ac:chgData name="Falcão Lacerda, Rafael" userId="40181ff7-4694-4c53-a944-7b7d63582359" providerId="ADAL" clId="{3B4D5F63-EA56-4616-8A78-0C43AB7049E7}" dt="2025-12-08T07:16:53.444" v="23096" actId="948"/>
          <ac:spMkLst>
            <pc:docMk/>
            <pc:sldMk cId="1589931485" sldId="1066"/>
            <ac:spMk id="15" creationId="{AAE71876-9D1A-4AB4-206D-70521D3524A1}"/>
          </ac:spMkLst>
        </pc:spChg>
        <pc:spChg chg="mod">
          <ac:chgData name="Falcão Lacerda, Rafael" userId="40181ff7-4694-4c53-a944-7b7d63582359" providerId="ADAL" clId="{3B4D5F63-EA56-4616-8A78-0C43AB7049E7}" dt="2025-12-08T07:23:58.161" v="23600" actId="20577"/>
          <ac:spMkLst>
            <pc:docMk/>
            <pc:sldMk cId="1589931485" sldId="1066"/>
            <ac:spMk id="19" creationId="{348C5C5D-D8FB-FDB5-4617-27ECD91723C7}"/>
          </ac:spMkLst>
        </pc:spChg>
        <pc:spChg chg="mod">
          <ac:chgData name="Falcão Lacerda, Rafael" userId="40181ff7-4694-4c53-a944-7b7d63582359" providerId="ADAL" clId="{3B4D5F63-EA56-4616-8A78-0C43AB7049E7}" dt="2025-12-08T07:24:01.004" v="23601"/>
          <ac:spMkLst>
            <pc:docMk/>
            <pc:sldMk cId="1589931485" sldId="1066"/>
            <ac:spMk id="20" creationId="{B66CDCA8-EFE0-81D5-778D-D41E85CA4F63}"/>
          </ac:spMkLst>
        </pc:spChg>
        <pc:spChg chg="mod">
          <ac:chgData name="Falcão Lacerda, Rafael" userId="40181ff7-4694-4c53-a944-7b7d63582359" providerId="ADAL" clId="{3B4D5F63-EA56-4616-8A78-0C43AB7049E7}" dt="2025-12-08T07:17:12.644" v="23191" actId="14100"/>
          <ac:spMkLst>
            <pc:docMk/>
            <pc:sldMk cId="1589931485" sldId="1066"/>
            <ac:spMk id="22" creationId="{8DA29BE1-DC39-85D3-E905-5F62EAD882A2}"/>
          </ac:spMkLst>
        </pc:spChg>
        <pc:spChg chg="mod">
          <ac:chgData name="Falcão Lacerda, Rafael" userId="40181ff7-4694-4c53-a944-7b7d63582359" providerId="ADAL" clId="{3B4D5F63-EA56-4616-8A78-0C43AB7049E7}" dt="2025-12-08T07:24:02.301" v="23602"/>
          <ac:spMkLst>
            <pc:docMk/>
            <pc:sldMk cId="1589931485" sldId="1066"/>
            <ac:spMk id="34" creationId="{A2C2FCCC-9C76-31F0-505F-1EB8CB4FC48D}"/>
          </ac:spMkLst>
        </pc:spChg>
        <pc:spChg chg="mod">
          <ac:chgData name="Falcão Lacerda, Rafael" userId="40181ff7-4694-4c53-a944-7b7d63582359" providerId="ADAL" clId="{3B4D5F63-EA56-4616-8A78-0C43AB7049E7}" dt="2025-12-08T07:24:03.462" v="23603"/>
          <ac:spMkLst>
            <pc:docMk/>
            <pc:sldMk cId="1589931485" sldId="1066"/>
            <ac:spMk id="35" creationId="{878B9AB8-E5C1-07C8-60C1-C62A1F532D73}"/>
          </ac:spMkLst>
        </pc:spChg>
        <pc:spChg chg="mod">
          <ac:chgData name="Falcão Lacerda, Rafael" userId="40181ff7-4694-4c53-a944-7b7d63582359" providerId="ADAL" clId="{3B4D5F63-EA56-4616-8A78-0C43AB7049E7}" dt="2025-12-08T07:18:34.129" v="23430" actId="20577"/>
          <ac:spMkLst>
            <pc:docMk/>
            <pc:sldMk cId="1589931485" sldId="1066"/>
            <ac:spMk id="49" creationId="{80E6A5A6-29E7-32C0-F306-43E811E564C1}"/>
          </ac:spMkLst>
        </pc:spChg>
        <pc:spChg chg="mod">
          <ac:chgData name="Falcão Lacerda, Rafael" userId="40181ff7-4694-4c53-a944-7b7d63582359" providerId="ADAL" clId="{3B4D5F63-EA56-4616-8A78-0C43AB7049E7}" dt="2025-12-08T07:25:01.192" v="23758" actId="20577"/>
          <ac:spMkLst>
            <pc:docMk/>
            <pc:sldMk cId="1589931485" sldId="1066"/>
            <ac:spMk id="50" creationId="{98F1B6C4-6638-2712-E7C3-882435E8147F}"/>
          </ac:spMkLst>
        </pc:spChg>
        <pc:spChg chg="mod">
          <ac:chgData name="Falcão Lacerda, Rafael" userId="40181ff7-4694-4c53-a944-7b7d63582359" providerId="ADAL" clId="{3B4D5F63-EA56-4616-8A78-0C43AB7049E7}" dt="2025-12-08T07:26:57.956" v="23976" actId="20577"/>
          <ac:spMkLst>
            <pc:docMk/>
            <pc:sldMk cId="1589931485" sldId="1066"/>
            <ac:spMk id="51" creationId="{68607233-6053-506D-17DB-4F9C248E2459}"/>
          </ac:spMkLst>
        </pc:spChg>
        <pc:spChg chg="mod">
          <ac:chgData name="Falcão Lacerda, Rafael" userId="40181ff7-4694-4c53-a944-7b7d63582359" providerId="ADAL" clId="{3B4D5F63-EA56-4616-8A78-0C43AB7049E7}" dt="2025-12-08T07:28:01.236" v="24101" actId="20577"/>
          <ac:spMkLst>
            <pc:docMk/>
            <pc:sldMk cId="1589931485" sldId="1066"/>
            <ac:spMk id="52" creationId="{B2F8B448-D016-F07A-B4B5-CE0A363144CF}"/>
          </ac:spMkLst>
        </pc:spChg>
        <pc:graphicFrameChg chg="mod">
          <ac:chgData name="Falcão Lacerda, Rafael" userId="40181ff7-4694-4c53-a944-7b7d63582359" providerId="ADAL" clId="{3B4D5F63-EA56-4616-8A78-0C43AB7049E7}" dt="2025-12-08T07:16:53.502" v="23120"/>
          <ac:graphicFrameMkLst>
            <pc:docMk/>
            <pc:sldMk cId="1589931485" sldId="1066"/>
            <ac:graphicFrameMk id="3" creationId="{E5AFA42D-F2A0-597F-3539-9C9E891D570F}"/>
          </ac:graphicFrameMkLst>
        </pc:graphicFrameChg>
      </pc:sldChg>
      <pc:sldChg chg="add del">
        <pc:chgData name="Falcão Lacerda, Rafael" userId="40181ff7-4694-4c53-a944-7b7d63582359" providerId="ADAL" clId="{3B4D5F63-EA56-4616-8A78-0C43AB7049E7}" dt="2025-12-08T07:43:20.010" v="26104" actId="47"/>
        <pc:sldMkLst>
          <pc:docMk/>
          <pc:sldMk cId="4185587282" sldId="1067"/>
        </pc:sldMkLst>
      </pc:sldChg>
      <pc:sldChg chg="add del">
        <pc:chgData name="Falcão Lacerda, Rafael" userId="40181ff7-4694-4c53-a944-7b7d63582359" providerId="ADAL" clId="{3B4D5F63-EA56-4616-8A78-0C43AB7049E7}" dt="2025-12-08T07:41:23.873" v="25824" actId="47"/>
        <pc:sldMkLst>
          <pc:docMk/>
          <pc:sldMk cId="1079150209" sldId="1068"/>
        </pc:sldMkLst>
      </pc:sldChg>
      <pc:sldChg chg="addSp delSp modSp add mod ord modShow">
        <pc:chgData name="Falcão Lacerda, Rafael" userId="40181ff7-4694-4c53-a944-7b7d63582359" providerId="ADAL" clId="{3B4D5F63-EA56-4616-8A78-0C43AB7049E7}" dt="2025-12-08T17:11:27.053" v="33630" actId="729"/>
        <pc:sldMkLst>
          <pc:docMk/>
          <pc:sldMk cId="2640785466" sldId="1069"/>
        </pc:sldMkLst>
        <pc:spChg chg="add del mod modVis">
          <ac:chgData name="Falcão Lacerda, Rafael" userId="40181ff7-4694-4c53-a944-7b7d63582359" providerId="ADAL" clId="{3B4D5F63-EA56-4616-8A78-0C43AB7049E7}" dt="2025-12-08T07:33:39.147" v="24563"/>
          <ac:spMkLst>
            <pc:docMk/>
            <pc:sldMk cId="2640785466" sldId="1069"/>
            <ac:spMk id="2" creationId="{F280A0F0-AB36-498B-1553-756408DA6FA6}"/>
          </ac:spMkLst>
        </pc:spChg>
        <pc:spChg chg="add del mod modVis">
          <ac:chgData name="Falcão Lacerda, Rafael" userId="40181ff7-4694-4c53-a944-7b7d63582359" providerId="ADAL" clId="{3B4D5F63-EA56-4616-8A78-0C43AB7049E7}" dt="2025-12-08T07:33:41.191" v="24589"/>
          <ac:spMkLst>
            <pc:docMk/>
            <pc:sldMk cId="2640785466" sldId="1069"/>
            <ac:spMk id="4" creationId="{B77FBAF1-B1BE-5C99-EFC1-624A0C581A36}"/>
          </ac:spMkLst>
        </pc:spChg>
        <pc:spChg chg="add del mod modVis">
          <ac:chgData name="Falcão Lacerda, Rafael" userId="40181ff7-4694-4c53-a944-7b7d63582359" providerId="ADAL" clId="{3B4D5F63-EA56-4616-8A78-0C43AB7049E7}" dt="2025-12-08T07:33:42.750" v="24619"/>
          <ac:spMkLst>
            <pc:docMk/>
            <pc:sldMk cId="2640785466" sldId="1069"/>
            <ac:spMk id="5" creationId="{CEA59FA1-63D7-C2D4-B7D9-7CF18E9F069E}"/>
          </ac:spMkLst>
        </pc:spChg>
        <pc:spChg chg="mod topLvl">
          <ac:chgData name="Falcão Lacerda, Rafael" userId="40181ff7-4694-4c53-a944-7b7d63582359" providerId="ADAL" clId="{3B4D5F63-EA56-4616-8A78-0C43AB7049E7}" dt="2025-12-08T16:00:55.208" v="30357" actId="165"/>
          <ac:spMkLst>
            <pc:docMk/>
            <pc:sldMk cId="2640785466" sldId="1069"/>
            <ac:spMk id="6" creationId="{E667CEC1-A892-B0E0-C8C1-844EAE1EA10E}"/>
          </ac:spMkLst>
        </pc:spChg>
        <pc:spChg chg="mod topLvl">
          <ac:chgData name="Falcão Lacerda, Rafael" userId="40181ff7-4694-4c53-a944-7b7d63582359" providerId="ADAL" clId="{3B4D5F63-EA56-4616-8A78-0C43AB7049E7}" dt="2025-12-08T16:00:55.208" v="30357" actId="165"/>
          <ac:spMkLst>
            <pc:docMk/>
            <pc:sldMk cId="2640785466" sldId="1069"/>
            <ac:spMk id="7" creationId="{437BEABA-D725-DFCC-BAD2-4F50B20079FD}"/>
          </ac:spMkLst>
        </pc:spChg>
        <pc:spChg chg="mod topLvl">
          <ac:chgData name="Falcão Lacerda, Rafael" userId="40181ff7-4694-4c53-a944-7b7d63582359" providerId="ADAL" clId="{3B4D5F63-EA56-4616-8A78-0C43AB7049E7}" dt="2025-12-08T16:00:55.208" v="30357" actId="165"/>
          <ac:spMkLst>
            <pc:docMk/>
            <pc:sldMk cId="2640785466" sldId="1069"/>
            <ac:spMk id="8" creationId="{9333A729-0CFB-AF1A-0616-AF7002F64E22}"/>
          </ac:spMkLst>
        </pc:spChg>
        <pc:spChg chg="mod">
          <ac:chgData name="Falcão Lacerda, Rafael" userId="40181ff7-4694-4c53-a944-7b7d63582359" providerId="ADAL" clId="{3B4D5F63-EA56-4616-8A78-0C43AB7049E7}" dt="2025-12-08T16:03:43.466" v="30362" actId="20577"/>
          <ac:spMkLst>
            <pc:docMk/>
            <pc:sldMk cId="2640785466" sldId="1069"/>
            <ac:spMk id="9" creationId="{EACB8485-8E5C-CDAA-D7A2-87F367419ED0}"/>
          </ac:spMkLst>
        </pc:spChg>
        <pc:spChg chg="add del mod modVis">
          <ac:chgData name="Falcão Lacerda, Rafael" userId="40181ff7-4694-4c53-a944-7b7d63582359" providerId="ADAL" clId="{3B4D5F63-EA56-4616-8A78-0C43AB7049E7}" dt="2025-12-08T07:33:46.005" v="24666"/>
          <ac:spMkLst>
            <pc:docMk/>
            <pc:sldMk cId="2640785466" sldId="1069"/>
            <ac:spMk id="10" creationId="{4D753060-1E28-7A3B-70D3-40CED3B193D8}"/>
          </ac:spMkLst>
        </pc:spChg>
        <pc:spChg chg="mod">
          <ac:chgData name="Falcão Lacerda, Rafael" userId="40181ff7-4694-4c53-a944-7b7d63582359" providerId="ADAL" clId="{3B4D5F63-EA56-4616-8A78-0C43AB7049E7}" dt="2025-12-08T07:33:45.978" v="24644" actId="948"/>
          <ac:spMkLst>
            <pc:docMk/>
            <pc:sldMk cId="2640785466" sldId="1069"/>
            <ac:spMk id="15" creationId="{36FF970A-CC01-72CE-CB5D-1EB0CFEDF8CE}"/>
          </ac:spMkLst>
        </pc:spChg>
        <pc:spChg chg="mod topLvl">
          <ac:chgData name="Falcão Lacerda, Rafael" userId="40181ff7-4694-4c53-a944-7b7d63582359" providerId="ADAL" clId="{3B4D5F63-EA56-4616-8A78-0C43AB7049E7}" dt="2025-12-08T16:00:55.208" v="30357" actId="165"/>
          <ac:spMkLst>
            <pc:docMk/>
            <pc:sldMk cId="2640785466" sldId="1069"/>
            <ac:spMk id="19" creationId="{8F552ABD-FEAA-9F37-C76D-8F73734981E1}"/>
          </ac:spMkLst>
        </pc:spChg>
        <pc:spChg chg="mod">
          <ac:chgData name="Falcão Lacerda, Rafael" userId="40181ff7-4694-4c53-a944-7b7d63582359" providerId="ADAL" clId="{3B4D5F63-EA56-4616-8A78-0C43AB7049E7}" dt="2025-12-08T07:42:30.536" v="25987" actId="20577"/>
          <ac:spMkLst>
            <pc:docMk/>
            <pc:sldMk cId="2640785466" sldId="1069"/>
            <ac:spMk id="20" creationId="{1FEBAC97-276D-EAB8-1501-6C2AC2F7B3B1}"/>
          </ac:spMkLst>
        </pc:spChg>
        <pc:spChg chg="mod">
          <ac:chgData name="Falcão Lacerda, Rafael" userId="40181ff7-4694-4c53-a944-7b7d63582359" providerId="ADAL" clId="{3B4D5F63-EA56-4616-8A78-0C43AB7049E7}" dt="2025-12-08T17:11:00.532" v="33628" actId="207"/>
          <ac:spMkLst>
            <pc:docMk/>
            <pc:sldMk cId="2640785466" sldId="1069"/>
            <ac:spMk id="22" creationId="{31DA9933-0570-F441-8276-E9F32C5FB1DB}"/>
          </ac:spMkLst>
        </pc:spChg>
        <pc:spChg chg="mod topLvl">
          <ac:chgData name="Falcão Lacerda, Rafael" userId="40181ff7-4694-4c53-a944-7b7d63582359" providerId="ADAL" clId="{3B4D5F63-EA56-4616-8A78-0C43AB7049E7}" dt="2025-12-08T16:00:55.208" v="30357" actId="165"/>
          <ac:spMkLst>
            <pc:docMk/>
            <pc:sldMk cId="2640785466" sldId="1069"/>
            <ac:spMk id="34" creationId="{2C53DDB5-3F99-EA19-BA03-60D269382B5F}"/>
          </ac:spMkLst>
        </pc:spChg>
        <pc:spChg chg="mod topLvl">
          <ac:chgData name="Falcão Lacerda, Rafael" userId="40181ff7-4694-4c53-a944-7b7d63582359" providerId="ADAL" clId="{3B4D5F63-EA56-4616-8A78-0C43AB7049E7}" dt="2025-12-08T16:03:41.790" v="30361" actId="20577"/>
          <ac:spMkLst>
            <pc:docMk/>
            <pc:sldMk cId="2640785466" sldId="1069"/>
            <ac:spMk id="35" creationId="{BA893C21-62B3-EE65-52E0-F07CD2A8343A}"/>
          </ac:spMkLst>
        </pc:spChg>
        <pc:spChg chg="mod topLvl">
          <ac:chgData name="Falcão Lacerda, Rafael" userId="40181ff7-4694-4c53-a944-7b7d63582359" providerId="ADAL" clId="{3B4D5F63-EA56-4616-8A78-0C43AB7049E7}" dt="2025-12-08T16:00:55.208" v="30357" actId="165"/>
          <ac:spMkLst>
            <pc:docMk/>
            <pc:sldMk cId="2640785466" sldId="1069"/>
            <ac:spMk id="49" creationId="{CD1FD002-D7BF-9A77-F61C-EA9A2AE98B61}"/>
          </ac:spMkLst>
        </pc:spChg>
        <pc:spChg chg="mod topLvl">
          <ac:chgData name="Falcão Lacerda, Rafael" userId="40181ff7-4694-4c53-a944-7b7d63582359" providerId="ADAL" clId="{3B4D5F63-EA56-4616-8A78-0C43AB7049E7}" dt="2025-12-08T16:00:55.208" v="30357" actId="165"/>
          <ac:spMkLst>
            <pc:docMk/>
            <pc:sldMk cId="2640785466" sldId="1069"/>
            <ac:spMk id="50" creationId="{8C74CD9C-D696-1219-9F7D-7774C9FD3ED5}"/>
          </ac:spMkLst>
        </pc:spChg>
        <pc:spChg chg="mod topLvl">
          <ac:chgData name="Falcão Lacerda, Rafael" userId="40181ff7-4694-4c53-a944-7b7d63582359" providerId="ADAL" clId="{3B4D5F63-EA56-4616-8A78-0C43AB7049E7}" dt="2025-12-08T16:00:55.208" v="30357" actId="165"/>
          <ac:spMkLst>
            <pc:docMk/>
            <pc:sldMk cId="2640785466" sldId="1069"/>
            <ac:spMk id="51" creationId="{4FEC8737-AAE5-E7B8-88D9-C45A65E26EB4}"/>
          </ac:spMkLst>
        </pc:spChg>
        <pc:spChg chg="mod topLvl">
          <ac:chgData name="Falcão Lacerda, Rafael" userId="40181ff7-4694-4c53-a944-7b7d63582359" providerId="ADAL" clId="{3B4D5F63-EA56-4616-8A78-0C43AB7049E7}" dt="2025-12-08T16:03:44.183" v="30363" actId="20577"/>
          <ac:spMkLst>
            <pc:docMk/>
            <pc:sldMk cId="2640785466" sldId="1069"/>
            <ac:spMk id="52" creationId="{E5CB4BCA-7367-5256-C845-1FF96D79248C}"/>
          </ac:spMkLst>
        </pc:spChg>
        <pc:graphicFrameChg chg="mod">
          <ac:chgData name="Falcão Lacerda, Rafael" userId="40181ff7-4694-4c53-a944-7b7d63582359" providerId="ADAL" clId="{3B4D5F63-EA56-4616-8A78-0C43AB7049E7}" dt="2025-12-08T07:33:46.005" v="24668"/>
          <ac:graphicFrameMkLst>
            <pc:docMk/>
            <pc:sldMk cId="2640785466" sldId="1069"/>
            <ac:graphicFrameMk id="3" creationId="{3BF6CDC2-B77E-F70A-FA59-8B6CA8AA58C2}"/>
          </ac:graphicFrameMkLst>
        </pc:graphicFrameChg>
      </pc:sldChg>
      <pc:sldChg chg="addSp delSp modSp add mod ord">
        <pc:chgData name="Falcão Lacerda, Rafael" userId="40181ff7-4694-4c53-a944-7b7d63582359" providerId="ADAL" clId="{3B4D5F63-EA56-4616-8A78-0C43AB7049E7}" dt="2025-12-08T17:11:07.825" v="33629" actId="207"/>
        <pc:sldMkLst>
          <pc:docMk/>
          <pc:sldMk cId="4064419526" sldId="1070"/>
        </pc:sldMkLst>
        <pc:spChg chg="add del mod">
          <ac:chgData name="Falcão Lacerda, Rafael" userId="40181ff7-4694-4c53-a944-7b7d63582359" providerId="ADAL" clId="{3B4D5F63-EA56-4616-8A78-0C43AB7049E7}" dt="2025-12-08T11:41:55.887" v="26711" actId="478"/>
          <ac:spMkLst>
            <pc:docMk/>
            <pc:sldMk cId="4064419526" sldId="1070"/>
            <ac:spMk id="2" creationId="{427110AF-1539-ABD6-E8AD-0A5C0B4852CD}"/>
          </ac:spMkLst>
        </pc:spChg>
        <pc:spChg chg="add del mod modVis">
          <ac:chgData name="Falcão Lacerda, Rafael" userId="40181ff7-4694-4c53-a944-7b7d63582359" providerId="ADAL" clId="{3B4D5F63-EA56-4616-8A78-0C43AB7049E7}" dt="2025-12-08T16:05:57.540" v="30400"/>
          <ac:spMkLst>
            <pc:docMk/>
            <pc:sldMk cId="4064419526" sldId="1070"/>
            <ac:spMk id="4" creationId="{8A7E14F5-608C-E969-9259-1A4599100CF2}"/>
          </ac:spMkLst>
        </pc:spChg>
        <pc:spChg chg="add del mod modVis">
          <ac:chgData name="Falcão Lacerda, Rafael" userId="40181ff7-4694-4c53-a944-7b7d63582359" providerId="ADAL" clId="{3B4D5F63-EA56-4616-8A78-0C43AB7049E7}" dt="2025-12-08T16:05:59.474" v="30431"/>
          <ac:spMkLst>
            <pc:docMk/>
            <pc:sldMk cId="4064419526" sldId="1070"/>
            <ac:spMk id="5" creationId="{43119063-8BE2-9303-64F9-771859D54AB6}"/>
          </ac:spMkLst>
        </pc:spChg>
        <pc:spChg chg="mod">
          <ac:chgData name="Falcão Lacerda, Rafael" userId="40181ff7-4694-4c53-a944-7b7d63582359" providerId="ADAL" clId="{3B4D5F63-EA56-4616-8A78-0C43AB7049E7}" dt="2025-12-08T11:49:36.597" v="27839" actId="20577"/>
          <ac:spMkLst>
            <pc:docMk/>
            <pc:sldMk cId="4064419526" sldId="1070"/>
            <ac:spMk id="6" creationId="{B7ECD34D-CFC5-80D2-C8A4-DF8A3DC36FFE}"/>
          </ac:spMkLst>
        </pc:spChg>
        <pc:spChg chg="mod">
          <ac:chgData name="Falcão Lacerda, Rafael" userId="40181ff7-4694-4c53-a944-7b7d63582359" providerId="ADAL" clId="{3B4D5F63-EA56-4616-8A78-0C43AB7049E7}" dt="2025-12-08T11:50:09.208" v="28016" actId="20577"/>
          <ac:spMkLst>
            <pc:docMk/>
            <pc:sldMk cId="4064419526" sldId="1070"/>
            <ac:spMk id="7" creationId="{6284C013-586E-8ECA-3F72-93FF2C132E21}"/>
          </ac:spMkLst>
        </pc:spChg>
        <pc:spChg chg="mod">
          <ac:chgData name="Falcão Lacerda, Rafael" userId="40181ff7-4694-4c53-a944-7b7d63582359" providerId="ADAL" clId="{3B4D5F63-EA56-4616-8A78-0C43AB7049E7}" dt="2025-12-08T11:51:15.965" v="28230" actId="20577"/>
          <ac:spMkLst>
            <pc:docMk/>
            <pc:sldMk cId="4064419526" sldId="1070"/>
            <ac:spMk id="8" creationId="{87DFBD5A-3932-0361-042F-1BAF97B5F394}"/>
          </ac:spMkLst>
        </pc:spChg>
        <pc:spChg chg="mod">
          <ac:chgData name="Falcão Lacerda, Rafael" userId="40181ff7-4694-4c53-a944-7b7d63582359" providerId="ADAL" clId="{3B4D5F63-EA56-4616-8A78-0C43AB7049E7}" dt="2025-12-08T16:05:06.291" v="30366" actId="20577"/>
          <ac:spMkLst>
            <pc:docMk/>
            <pc:sldMk cId="4064419526" sldId="1070"/>
            <ac:spMk id="9" creationId="{EEFBED39-000C-E5FE-0FD6-3F1FCD2E4ECF}"/>
          </ac:spMkLst>
        </pc:spChg>
        <pc:spChg chg="add del mod modVis">
          <ac:chgData name="Falcão Lacerda, Rafael" userId="40181ff7-4694-4c53-a944-7b7d63582359" providerId="ADAL" clId="{3B4D5F63-EA56-4616-8A78-0C43AB7049E7}" dt="2025-12-08T16:06:00.123" v="30457"/>
          <ac:spMkLst>
            <pc:docMk/>
            <pc:sldMk cId="4064419526" sldId="1070"/>
            <ac:spMk id="10" creationId="{E5DA0B15-E05A-612B-C06F-316B720B7B62}"/>
          </ac:spMkLst>
        </pc:spChg>
        <pc:spChg chg="add del mod modVis">
          <ac:chgData name="Falcão Lacerda, Rafael" userId="40181ff7-4694-4c53-a944-7b7d63582359" providerId="ADAL" clId="{3B4D5F63-EA56-4616-8A78-0C43AB7049E7}" dt="2025-12-08T16:06:02.660" v="30491"/>
          <ac:spMkLst>
            <pc:docMk/>
            <pc:sldMk cId="4064419526" sldId="1070"/>
            <ac:spMk id="11" creationId="{CD701012-2F0D-F508-D741-EEA47FE5D5E2}"/>
          </ac:spMkLst>
        </pc:spChg>
        <pc:spChg chg="add del mod modVis">
          <ac:chgData name="Falcão Lacerda, Rafael" userId="40181ff7-4694-4c53-a944-7b7d63582359" providerId="ADAL" clId="{3B4D5F63-EA56-4616-8A78-0C43AB7049E7}" dt="2025-12-08T16:06:09.315" v="30517"/>
          <ac:spMkLst>
            <pc:docMk/>
            <pc:sldMk cId="4064419526" sldId="1070"/>
            <ac:spMk id="12" creationId="{A786738E-375A-73F5-8CCD-8E89E5755B7F}"/>
          </ac:spMkLst>
        </pc:spChg>
        <pc:spChg chg="add del mod modVis">
          <ac:chgData name="Falcão Lacerda, Rafael" userId="40181ff7-4694-4c53-a944-7b7d63582359" providerId="ADAL" clId="{3B4D5F63-EA56-4616-8A78-0C43AB7049E7}" dt="2025-12-08T16:06:11.057" v="30548"/>
          <ac:spMkLst>
            <pc:docMk/>
            <pc:sldMk cId="4064419526" sldId="1070"/>
            <ac:spMk id="13" creationId="{CB00176F-7BAC-A944-5C03-82234B96B089}"/>
          </ac:spMkLst>
        </pc:spChg>
        <pc:spChg chg="add del mod modVis">
          <ac:chgData name="Falcão Lacerda, Rafael" userId="40181ff7-4694-4c53-a944-7b7d63582359" providerId="ADAL" clId="{3B4D5F63-EA56-4616-8A78-0C43AB7049E7}" dt="2025-12-08T16:06:12.639" v="30577"/>
          <ac:spMkLst>
            <pc:docMk/>
            <pc:sldMk cId="4064419526" sldId="1070"/>
            <ac:spMk id="14" creationId="{1B0D3A86-E1B8-2107-240E-FE518FE02173}"/>
          </ac:spMkLst>
        </pc:spChg>
        <pc:spChg chg="mod">
          <ac:chgData name="Falcão Lacerda, Rafael" userId="40181ff7-4694-4c53-a944-7b7d63582359" providerId="ADAL" clId="{3B4D5F63-EA56-4616-8A78-0C43AB7049E7}" dt="2025-12-08T16:06:12.594" v="30555" actId="948"/>
          <ac:spMkLst>
            <pc:docMk/>
            <pc:sldMk cId="4064419526" sldId="1070"/>
            <ac:spMk id="15" creationId="{5081E0E9-8591-C75A-C980-DE94840FD31B}"/>
          </ac:spMkLst>
        </pc:spChg>
        <pc:spChg chg="mod">
          <ac:chgData name="Falcão Lacerda, Rafael" userId="40181ff7-4694-4c53-a944-7b7d63582359" providerId="ADAL" clId="{3B4D5F63-EA56-4616-8A78-0C43AB7049E7}" dt="2025-12-08T11:49:42.967" v="27864" actId="20577"/>
          <ac:spMkLst>
            <pc:docMk/>
            <pc:sldMk cId="4064419526" sldId="1070"/>
            <ac:spMk id="19" creationId="{5B6C30F7-4F39-0D4D-161C-D1614E51E2B5}"/>
          </ac:spMkLst>
        </pc:spChg>
        <pc:spChg chg="mod">
          <ac:chgData name="Falcão Lacerda, Rafael" userId="40181ff7-4694-4c53-a944-7b7d63582359" providerId="ADAL" clId="{3B4D5F63-EA56-4616-8A78-0C43AB7049E7}" dt="2025-12-08T11:51:32.354" v="28271" actId="20577"/>
          <ac:spMkLst>
            <pc:docMk/>
            <pc:sldMk cId="4064419526" sldId="1070"/>
            <ac:spMk id="20" creationId="{BCA05EA0-3DBA-FCCA-372B-FB0855CC30BB}"/>
          </ac:spMkLst>
        </pc:spChg>
        <pc:spChg chg="mod">
          <ac:chgData name="Falcão Lacerda, Rafael" userId="40181ff7-4694-4c53-a944-7b7d63582359" providerId="ADAL" clId="{3B4D5F63-EA56-4616-8A78-0C43AB7049E7}" dt="2025-12-08T17:11:07.825" v="33629" actId="207"/>
          <ac:spMkLst>
            <pc:docMk/>
            <pc:sldMk cId="4064419526" sldId="1070"/>
            <ac:spMk id="22" creationId="{75892529-961B-A0E8-B9E9-8F0869B07DB8}"/>
          </ac:spMkLst>
        </pc:spChg>
        <pc:spChg chg="mod">
          <ac:chgData name="Falcão Lacerda, Rafael" userId="40181ff7-4694-4c53-a944-7b7d63582359" providerId="ADAL" clId="{3B4D5F63-EA56-4616-8A78-0C43AB7049E7}" dt="2025-12-08T11:51:39.963" v="28295" actId="20577"/>
          <ac:spMkLst>
            <pc:docMk/>
            <pc:sldMk cId="4064419526" sldId="1070"/>
            <ac:spMk id="34" creationId="{5B728483-D10B-6ADD-7526-DB87FD1C55C5}"/>
          </ac:spMkLst>
        </pc:spChg>
        <pc:spChg chg="mod">
          <ac:chgData name="Falcão Lacerda, Rafael" userId="40181ff7-4694-4c53-a944-7b7d63582359" providerId="ADAL" clId="{3B4D5F63-EA56-4616-8A78-0C43AB7049E7}" dt="2025-12-08T16:05:09.057" v="30367" actId="20577"/>
          <ac:spMkLst>
            <pc:docMk/>
            <pc:sldMk cId="4064419526" sldId="1070"/>
            <ac:spMk id="35" creationId="{22A1745A-36E8-9335-4A86-764556E5731E}"/>
          </ac:spMkLst>
        </pc:spChg>
        <pc:spChg chg="mod">
          <ac:chgData name="Falcão Lacerda, Rafael" userId="40181ff7-4694-4c53-a944-7b7d63582359" providerId="ADAL" clId="{3B4D5F63-EA56-4616-8A78-0C43AB7049E7}" dt="2025-12-08T11:44:29.556" v="27127" actId="20577"/>
          <ac:spMkLst>
            <pc:docMk/>
            <pc:sldMk cId="4064419526" sldId="1070"/>
            <ac:spMk id="49" creationId="{3EACDD45-1C73-8E1E-1FF8-C96D494CBA0E}"/>
          </ac:spMkLst>
        </pc:spChg>
        <pc:spChg chg="mod">
          <ac:chgData name="Falcão Lacerda, Rafael" userId="40181ff7-4694-4c53-a944-7b7d63582359" providerId="ADAL" clId="{3B4D5F63-EA56-4616-8A78-0C43AB7049E7}" dt="2025-12-08T11:46:26.253" v="27371" actId="20577"/>
          <ac:spMkLst>
            <pc:docMk/>
            <pc:sldMk cId="4064419526" sldId="1070"/>
            <ac:spMk id="50" creationId="{0CA31D5E-0B0C-B4B6-E126-8EA015B84862}"/>
          </ac:spMkLst>
        </pc:spChg>
        <pc:spChg chg="mod">
          <ac:chgData name="Falcão Lacerda, Rafael" userId="40181ff7-4694-4c53-a944-7b7d63582359" providerId="ADAL" clId="{3B4D5F63-EA56-4616-8A78-0C43AB7049E7}" dt="2025-12-08T11:49:00.994" v="27669" actId="20577"/>
          <ac:spMkLst>
            <pc:docMk/>
            <pc:sldMk cId="4064419526" sldId="1070"/>
            <ac:spMk id="51" creationId="{D8C95FAC-5781-DBD4-5FFB-1CEB7381BE06}"/>
          </ac:spMkLst>
        </pc:spChg>
        <pc:spChg chg="mod">
          <ac:chgData name="Falcão Lacerda, Rafael" userId="40181ff7-4694-4c53-a944-7b7d63582359" providerId="ADAL" clId="{3B4D5F63-EA56-4616-8A78-0C43AB7049E7}" dt="2025-12-08T16:04:59.255" v="30365" actId="20577"/>
          <ac:spMkLst>
            <pc:docMk/>
            <pc:sldMk cId="4064419526" sldId="1070"/>
            <ac:spMk id="52" creationId="{E7B44B1F-8A91-1991-BC72-C414B9264859}"/>
          </ac:spMkLst>
        </pc:spChg>
        <pc:graphicFrameChg chg="mod">
          <ac:chgData name="Falcão Lacerda, Rafael" userId="40181ff7-4694-4c53-a944-7b7d63582359" providerId="ADAL" clId="{3B4D5F63-EA56-4616-8A78-0C43AB7049E7}" dt="2025-12-08T16:06:12.641" v="30579"/>
          <ac:graphicFrameMkLst>
            <pc:docMk/>
            <pc:sldMk cId="4064419526" sldId="1070"/>
            <ac:graphicFrameMk id="3" creationId="{EC276D28-7755-3D59-DC02-D7CFC6188064}"/>
          </ac:graphicFrameMkLst>
        </pc:graphicFrameChg>
      </pc:sldChg>
      <pc:sldChg chg="addSp delSp modSp add mod modShow">
        <pc:chgData name="Falcão Lacerda, Rafael" userId="40181ff7-4694-4c53-a944-7b7d63582359" providerId="ADAL" clId="{3B4D5F63-EA56-4616-8A78-0C43AB7049E7}" dt="2025-12-08T16:45:52.477" v="32836" actId="729"/>
        <pc:sldMkLst>
          <pc:docMk/>
          <pc:sldMk cId="1984580934" sldId="1071"/>
        </pc:sldMkLst>
        <pc:spChg chg="mod">
          <ac:chgData name="Falcão Lacerda, Rafael" userId="40181ff7-4694-4c53-a944-7b7d63582359" providerId="ADAL" clId="{3B4D5F63-EA56-4616-8A78-0C43AB7049E7}" dt="2025-12-08T07:53:48.574" v="26442" actId="20577"/>
          <ac:spMkLst>
            <pc:docMk/>
            <pc:sldMk cId="1984580934" sldId="1071"/>
            <ac:spMk id="2" creationId="{CE33AA3A-25CA-4432-0671-9384566BD5A1}"/>
          </ac:spMkLst>
        </pc:spChg>
        <pc:spChg chg="mod">
          <ac:chgData name="Falcão Lacerda, Rafael" userId="40181ff7-4694-4c53-a944-7b7d63582359" providerId="ADAL" clId="{3B4D5F63-EA56-4616-8A78-0C43AB7049E7}" dt="2025-12-08T07:54:37.437" v="26505" actId="20577"/>
          <ac:spMkLst>
            <pc:docMk/>
            <pc:sldMk cId="1984580934" sldId="1071"/>
            <ac:spMk id="5" creationId="{240FF618-6589-BF6E-1F3B-69A374FC08F1}"/>
          </ac:spMkLst>
        </pc:spChg>
        <pc:spChg chg="add del mod modVis">
          <ac:chgData name="Falcão Lacerda, Rafael" userId="40181ff7-4694-4c53-a944-7b7d63582359" providerId="ADAL" clId="{3B4D5F63-EA56-4616-8A78-0C43AB7049E7}" dt="2025-12-08T07:53:22.016" v="26284"/>
          <ac:spMkLst>
            <pc:docMk/>
            <pc:sldMk cId="1984580934" sldId="1071"/>
            <ac:spMk id="6" creationId="{55C36AB7-DFD7-67E4-0930-112690159013}"/>
          </ac:spMkLst>
        </pc:spChg>
        <pc:spChg chg="mod">
          <ac:chgData name="Falcão Lacerda, Rafael" userId="40181ff7-4694-4c53-a944-7b7d63582359" providerId="ADAL" clId="{3B4D5F63-EA56-4616-8A78-0C43AB7049E7}" dt="2025-12-08T07:54:41.022" v="26507" actId="20577"/>
          <ac:spMkLst>
            <pc:docMk/>
            <pc:sldMk cId="1984580934" sldId="1071"/>
            <ac:spMk id="8" creationId="{A822EE3F-4591-24DA-0B13-F1ECF2623BF0}"/>
          </ac:spMkLst>
        </pc:spChg>
        <pc:spChg chg="mod">
          <ac:chgData name="Falcão Lacerda, Rafael" userId="40181ff7-4694-4c53-a944-7b7d63582359" providerId="ADAL" clId="{3B4D5F63-EA56-4616-8A78-0C43AB7049E7}" dt="2025-12-08T07:54:49.285" v="26528" actId="20577"/>
          <ac:spMkLst>
            <pc:docMk/>
            <pc:sldMk cId="1984580934" sldId="1071"/>
            <ac:spMk id="10" creationId="{9441ED00-D516-72BA-7DFD-D38E4D71C2E9}"/>
          </ac:spMkLst>
        </pc:spChg>
        <pc:spChg chg="add del mod modVis">
          <ac:chgData name="Falcão Lacerda, Rafael" userId="40181ff7-4694-4c53-a944-7b7d63582359" providerId="ADAL" clId="{3B4D5F63-EA56-4616-8A78-0C43AB7049E7}" dt="2025-12-08T07:53:23.006" v="26313"/>
          <ac:spMkLst>
            <pc:docMk/>
            <pc:sldMk cId="1984580934" sldId="1071"/>
            <ac:spMk id="14" creationId="{E89557C6-C127-650E-346E-D66B5C7D4E8C}"/>
          </ac:spMkLst>
        </pc:spChg>
        <pc:spChg chg="add del mod modVis">
          <ac:chgData name="Falcão Lacerda, Rafael" userId="40181ff7-4694-4c53-a944-7b7d63582359" providerId="ADAL" clId="{3B4D5F63-EA56-4616-8A78-0C43AB7049E7}" dt="2025-12-08T07:53:35.432" v="26384"/>
          <ac:spMkLst>
            <pc:docMk/>
            <pc:sldMk cId="1984580934" sldId="1071"/>
            <ac:spMk id="15" creationId="{A3AD24FB-4960-08CB-B952-5D8FD3FFAC79}"/>
          </ac:spMkLst>
        </pc:spChg>
        <pc:spChg chg="mod">
          <ac:chgData name="Falcão Lacerda, Rafael" userId="40181ff7-4694-4c53-a944-7b7d63582359" providerId="ADAL" clId="{3B4D5F63-EA56-4616-8A78-0C43AB7049E7}" dt="2025-12-08T07:53:35.378" v="26363" actId="948"/>
          <ac:spMkLst>
            <pc:docMk/>
            <pc:sldMk cId="1984580934" sldId="1071"/>
            <ac:spMk id="23" creationId="{95278088-DBA1-7387-0B8A-2FCE0B73FFB7}"/>
          </ac:spMkLst>
        </pc:spChg>
        <pc:graphicFrameChg chg="mod">
          <ac:chgData name="Falcão Lacerda, Rafael" userId="40181ff7-4694-4c53-a944-7b7d63582359" providerId="ADAL" clId="{3B4D5F63-EA56-4616-8A78-0C43AB7049E7}" dt="2025-12-08T07:53:35.442" v="26386"/>
          <ac:graphicFrameMkLst>
            <pc:docMk/>
            <pc:sldMk cId="1984580934" sldId="1071"/>
            <ac:graphicFrameMk id="13" creationId="{DC6F571E-D57F-0953-BBEB-D2C504B0914D}"/>
          </ac:graphicFrameMkLst>
        </pc:graphicFrameChg>
      </pc:sldChg>
      <pc:sldChg chg="addSp delSp modSp add del mod">
        <pc:chgData name="Falcão Lacerda, Rafael" userId="40181ff7-4694-4c53-a944-7b7d63582359" providerId="ADAL" clId="{3B4D5F63-EA56-4616-8A78-0C43AB7049E7}" dt="2025-12-08T16:28:48.404" v="32025" actId="47"/>
        <pc:sldMkLst>
          <pc:docMk/>
          <pc:sldMk cId="930123926" sldId="1072"/>
        </pc:sldMkLst>
        <pc:spChg chg="add del mod modVis">
          <ac:chgData name="Falcão Lacerda, Rafael" userId="40181ff7-4694-4c53-a944-7b7d63582359" providerId="ADAL" clId="{3B4D5F63-EA56-4616-8A78-0C43AB7049E7}" dt="2025-12-08T07:55:44.839" v="26575"/>
          <ac:spMkLst>
            <pc:docMk/>
            <pc:sldMk cId="930123926" sldId="1072"/>
            <ac:spMk id="2" creationId="{5ABFE9FC-4E4D-CB1E-9B88-38CB57E5B9EC}"/>
          </ac:spMkLst>
        </pc:spChg>
        <pc:spChg chg="add del mod modVis">
          <ac:chgData name="Falcão Lacerda, Rafael" userId="40181ff7-4694-4c53-a944-7b7d63582359" providerId="ADAL" clId="{3B4D5F63-EA56-4616-8A78-0C43AB7049E7}" dt="2025-12-08T07:55:45.753" v="26601"/>
          <ac:spMkLst>
            <pc:docMk/>
            <pc:sldMk cId="930123926" sldId="1072"/>
            <ac:spMk id="4" creationId="{F3EA6019-528A-32FA-F44F-ACC2B5BBFC10}"/>
          </ac:spMkLst>
        </pc:spChg>
        <pc:spChg chg="add del mod modVis">
          <ac:chgData name="Falcão Lacerda, Rafael" userId="40181ff7-4694-4c53-a944-7b7d63582359" providerId="ADAL" clId="{3B4D5F63-EA56-4616-8A78-0C43AB7049E7}" dt="2025-12-08T07:55:51.253" v="26645"/>
          <ac:spMkLst>
            <pc:docMk/>
            <pc:sldMk cId="930123926" sldId="1072"/>
            <ac:spMk id="5" creationId="{65FCC8C3-94BA-D484-AF9E-88D0E4AFA3E1}"/>
          </ac:spMkLst>
        </pc:spChg>
        <pc:spChg chg="mod">
          <ac:chgData name="Falcão Lacerda, Rafael" userId="40181ff7-4694-4c53-a944-7b7d63582359" providerId="ADAL" clId="{3B4D5F63-EA56-4616-8A78-0C43AB7049E7}" dt="2025-12-08T07:55:51.188" v="26624" actId="948"/>
          <ac:spMkLst>
            <pc:docMk/>
            <pc:sldMk cId="930123926" sldId="1072"/>
            <ac:spMk id="9" creationId="{22B369B8-25C1-CE65-2FC4-802D83F8D579}"/>
          </ac:spMkLst>
        </pc:spChg>
        <pc:spChg chg="mod">
          <ac:chgData name="Falcão Lacerda, Rafael" userId="40181ff7-4694-4c53-a944-7b7d63582359" providerId="ADAL" clId="{3B4D5F63-EA56-4616-8A78-0C43AB7049E7}" dt="2025-12-08T07:56:09.161" v="26710" actId="20577"/>
          <ac:spMkLst>
            <pc:docMk/>
            <pc:sldMk cId="930123926" sldId="1072"/>
            <ac:spMk id="13" creationId="{096415DE-779E-E876-6EE5-CA283B216476}"/>
          </ac:spMkLst>
        </pc:spChg>
        <pc:graphicFrameChg chg="mod">
          <ac:chgData name="Falcão Lacerda, Rafael" userId="40181ff7-4694-4c53-a944-7b7d63582359" providerId="ADAL" clId="{3B4D5F63-EA56-4616-8A78-0C43AB7049E7}" dt="2025-12-08T07:55:51.270" v="26647"/>
          <ac:graphicFrameMkLst>
            <pc:docMk/>
            <pc:sldMk cId="930123926" sldId="1072"/>
            <ac:graphicFrameMk id="3" creationId="{FD1EB647-08F3-5AB4-7052-9024E91B2B4C}"/>
          </ac:graphicFrameMkLst>
        </pc:graphicFrameChg>
      </pc:sldChg>
      <pc:sldChg chg="addSp delSp modSp add mod">
        <pc:chgData name="Falcão Lacerda, Rafael" userId="40181ff7-4694-4c53-a944-7b7d63582359" providerId="ADAL" clId="{3B4D5F63-EA56-4616-8A78-0C43AB7049E7}" dt="2025-12-08T17:11:55.482" v="33635" actId="207"/>
        <pc:sldMkLst>
          <pc:docMk/>
          <pc:sldMk cId="818591776" sldId="1073"/>
        </pc:sldMkLst>
        <pc:spChg chg="mod">
          <ac:chgData name="Falcão Lacerda, Rafael" userId="40181ff7-4694-4c53-a944-7b7d63582359" providerId="ADAL" clId="{3B4D5F63-EA56-4616-8A78-0C43AB7049E7}" dt="2025-12-08T17:11:55.482" v="33635" actId="207"/>
          <ac:spMkLst>
            <pc:docMk/>
            <pc:sldMk cId="818591776" sldId="1073"/>
            <ac:spMk id="2" creationId="{3379691B-BBC6-A61D-BA87-87353267079A}"/>
          </ac:spMkLst>
        </pc:spChg>
        <pc:spChg chg="mod">
          <ac:chgData name="Falcão Lacerda, Rafael" userId="40181ff7-4694-4c53-a944-7b7d63582359" providerId="ADAL" clId="{3B4D5F63-EA56-4616-8A78-0C43AB7049E7}" dt="2025-12-08T12:53:59.411" v="29954" actId="20577"/>
          <ac:spMkLst>
            <pc:docMk/>
            <pc:sldMk cId="818591776" sldId="1073"/>
            <ac:spMk id="3" creationId="{ACBC78FB-CEC1-2DDC-E913-4269D07122DF}"/>
          </ac:spMkLst>
        </pc:spChg>
        <pc:spChg chg="add del mod modVis">
          <ac:chgData name="Falcão Lacerda, Rafael" userId="40181ff7-4694-4c53-a944-7b7d63582359" providerId="ADAL" clId="{3B4D5F63-EA56-4616-8A78-0C43AB7049E7}" dt="2025-12-08T12:08:57.859" v="28366"/>
          <ac:spMkLst>
            <pc:docMk/>
            <pc:sldMk cId="818591776" sldId="1073"/>
            <ac:spMk id="6" creationId="{32D029BC-5AD6-82B3-3406-85CECAB773D4}"/>
          </ac:spMkLst>
        </pc:spChg>
        <pc:spChg chg="mod">
          <ac:chgData name="Falcão Lacerda, Rafael" userId="40181ff7-4694-4c53-a944-7b7d63582359" providerId="ADAL" clId="{3B4D5F63-EA56-4616-8A78-0C43AB7049E7}" dt="2025-12-08T12:37:12.083" v="29688" actId="20577"/>
          <ac:spMkLst>
            <pc:docMk/>
            <pc:sldMk cId="818591776" sldId="1073"/>
            <ac:spMk id="7" creationId="{95118A95-D52C-45F1-8919-30835EB23805}"/>
          </ac:spMkLst>
        </pc:spChg>
        <pc:spChg chg="mod">
          <ac:chgData name="Falcão Lacerda, Rafael" userId="40181ff7-4694-4c53-a944-7b7d63582359" providerId="ADAL" clId="{3B4D5F63-EA56-4616-8A78-0C43AB7049E7}" dt="2025-12-08T12:20:48.148" v="28677" actId="20577"/>
          <ac:spMkLst>
            <pc:docMk/>
            <pc:sldMk cId="818591776" sldId="1073"/>
            <ac:spMk id="8" creationId="{54F9880B-5060-965C-88D4-114689084CFA}"/>
          </ac:spMkLst>
        </pc:spChg>
        <pc:spChg chg="mod">
          <ac:chgData name="Falcão Lacerda, Rafael" userId="40181ff7-4694-4c53-a944-7b7d63582359" providerId="ADAL" clId="{3B4D5F63-EA56-4616-8A78-0C43AB7049E7}" dt="2025-12-08T12:20:53.375" v="28681" actId="20577"/>
          <ac:spMkLst>
            <pc:docMk/>
            <pc:sldMk cId="818591776" sldId="1073"/>
            <ac:spMk id="9" creationId="{7418CA08-5714-DBA2-CA02-04979B51FA6C}"/>
          </ac:spMkLst>
        </pc:spChg>
        <pc:spChg chg="mod">
          <ac:chgData name="Falcão Lacerda, Rafael" userId="40181ff7-4694-4c53-a944-7b7d63582359" providerId="ADAL" clId="{3B4D5F63-EA56-4616-8A78-0C43AB7049E7}" dt="2025-12-08T12:20:58.963" v="28685" actId="20577"/>
          <ac:spMkLst>
            <pc:docMk/>
            <pc:sldMk cId="818591776" sldId="1073"/>
            <ac:spMk id="11" creationId="{61670592-D747-C6A2-CC76-6F926E1D39F1}"/>
          </ac:spMkLst>
        </pc:spChg>
        <pc:spChg chg="mod">
          <ac:chgData name="Falcão Lacerda, Rafael" userId="40181ff7-4694-4c53-a944-7b7d63582359" providerId="ADAL" clId="{3B4D5F63-EA56-4616-8A78-0C43AB7049E7}" dt="2025-12-08T13:02:58.040" v="30134" actId="20577"/>
          <ac:spMkLst>
            <pc:docMk/>
            <pc:sldMk cId="818591776" sldId="1073"/>
            <ac:spMk id="12" creationId="{44258FC4-CB97-601A-CBB0-1BCEEE676FEE}"/>
          </ac:spMkLst>
        </pc:spChg>
        <pc:spChg chg="del">
          <ac:chgData name="Falcão Lacerda, Rafael" userId="40181ff7-4694-4c53-a944-7b7d63582359" providerId="ADAL" clId="{3B4D5F63-EA56-4616-8A78-0C43AB7049E7}" dt="2025-12-08T17:11:41.600" v="33631" actId="478"/>
          <ac:spMkLst>
            <pc:docMk/>
            <pc:sldMk cId="818591776" sldId="1073"/>
            <ac:spMk id="13" creationId="{CB0B91FF-033B-FFD3-C95C-219C1AC16255}"/>
          </ac:spMkLst>
        </pc:spChg>
        <pc:spChg chg="del mod">
          <ac:chgData name="Falcão Lacerda, Rafael" userId="40181ff7-4694-4c53-a944-7b7d63582359" providerId="ADAL" clId="{3B4D5F63-EA56-4616-8A78-0C43AB7049E7}" dt="2025-12-08T17:11:41.600" v="33631" actId="478"/>
          <ac:spMkLst>
            <pc:docMk/>
            <pc:sldMk cId="818591776" sldId="1073"/>
            <ac:spMk id="14" creationId="{AD1D3BD0-1DD6-FEB0-DE0A-D77520DE2DBC}"/>
          </ac:spMkLst>
        </pc:spChg>
        <pc:spChg chg="del mod">
          <ac:chgData name="Falcão Lacerda, Rafael" userId="40181ff7-4694-4c53-a944-7b7d63582359" providerId="ADAL" clId="{3B4D5F63-EA56-4616-8A78-0C43AB7049E7}" dt="2025-12-08T17:11:41.600" v="33631" actId="478"/>
          <ac:spMkLst>
            <pc:docMk/>
            <pc:sldMk cId="818591776" sldId="1073"/>
            <ac:spMk id="15" creationId="{567329FF-2737-61E4-611C-90946586B01C}"/>
          </ac:spMkLst>
        </pc:spChg>
        <pc:spChg chg="add del mod modVis">
          <ac:chgData name="Falcão Lacerda, Rafael" userId="40181ff7-4694-4c53-a944-7b7d63582359" providerId="ADAL" clId="{3B4D5F63-EA56-4616-8A78-0C43AB7049E7}" dt="2025-12-08T16:19:09.208" v="30623" actId="962"/>
          <ac:spMkLst>
            <pc:docMk/>
            <pc:sldMk cId="818591776" sldId="1073"/>
            <ac:spMk id="17" creationId="{242FA00B-488C-A5F5-724C-263EF3026B2C}"/>
          </ac:spMkLst>
        </pc:spChg>
        <pc:spChg chg="add del mod">
          <ac:chgData name="Falcão Lacerda, Rafael" userId="40181ff7-4694-4c53-a944-7b7d63582359" providerId="ADAL" clId="{3B4D5F63-EA56-4616-8A78-0C43AB7049E7}" dt="2025-12-08T17:11:48.185" v="33632" actId="478"/>
          <ac:spMkLst>
            <pc:docMk/>
            <pc:sldMk cId="818591776" sldId="1073"/>
            <ac:spMk id="19" creationId="{9FBE1E3D-7EC2-176D-5FF2-1CDFB644296B}"/>
          </ac:spMkLst>
        </pc:spChg>
        <pc:spChg chg="add del mod">
          <ac:chgData name="Falcão Lacerda, Rafael" userId="40181ff7-4694-4c53-a944-7b7d63582359" providerId="ADAL" clId="{3B4D5F63-EA56-4616-8A78-0C43AB7049E7}" dt="2025-12-08T17:11:49.705" v="33633" actId="478"/>
          <ac:spMkLst>
            <pc:docMk/>
            <pc:sldMk cId="818591776" sldId="1073"/>
            <ac:spMk id="21" creationId="{2CCCC409-EAC2-77E6-34DF-1712CAC58857}"/>
          </ac:spMkLst>
        </pc:spChg>
        <pc:spChg chg="add del mod">
          <ac:chgData name="Falcão Lacerda, Rafael" userId="40181ff7-4694-4c53-a944-7b7d63582359" providerId="ADAL" clId="{3B4D5F63-EA56-4616-8A78-0C43AB7049E7}" dt="2025-12-08T17:11:51.314" v="33634" actId="478"/>
          <ac:spMkLst>
            <pc:docMk/>
            <pc:sldMk cId="818591776" sldId="1073"/>
            <ac:spMk id="23" creationId="{F761E5B6-7B2F-900F-D7EA-6F98BF3E8118}"/>
          </ac:spMkLst>
        </pc:spChg>
        <pc:spChg chg="mod">
          <ac:chgData name="Falcão Lacerda, Rafael" userId="40181ff7-4694-4c53-a944-7b7d63582359" providerId="ADAL" clId="{3B4D5F63-EA56-4616-8A78-0C43AB7049E7}" dt="2025-12-08T16:19:09.208" v="30625" actId="20577"/>
          <ac:spMkLst>
            <pc:docMk/>
            <pc:sldMk cId="818591776" sldId="1073"/>
            <ac:spMk id="29" creationId="{F7FCCC1C-F189-9EF1-2740-EF07C3641E78}"/>
          </ac:spMkLst>
        </pc:spChg>
        <pc:graphicFrameChg chg="mod">
          <ac:chgData name="Falcão Lacerda, Rafael" userId="40181ff7-4694-4c53-a944-7b7d63582359" providerId="ADAL" clId="{3B4D5F63-EA56-4616-8A78-0C43AB7049E7}" dt="2025-12-08T16:19:09.208" v="30627"/>
          <ac:graphicFrameMkLst>
            <pc:docMk/>
            <pc:sldMk cId="818591776" sldId="1073"/>
            <ac:graphicFrameMk id="16" creationId="{BF476B4A-3F10-AA89-631A-BD6C7F44A506}"/>
          </ac:graphicFrameMkLst>
        </pc:graphicFrameChg>
      </pc:sldChg>
      <pc:sldChg chg="addSp delSp modSp add mod ord">
        <pc:chgData name="Falcão Lacerda, Rafael" userId="40181ff7-4694-4c53-a944-7b7d63582359" providerId="ADAL" clId="{3B4D5F63-EA56-4616-8A78-0C43AB7049E7}" dt="2025-12-08T17:12:13.843" v="33638" actId="207"/>
        <pc:sldMkLst>
          <pc:docMk/>
          <pc:sldMk cId="3305434002" sldId="1074"/>
        </pc:sldMkLst>
        <pc:spChg chg="add del mod modVis">
          <ac:chgData name="Falcão Lacerda, Rafael" userId="40181ff7-4694-4c53-a944-7b7d63582359" providerId="ADAL" clId="{3B4D5F63-EA56-4616-8A78-0C43AB7049E7}" dt="2025-12-08T15:07:10.606" v="30188"/>
          <ac:spMkLst>
            <pc:docMk/>
            <pc:sldMk cId="3305434002" sldId="1074"/>
            <ac:spMk id="2" creationId="{45478E9A-0579-2F46-7076-97927CA47D72}"/>
          </ac:spMkLst>
        </pc:spChg>
        <pc:spChg chg="add del mod modVis">
          <ac:chgData name="Falcão Lacerda, Rafael" userId="40181ff7-4694-4c53-a944-7b7d63582359" providerId="ADAL" clId="{3B4D5F63-EA56-4616-8A78-0C43AB7049E7}" dt="2025-12-08T15:07:17.076" v="30253"/>
          <ac:spMkLst>
            <pc:docMk/>
            <pc:sldMk cId="3305434002" sldId="1074"/>
            <ac:spMk id="4" creationId="{1197FA82-2968-5070-D6A2-AC7B82B3F9EF}"/>
          </ac:spMkLst>
        </pc:spChg>
        <pc:spChg chg="mod">
          <ac:chgData name="Falcão Lacerda, Rafael" userId="40181ff7-4694-4c53-a944-7b7d63582359" providerId="ADAL" clId="{3B4D5F63-EA56-4616-8A78-0C43AB7049E7}" dt="2025-12-08T15:07:21.305" v="30293" actId="948"/>
          <ac:spMkLst>
            <pc:docMk/>
            <pc:sldMk cId="3305434002" sldId="1074"/>
            <ac:spMk id="5" creationId="{C764A624-9191-0868-8286-AA00A3437717}"/>
          </ac:spMkLst>
        </pc:spChg>
        <pc:spChg chg="add del mod modVis">
          <ac:chgData name="Falcão Lacerda, Rafael" userId="40181ff7-4694-4c53-a944-7b7d63582359" providerId="ADAL" clId="{3B4D5F63-EA56-4616-8A78-0C43AB7049E7}" dt="2025-12-08T15:07:18.928" v="30288"/>
          <ac:spMkLst>
            <pc:docMk/>
            <pc:sldMk cId="3305434002" sldId="1074"/>
            <ac:spMk id="6" creationId="{18869F8E-8CB9-F7D5-C2BA-320159929F76}"/>
          </ac:spMkLst>
        </pc:spChg>
        <pc:spChg chg="mod">
          <ac:chgData name="Falcão Lacerda, Rafael" userId="40181ff7-4694-4c53-a944-7b7d63582359" providerId="ADAL" clId="{3B4D5F63-EA56-4616-8A78-0C43AB7049E7}" dt="2025-12-08T17:12:13.843" v="33638" actId="207"/>
          <ac:spMkLst>
            <pc:docMk/>
            <pc:sldMk cId="3305434002" sldId="1074"/>
            <ac:spMk id="7" creationId="{FE841299-27DE-5CE3-A618-88F2CBAB79D0}"/>
          </ac:spMkLst>
        </pc:spChg>
        <pc:spChg chg="add del mod modVis">
          <ac:chgData name="Falcão Lacerda, Rafael" userId="40181ff7-4694-4c53-a944-7b7d63582359" providerId="ADAL" clId="{3B4D5F63-EA56-4616-8A78-0C43AB7049E7}" dt="2025-12-08T15:07:21.336" v="30314"/>
          <ac:spMkLst>
            <pc:docMk/>
            <pc:sldMk cId="3305434002" sldId="1074"/>
            <ac:spMk id="9" creationId="{BCC8C8F8-1387-52D7-2CFA-5527E07E6732}"/>
          </ac:spMkLst>
        </pc:spChg>
        <pc:spChg chg="add del mod">
          <ac:chgData name="Falcão Lacerda, Rafael" userId="40181ff7-4694-4c53-a944-7b7d63582359" providerId="ADAL" clId="{3B4D5F63-EA56-4616-8A78-0C43AB7049E7}" dt="2025-12-08T15:11:08.395" v="30320" actId="478"/>
          <ac:spMkLst>
            <pc:docMk/>
            <pc:sldMk cId="3305434002" sldId="1074"/>
            <ac:spMk id="11" creationId="{7A4FD625-2A37-4281-B4B5-6401762569C5}"/>
          </ac:spMkLst>
        </pc:spChg>
        <pc:graphicFrameChg chg="mod">
          <ac:chgData name="Falcão Lacerda, Rafael" userId="40181ff7-4694-4c53-a944-7b7d63582359" providerId="ADAL" clId="{3B4D5F63-EA56-4616-8A78-0C43AB7049E7}" dt="2025-12-08T15:07:21.336" v="30316"/>
          <ac:graphicFrameMkLst>
            <pc:docMk/>
            <pc:sldMk cId="3305434002" sldId="1074"/>
            <ac:graphicFrameMk id="3" creationId="{44BC702C-0876-C4A5-E14B-B54E4F96D0F9}"/>
          </ac:graphicFrameMkLst>
        </pc:graphicFrameChg>
        <pc:picChg chg="del">
          <ac:chgData name="Falcão Lacerda, Rafael" userId="40181ff7-4694-4c53-a944-7b7d63582359" providerId="ADAL" clId="{3B4D5F63-EA56-4616-8A78-0C43AB7049E7}" dt="2025-12-08T15:11:01.404" v="30319" actId="478"/>
          <ac:picMkLst>
            <pc:docMk/>
            <pc:sldMk cId="3305434002" sldId="1074"/>
            <ac:picMk id="8" creationId="{820CB2B7-5312-E9AA-8CC5-D387C2252849}"/>
          </ac:picMkLst>
        </pc:picChg>
        <pc:picChg chg="add mod">
          <ac:chgData name="Falcão Lacerda, Rafael" userId="40181ff7-4694-4c53-a944-7b7d63582359" providerId="ADAL" clId="{3B4D5F63-EA56-4616-8A78-0C43AB7049E7}" dt="2025-12-08T15:36:04.571" v="30328" actId="1076"/>
          <ac:picMkLst>
            <pc:docMk/>
            <pc:sldMk cId="3305434002" sldId="1074"/>
            <ac:picMk id="15" creationId="{8557715A-8A0F-206B-201D-C477AACA70CA}"/>
          </ac:picMkLst>
        </pc:picChg>
      </pc:sldChg>
      <pc:sldChg chg="addSp delSp modSp add mod ord">
        <pc:chgData name="Falcão Lacerda, Rafael" userId="40181ff7-4694-4c53-a944-7b7d63582359" providerId="ADAL" clId="{3B4D5F63-EA56-4616-8A78-0C43AB7049E7}" dt="2025-12-08T17:11:59.278" v="33636" actId="207"/>
        <pc:sldMkLst>
          <pc:docMk/>
          <pc:sldMk cId="4229334156" sldId="1075"/>
        </pc:sldMkLst>
        <pc:spChg chg="mod">
          <ac:chgData name="Falcão Lacerda, Rafael" userId="40181ff7-4694-4c53-a944-7b7d63582359" providerId="ADAL" clId="{3B4D5F63-EA56-4616-8A78-0C43AB7049E7}" dt="2025-12-08T17:11:59.278" v="33636" actId="207"/>
          <ac:spMkLst>
            <pc:docMk/>
            <pc:sldMk cId="4229334156" sldId="1075"/>
            <ac:spMk id="2" creationId="{0798B30C-3F85-BB9C-25A8-AA6F686432AB}"/>
          </ac:spMkLst>
        </pc:spChg>
        <pc:spChg chg="mod">
          <ac:chgData name="Falcão Lacerda, Rafael" userId="40181ff7-4694-4c53-a944-7b7d63582359" providerId="ADAL" clId="{3B4D5F63-EA56-4616-8A78-0C43AB7049E7}" dt="2025-12-08T16:23:58.046" v="31317" actId="20577"/>
          <ac:spMkLst>
            <pc:docMk/>
            <pc:sldMk cId="4229334156" sldId="1075"/>
            <ac:spMk id="3" creationId="{B0338364-A2E9-3A88-D218-01CB97D8700E}"/>
          </ac:spMkLst>
        </pc:spChg>
        <pc:spChg chg="add del mod modVis">
          <ac:chgData name="Falcão Lacerda, Rafael" userId="40181ff7-4694-4c53-a944-7b7d63582359" providerId="ADAL" clId="{3B4D5F63-EA56-4616-8A78-0C43AB7049E7}" dt="2025-12-08T16:19:15.136" v="30659"/>
          <ac:spMkLst>
            <pc:docMk/>
            <pc:sldMk cId="4229334156" sldId="1075"/>
            <ac:spMk id="6" creationId="{151AD618-42C2-7F48-019A-C75F1D476FF2}"/>
          </ac:spMkLst>
        </pc:spChg>
        <pc:spChg chg="mod">
          <ac:chgData name="Falcão Lacerda, Rafael" userId="40181ff7-4694-4c53-a944-7b7d63582359" providerId="ADAL" clId="{3B4D5F63-EA56-4616-8A78-0C43AB7049E7}" dt="2025-12-08T16:26:41.508" v="31699" actId="255"/>
          <ac:spMkLst>
            <pc:docMk/>
            <pc:sldMk cId="4229334156" sldId="1075"/>
            <ac:spMk id="7" creationId="{2B4A37BB-52DE-41F2-DDA3-FE6EDE440853}"/>
          </ac:spMkLst>
        </pc:spChg>
        <pc:spChg chg="mod">
          <ac:chgData name="Falcão Lacerda, Rafael" userId="40181ff7-4694-4c53-a944-7b7d63582359" providerId="ADAL" clId="{3B4D5F63-EA56-4616-8A78-0C43AB7049E7}" dt="2025-12-08T16:20:36.033" v="30876" actId="20577"/>
          <ac:spMkLst>
            <pc:docMk/>
            <pc:sldMk cId="4229334156" sldId="1075"/>
            <ac:spMk id="8" creationId="{8391E25C-C90F-D50A-4D93-1DF798862688}"/>
          </ac:spMkLst>
        </pc:spChg>
        <pc:spChg chg="mod">
          <ac:chgData name="Falcão Lacerda, Rafael" userId="40181ff7-4694-4c53-a944-7b7d63582359" providerId="ADAL" clId="{3B4D5F63-EA56-4616-8A78-0C43AB7049E7}" dt="2025-12-08T16:23:08.094" v="31172" actId="20577"/>
          <ac:spMkLst>
            <pc:docMk/>
            <pc:sldMk cId="4229334156" sldId="1075"/>
            <ac:spMk id="9" creationId="{9E099419-D760-3401-219A-136F56FAD224}"/>
          </ac:spMkLst>
        </pc:spChg>
        <pc:spChg chg="mod">
          <ac:chgData name="Falcão Lacerda, Rafael" userId="40181ff7-4694-4c53-a944-7b7d63582359" providerId="ADAL" clId="{3B4D5F63-EA56-4616-8A78-0C43AB7049E7}" dt="2025-12-08T16:24:42.141" v="31333" actId="20577"/>
          <ac:spMkLst>
            <pc:docMk/>
            <pc:sldMk cId="4229334156" sldId="1075"/>
            <ac:spMk id="11" creationId="{0AA0F07D-492B-E851-E561-4F2914385D4E}"/>
          </ac:spMkLst>
        </pc:spChg>
        <pc:spChg chg="mod">
          <ac:chgData name="Falcão Lacerda, Rafael" userId="40181ff7-4694-4c53-a944-7b7d63582359" providerId="ADAL" clId="{3B4D5F63-EA56-4616-8A78-0C43AB7049E7}" dt="2025-12-08T16:25:07.728" v="31435" actId="20577"/>
          <ac:spMkLst>
            <pc:docMk/>
            <pc:sldMk cId="4229334156" sldId="1075"/>
            <ac:spMk id="12" creationId="{AF24BEF4-6627-4217-766C-B436A885412A}"/>
          </ac:spMkLst>
        </pc:spChg>
        <pc:spChg chg="mod">
          <ac:chgData name="Falcão Lacerda, Rafael" userId="40181ff7-4694-4c53-a944-7b7d63582359" providerId="ADAL" clId="{3B4D5F63-EA56-4616-8A78-0C43AB7049E7}" dt="2025-12-08T16:25:28.889" v="31484" actId="20577"/>
          <ac:spMkLst>
            <pc:docMk/>
            <pc:sldMk cId="4229334156" sldId="1075"/>
            <ac:spMk id="14" creationId="{735BCF4D-4BE5-CB4D-D4A3-4ECCB0D0F28F}"/>
          </ac:spMkLst>
        </pc:spChg>
        <pc:spChg chg="mod">
          <ac:chgData name="Falcão Lacerda, Rafael" userId="40181ff7-4694-4c53-a944-7b7d63582359" providerId="ADAL" clId="{3B4D5F63-EA56-4616-8A78-0C43AB7049E7}" dt="2025-12-08T16:27:04.056" v="31707" actId="12"/>
          <ac:spMkLst>
            <pc:docMk/>
            <pc:sldMk cId="4229334156" sldId="1075"/>
            <ac:spMk id="15" creationId="{4AF1B25B-7D31-8177-7660-F4271F25C1E2}"/>
          </ac:spMkLst>
        </pc:spChg>
        <pc:spChg chg="add del mod modVis">
          <ac:chgData name="Falcão Lacerda, Rafael" userId="40181ff7-4694-4c53-a944-7b7d63582359" providerId="ADAL" clId="{3B4D5F63-EA56-4616-8A78-0C43AB7049E7}" dt="2025-12-08T16:19:18.329" v="30700"/>
          <ac:spMkLst>
            <pc:docMk/>
            <pc:sldMk cId="4229334156" sldId="1075"/>
            <ac:spMk id="17" creationId="{2E9288ED-1345-A838-C195-75888C9F97B7}"/>
          </ac:spMkLst>
        </pc:spChg>
        <pc:spChg chg="add del mod modVis">
          <ac:chgData name="Falcão Lacerda, Rafael" userId="40181ff7-4694-4c53-a944-7b7d63582359" providerId="ADAL" clId="{3B4D5F63-EA56-4616-8A78-0C43AB7049E7}" dt="2025-12-08T16:19:19.249" v="30727"/>
          <ac:spMkLst>
            <pc:docMk/>
            <pc:sldMk cId="4229334156" sldId="1075"/>
            <ac:spMk id="18" creationId="{73DA1995-A253-89BD-2BE3-DBAA9EA2173F}"/>
          </ac:spMkLst>
        </pc:spChg>
        <pc:spChg chg="add del mod modVis">
          <ac:chgData name="Falcão Lacerda, Rafael" userId="40181ff7-4694-4c53-a944-7b7d63582359" providerId="ADAL" clId="{3B4D5F63-EA56-4616-8A78-0C43AB7049E7}" dt="2025-12-08T16:19:20.107" v="30754"/>
          <ac:spMkLst>
            <pc:docMk/>
            <pc:sldMk cId="4229334156" sldId="1075"/>
            <ac:spMk id="19" creationId="{10B706FF-57D9-3B33-3D9E-FB59F1E8DC98}"/>
          </ac:spMkLst>
        </pc:spChg>
        <pc:spChg chg="mod">
          <ac:chgData name="Falcão Lacerda, Rafael" userId="40181ff7-4694-4c53-a944-7b7d63582359" providerId="ADAL" clId="{3B4D5F63-EA56-4616-8A78-0C43AB7049E7}" dt="2025-12-08T16:19:20.058" v="30733" actId="948"/>
          <ac:spMkLst>
            <pc:docMk/>
            <pc:sldMk cId="4229334156" sldId="1075"/>
            <ac:spMk id="29" creationId="{4B03E187-A1FC-B1C3-CF04-500164969F3E}"/>
          </ac:spMkLst>
        </pc:spChg>
        <pc:graphicFrameChg chg="mod">
          <ac:chgData name="Falcão Lacerda, Rafael" userId="40181ff7-4694-4c53-a944-7b7d63582359" providerId="ADAL" clId="{3B4D5F63-EA56-4616-8A78-0C43AB7049E7}" dt="2025-12-08T16:19:20.123" v="30756"/>
          <ac:graphicFrameMkLst>
            <pc:docMk/>
            <pc:sldMk cId="4229334156" sldId="1075"/>
            <ac:graphicFrameMk id="16" creationId="{7333973B-EFA2-4245-651A-6082F23929FA}"/>
          </ac:graphicFrameMkLst>
        </pc:graphicFrameChg>
      </pc:sldChg>
      <pc:sldChg chg="addSp delSp modSp add mod ord">
        <pc:chgData name="Falcão Lacerda, Rafael" userId="40181ff7-4694-4c53-a944-7b7d63582359" providerId="ADAL" clId="{3B4D5F63-EA56-4616-8A78-0C43AB7049E7}" dt="2025-12-08T17:12:06.971" v="33637" actId="207"/>
        <pc:sldMkLst>
          <pc:docMk/>
          <pc:sldMk cId="1825720836" sldId="1076"/>
        </pc:sldMkLst>
        <pc:spChg chg="mod">
          <ac:chgData name="Falcão Lacerda, Rafael" userId="40181ff7-4694-4c53-a944-7b7d63582359" providerId="ADAL" clId="{3B4D5F63-EA56-4616-8A78-0C43AB7049E7}" dt="2025-12-08T17:12:06.971" v="33637" actId="207"/>
          <ac:spMkLst>
            <pc:docMk/>
            <pc:sldMk cId="1825720836" sldId="1076"/>
            <ac:spMk id="2" creationId="{B07BC5B8-D713-FF63-A6D2-81EF79C7AD33}"/>
          </ac:spMkLst>
        </pc:spChg>
        <pc:spChg chg="mod">
          <ac:chgData name="Falcão Lacerda, Rafael" userId="40181ff7-4694-4c53-a944-7b7d63582359" providerId="ADAL" clId="{3B4D5F63-EA56-4616-8A78-0C43AB7049E7}" dt="2025-12-08T16:34:40.282" v="32102" actId="20577"/>
          <ac:spMkLst>
            <pc:docMk/>
            <pc:sldMk cId="1825720836" sldId="1076"/>
            <ac:spMk id="3" creationId="{1987AA8A-AD8E-33E3-A43A-0CF52EBF12A6}"/>
          </ac:spMkLst>
        </pc:spChg>
        <pc:spChg chg="add del mod modVis">
          <ac:chgData name="Falcão Lacerda, Rafael" userId="40181ff7-4694-4c53-a944-7b7d63582359" providerId="ADAL" clId="{3B4D5F63-EA56-4616-8A78-0C43AB7049E7}" dt="2025-12-08T16:27:35.589" v="31733"/>
          <ac:spMkLst>
            <pc:docMk/>
            <pc:sldMk cId="1825720836" sldId="1076"/>
            <ac:spMk id="6" creationId="{E197F917-1A73-221B-B27D-73994FC448E3}"/>
          </ac:spMkLst>
        </pc:spChg>
        <pc:spChg chg="mod">
          <ac:chgData name="Falcão Lacerda, Rafael" userId="40181ff7-4694-4c53-a944-7b7d63582359" providerId="ADAL" clId="{3B4D5F63-EA56-4616-8A78-0C43AB7049E7}" dt="2025-12-08T16:44:29.271" v="32832" actId="20577"/>
          <ac:spMkLst>
            <pc:docMk/>
            <pc:sldMk cId="1825720836" sldId="1076"/>
            <ac:spMk id="7" creationId="{731FFAC6-FBB2-456C-6E90-350E7949E599}"/>
          </ac:spMkLst>
        </pc:spChg>
        <pc:spChg chg="mod">
          <ac:chgData name="Falcão Lacerda, Rafael" userId="40181ff7-4694-4c53-a944-7b7d63582359" providerId="ADAL" clId="{3B4D5F63-EA56-4616-8A78-0C43AB7049E7}" dt="2025-12-08T16:31:08.455" v="32026"/>
          <ac:spMkLst>
            <pc:docMk/>
            <pc:sldMk cId="1825720836" sldId="1076"/>
            <ac:spMk id="8" creationId="{FB5D9929-ABCF-ABE1-7807-8466AE093F2B}"/>
          </ac:spMkLst>
        </pc:spChg>
        <pc:spChg chg="mod">
          <ac:chgData name="Falcão Lacerda, Rafael" userId="40181ff7-4694-4c53-a944-7b7d63582359" providerId="ADAL" clId="{3B4D5F63-EA56-4616-8A78-0C43AB7049E7}" dt="2025-12-08T16:33:51.657" v="32095" actId="20577"/>
          <ac:spMkLst>
            <pc:docMk/>
            <pc:sldMk cId="1825720836" sldId="1076"/>
            <ac:spMk id="9" creationId="{B03CDA3C-C3DF-FD4C-054C-CE01F036E63A}"/>
          </ac:spMkLst>
        </pc:spChg>
        <pc:spChg chg="mod">
          <ac:chgData name="Falcão Lacerda, Rafael" userId="40181ff7-4694-4c53-a944-7b7d63582359" providerId="ADAL" clId="{3B4D5F63-EA56-4616-8A78-0C43AB7049E7}" dt="2025-12-08T16:35:06.568" v="32103"/>
          <ac:spMkLst>
            <pc:docMk/>
            <pc:sldMk cId="1825720836" sldId="1076"/>
            <ac:spMk id="11" creationId="{C419999E-DD7C-1CA3-CE29-AC0FBF1A3CBB}"/>
          </ac:spMkLst>
        </pc:spChg>
        <pc:spChg chg="mod">
          <ac:chgData name="Falcão Lacerda, Rafael" userId="40181ff7-4694-4c53-a944-7b7d63582359" providerId="ADAL" clId="{3B4D5F63-EA56-4616-8A78-0C43AB7049E7}" dt="2025-12-08T16:35:56.384" v="32111" actId="20577"/>
          <ac:spMkLst>
            <pc:docMk/>
            <pc:sldMk cId="1825720836" sldId="1076"/>
            <ac:spMk id="12" creationId="{26ABA084-031A-CA58-E0A8-F17B74BD6C90}"/>
          </ac:spMkLst>
        </pc:spChg>
        <pc:spChg chg="mod">
          <ac:chgData name="Falcão Lacerda, Rafael" userId="40181ff7-4694-4c53-a944-7b7d63582359" providerId="ADAL" clId="{3B4D5F63-EA56-4616-8A78-0C43AB7049E7}" dt="2025-12-08T16:36:26.290" v="32112"/>
          <ac:spMkLst>
            <pc:docMk/>
            <pc:sldMk cId="1825720836" sldId="1076"/>
            <ac:spMk id="14" creationId="{F40685C6-EF7C-E5C5-D7D3-9AD71F2D2412}"/>
          </ac:spMkLst>
        </pc:spChg>
        <pc:spChg chg="mod">
          <ac:chgData name="Falcão Lacerda, Rafael" userId="40181ff7-4694-4c53-a944-7b7d63582359" providerId="ADAL" clId="{3B4D5F63-EA56-4616-8A78-0C43AB7049E7}" dt="2025-12-08T16:37:18.964" v="32117" actId="20577"/>
          <ac:spMkLst>
            <pc:docMk/>
            <pc:sldMk cId="1825720836" sldId="1076"/>
            <ac:spMk id="15" creationId="{D40A3280-E1C8-7C18-A7F2-7873116D542A}"/>
          </ac:spMkLst>
        </pc:spChg>
        <pc:spChg chg="add del mod modVis">
          <ac:chgData name="Falcão Lacerda, Rafael" userId="40181ff7-4694-4c53-a944-7b7d63582359" providerId="ADAL" clId="{3B4D5F63-EA56-4616-8A78-0C43AB7049E7}" dt="2025-12-08T16:27:39.704" v="31772"/>
          <ac:spMkLst>
            <pc:docMk/>
            <pc:sldMk cId="1825720836" sldId="1076"/>
            <ac:spMk id="17" creationId="{4213B7FA-1F91-D454-A074-757910709069}"/>
          </ac:spMkLst>
        </pc:spChg>
        <pc:spChg chg="add del mod modVis">
          <ac:chgData name="Falcão Lacerda, Rafael" userId="40181ff7-4694-4c53-a944-7b7d63582359" providerId="ADAL" clId="{3B4D5F63-EA56-4616-8A78-0C43AB7049E7}" dt="2025-12-08T16:27:43.780" v="31809"/>
          <ac:spMkLst>
            <pc:docMk/>
            <pc:sldMk cId="1825720836" sldId="1076"/>
            <ac:spMk id="18" creationId="{F9A6067E-2234-185F-2ACA-045AA8DCC28E}"/>
          </ac:spMkLst>
        </pc:spChg>
        <pc:spChg chg="add del mod modVis">
          <ac:chgData name="Falcão Lacerda, Rafael" userId="40181ff7-4694-4c53-a944-7b7d63582359" providerId="ADAL" clId="{3B4D5F63-EA56-4616-8A78-0C43AB7049E7}" dt="2025-12-08T16:27:44.396" v="31834"/>
          <ac:spMkLst>
            <pc:docMk/>
            <pc:sldMk cId="1825720836" sldId="1076"/>
            <ac:spMk id="19" creationId="{2BD3BC07-B81C-2209-4376-2ABB07C6B3B7}"/>
          </ac:spMkLst>
        </pc:spChg>
        <pc:spChg chg="add del mod modVis">
          <ac:chgData name="Falcão Lacerda, Rafael" userId="40181ff7-4694-4c53-a944-7b7d63582359" providerId="ADAL" clId="{3B4D5F63-EA56-4616-8A78-0C43AB7049E7}" dt="2025-12-08T16:27:45.296" v="31859"/>
          <ac:spMkLst>
            <pc:docMk/>
            <pc:sldMk cId="1825720836" sldId="1076"/>
            <ac:spMk id="20" creationId="{303ABF97-1564-A584-40FC-F0947A4C2948}"/>
          </ac:spMkLst>
        </pc:spChg>
        <pc:spChg chg="add del mod modVis">
          <ac:chgData name="Falcão Lacerda, Rafael" userId="40181ff7-4694-4c53-a944-7b7d63582359" providerId="ADAL" clId="{3B4D5F63-EA56-4616-8A78-0C43AB7049E7}" dt="2025-12-08T16:27:46.677" v="31888"/>
          <ac:spMkLst>
            <pc:docMk/>
            <pc:sldMk cId="1825720836" sldId="1076"/>
            <ac:spMk id="21" creationId="{5AB52EF1-5B42-EE20-06E0-5E9E16119604}"/>
          </ac:spMkLst>
        </pc:spChg>
        <pc:spChg chg="add del mod modVis">
          <ac:chgData name="Falcão Lacerda, Rafael" userId="40181ff7-4694-4c53-a944-7b7d63582359" providerId="ADAL" clId="{3B4D5F63-EA56-4616-8A78-0C43AB7049E7}" dt="2025-12-08T16:27:50.553" v="31913"/>
          <ac:spMkLst>
            <pc:docMk/>
            <pc:sldMk cId="1825720836" sldId="1076"/>
            <ac:spMk id="22" creationId="{7585CA0C-4EFC-56B5-891B-A38E90D05F09}"/>
          </ac:spMkLst>
        </pc:spChg>
        <pc:spChg chg="add del mod modVis">
          <ac:chgData name="Falcão Lacerda, Rafael" userId="40181ff7-4694-4c53-a944-7b7d63582359" providerId="ADAL" clId="{3B4D5F63-EA56-4616-8A78-0C43AB7049E7}" dt="2025-12-08T16:27:51.570" v="31941"/>
          <ac:spMkLst>
            <pc:docMk/>
            <pc:sldMk cId="1825720836" sldId="1076"/>
            <ac:spMk id="23" creationId="{4F5556BC-1138-1D1C-9BC8-E0CACFBF2538}"/>
          </ac:spMkLst>
        </pc:spChg>
        <pc:spChg chg="add del mod modVis">
          <ac:chgData name="Falcão Lacerda, Rafael" userId="40181ff7-4694-4c53-a944-7b7d63582359" providerId="ADAL" clId="{3B4D5F63-EA56-4616-8A78-0C43AB7049E7}" dt="2025-12-08T16:27:52.662" v="31969"/>
          <ac:spMkLst>
            <pc:docMk/>
            <pc:sldMk cId="1825720836" sldId="1076"/>
            <ac:spMk id="24" creationId="{CF628C13-5BB6-63DE-1370-481DB7763AEE}"/>
          </ac:spMkLst>
        </pc:spChg>
        <pc:spChg chg="add del mod">
          <ac:chgData name="Falcão Lacerda, Rafael" userId="40181ff7-4694-4c53-a944-7b7d63582359" providerId="ADAL" clId="{3B4D5F63-EA56-4616-8A78-0C43AB7049E7}" dt="2025-12-08T16:38:50.407" v="32507"/>
          <ac:spMkLst>
            <pc:docMk/>
            <pc:sldMk cId="1825720836" sldId="1076"/>
            <ac:spMk id="25" creationId="{2048D14E-F9ED-B56E-9D63-6DC54F2997BF}"/>
          </ac:spMkLst>
        </pc:spChg>
        <pc:spChg chg="add del mod">
          <ac:chgData name="Falcão Lacerda, Rafael" userId="40181ff7-4694-4c53-a944-7b7d63582359" providerId="ADAL" clId="{3B4D5F63-EA56-4616-8A78-0C43AB7049E7}" dt="2025-12-08T16:38:50.401" v="32505"/>
          <ac:spMkLst>
            <pc:docMk/>
            <pc:sldMk cId="1825720836" sldId="1076"/>
            <ac:spMk id="26" creationId="{DDC1053F-67B3-6C7F-640D-DC5FA9CFC71A}"/>
          </ac:spMkLst>
        </pc:spChg>
        <pc:spChg chg="add del mod">
          <ac:chgData name="Falcão Lacerda, Rafael" userId="40181ff7-4694-4c53-a944-7b7d63582359" providerId="ADAL" clId="{3B4D5F63-EA56-4616-8A78-0C43AB7049E7}" dt="2025-12-08T16:38:50.409" v="32509"/>
          <ac:spMkLst>
            <pc:docMk/>
            <pc:sldMk cId="1825720836" sldId="1076"/>
            <ac:spMk id="27" creationId="{F9CBC781-278A-BB54-35F2-7EAA86156FB3}"/>
          </ac:spMkLst>
        </pc:spChg>
        <pc:spChg chg="add del mod">
          <ac:chgData name="Falcão Lacerda, Rafael" userId="40181ff7-4694-4c53-a944-7b7d63582359" providerId="ADAL" clId="{3B4D5F63-EA56-4616-8A78-0C43AB7049E7}" dt="2025-12-08T16:38:50.409" v="32511"/>
          <ac:spMkLst>
            <pc:docMk/>
            <pc:sldMk cId="1825720836" sldId="1076"/>
            <ac:spMk id="28" creationId="{9D1A9C03-CE56-8D13-EBCF-D1C8F0FE9DCD}"/>
          </ac:spMkLst>
        </pc:spChg>
        <pc:spChg chg="mod">
          <ac:chgData name="Falcão Lacerda, Rafael" userId="40181ff7-4694-4c53-a944-7b7d63582359" providerId="ADAL" clId="{3B4D5F63-EA56-4616-8A78-0C43AB7049E7}" dt="2025-12-08T16:27:52.590" v="31948" actId="948"/>
          <ac:spMkLst>
            <pc:docMk/>
            <pc:sldMk cId="1825720836" sldId="1076"/>
            <ac:spMk id="29" creationId="{36B703BB-05AB-E97B-B02E-8E347B77B312}"/>
          </ac:spMkLst>
        </pc:spChg>
        <pc:spChg chg="add del mod">
          <ac:chgData name="Falcão Lacerda, Rafael" userId="40181ff7-4694-4c53-a944-7b7d63582359" providerId="ADAL" clId="{3B4D5F63-EA56-4616-8A78-0C43AB7049E7}" dt="2025-12-08T16:38:50.401" v="32503"/>
          <ac:spMkLst>
            <pc:docMk/>
            <pc:sldMk cId="1825720836" sldId="1076"/>
            <ac:spMk id="30" creationId="{7901118C-5D24-7E53-02C8-3B9411BF641B}"/>
          </ac:spMkLst>
        </pc:spChg>
        <pc:spChg chg="add del mod">
          <ac:chgData name="Falcão Lacerda, Rafael" userId="40181ff7-4694-4c53-a944-7b7d63582359" providerId="ADAL" clId="{3B4D5F63-EA56-4616-8A78-0C43AB7049E7}" dt="2025-12-08T16:38:50.412" v="32513"/>
          <ac:spMkLst>
            <pc:docMk/>
            <pc:sldMk cId="1825720836" sldId="1076"/>
            <ac:spMk id="31" creationId="{D4540F6E-CD41-FE0A-CF07-B97CF10BDF0B}"/>
          </ac:spMkLst>
        </pc:spChg>
        <pc:spChg chg="add del mod">
          <ac:chgData name="Falcão Lacerda, Rafael" userId="40181ff7-4694-4c53-a944-7b7d63582359" providerId="ADAL" clId="{3B4D5F63-EA56-4616-8A78-0C43AB7049E7}" dt="2025-12-08T16:43:49.829" v="32831"/>
          <ac:spMkLst>
            <pc:docMk/>
            <pc:sldMk cId="1825720836" sldId="1076"/>
            <ac:spMk id="32" creationId="{1A2EE582-EA5D-C05A-8182-DBC53F53E8F5}"/>
          </ac:spMkLst>
        </pc:spChg>
        <pc:spChg chg="add del mod">
          <ac:chgData name="Falcão Lacerda, Rafael" userId="40181ff7-4694-4c53-a944-7b7d63582359" providerId="ADAL" clId="{3B4D5F63-EA56-4616-8A78-0C43AB7049E7}" dt="2025-12-08T16:43:49.821" v="32829"/>
          <ac:spMkLst>
            <pc:docMk/>
            <pc:sldMk cId="1825720836" sldId="1076"/>
            <ac:spMk id="33" creationId="{A4FA383B-EB4D-0F5F-9660-2AEDE5E6E46F}"/>
          </ac:spMkLst>
        </pc:spChg>
        <pc:spChg chg="add del mod">
          <ac:chgData name="Falcão Lacerda, Rafael" userId="40181ff7-4694-4c53-a944-7b7d63582359" providerId="ADAL" clId="{3B4D5F63-EA56-4616-8A78-0C43AB7049E7}" dt="2025-12-08T16:43:49.821" v="32827"/>
          <ac:spMkLst>
            <pc:docMk/>
            <pc:sldMk cId="1825720836" sldId="1076"/>
            <ac:spMk id="34" creationId="{7F2D456A-07D2-183C-7DC5-69EF458D2B17}"/>
          </ac:spMkLst>
        </pc:spChg>
        <pc:spChg chg="add del mod">
          <ac:chgData name="Falcão Lacerda, Rafael" userId="40181ff7-4694-4c53-a944-7b7d63582359" providerId="ADAL" clId="{3B4D5F63-EA56-4616-8A78-0C43AB7049E7}" dt="2025-12-08T16:38:50.401" v="32501"/>
          <ac:spMkLst>
            <pc:docMk/>
            <pc:sldMk cId="1825720836" sldId="1076"/>
            <ac:spMk id="35" creationId="{50B4F65B-CEAB-62A7-679D-639340477542}"/>
          </ac:spMkLst>
        </pc:spChg>
        <pc:graphicFrameChg chg="mod">
          <ac:chgData name="Falcão Lacerda, Rafael" userId="40181ff7-4694-4c53-a944-7b7d63582359" providerId="ADAL" clId="{3B4D5F63-EA56-4616-8A78-0C43AB7049E7}" dt="2025-12-08T16:27:52.667" v="31971"/>
          <ac:graphicFrameMkLst>
            <pc:docMk/>
            <pc:sldMk cId="1825720836" sldId="1076"/>
            <ac:graphicFrameMk id="16" creationId="{A2D62BE2-8B4D-3DB3-2AA2-9142C4DCFA71}"/>
          </ac:graphicFrameMkLst>
        </pc:graphicFrameChg>
      </pc:sldChg>
      <pc:sldChg chg="addSp delSp modSp add mod">
        <pc:chgData name="Falcão Lacerda, Rafael" userId="40181ff7-4694-4c53-a944-7b7d63582359" providerId="ADAL" clId="{3B4D5F63-EA56-4616-8A78-0C43AB7049E7}" dt="2025-12-08T17:17:24.419" v="34020" actId="207"/>
        <pc:sldMkLst>
          <pc:docMk/>
          <pc:sldMk cId="3879939893" sldId="1077"/>
        </pc:sldMkLst>
        <pc:spChg chg="del mod">
          <ac:chgData name="Falcão Lacerda, Rafael" userId="40181ff7-4694-4c53-a944-7b7d63582359" providerId="ADAL" clId="{3B4D5F63-EA56-4616-8A78-0C43AB7049E7}" dt="2025-12-08T16:48:01.858" v="33519" actId="478"/>
          <ac:spMkLst>
            <pc:docMk/>
            <pc:sldMk cId="3879939893" sldId="1077"/>
            <ac:spMk id="2" creationId="{71B27D3D-A170-9B86-4960-ED752C2A77F0}"/>
          </ac:spMkLst>
        </pc:spChg>
        <pc:spChg chg="add del mod modVis">
          <ac:chgData name="Falcão Lacerda, Rafael" userId="40181ff7-4694-4c53-a944-7b7d63582359" providerId="ADAL" clId="{3B4D5F63-EA56-4616-8A78-0C43AB7049E7}" dt="2025-12-08T16:46:43.085" v="32869"/>
          <ac:spMkLst>
            <pc:docMk/>
            <pc:sldMk cId="3879939893" sldId="1077"/>
            <ac:spMk id="3" creationId="{F33301F4-C698-0D73-0E6F-B16C921BDBD4}"/>
          </ac:spMkLst>
        </pc:spChg>
        <pc:spChg chg="add del mod modVis">
          <ac:chgData name="Falcão Lacerda, Rafael" userId="40181ff7-4694-4c53-a944-7b7d63582359" providerId="ADAL" clId="{3B4D5F63-EA56-4616-8A78-0C43AB7049E7}" dt="2025-12-08T16:46:44.562" v="32895"/>
          <ac:spMkLst>
            <pc:docMk/>
            <pc:sldMk cId="3879939893" sldId="1077"/>
            <ac:spMk id="5" creationId="{9922A26E-12D6-5FB1-5171-57DD01F382F5}"/>
          </ac:spMkLst>
        </pc:spChg>
        <pc:spChg chg="add del mod modVis">
          <ac:chgData name="Falcão Lacerda, Rafael" userId="40181ff7-4694-4c53-a944-7b7d63582359" providerId="ADAL" clId="{3B4D5F63-EA56-4616-8A78-0C43AB7049E7}" dt="2025-12-08T16:46:48.178" v="32937" actId="962"/>
          <ac:spMkLst>
            <pc:docMk/>
            <pc:sldMk cId="3879939893" sldId="1077"/>
            <ac:spMk id="6" creationId="{5605A52C-B3C9-8D07-3DF3-6ADBB9F0AE9C}"/>
          </ac:spMkLst>
        </pc:spChg>
        <pc:spChg chg="add del mod modVis">
          <ac:chgData name="Falcão Lacerda, Rafael" userId="40181ff7-4694-4c53-a944-7b7d63582359" providerId="ADAL" clId="{3B4D5F63-EA56-4616-8A78-0C43AB7049E7}" dt="2025-12-08T16:46:54.589" v="32990"/>
          <ac:spMkLst>
            <pc:docMk/>
            <pc:sldMk cId="3879939893" sldId="1077"/>
            <ac:spMk id="7" creationId="{66C0E7FE-9C2E-0938-9C66-005147249AF1}"/>
          </ac:spMkLst>
        </pc:spChg>
        <pc:spChg chg="add del mod modVis">
          <ac:chgData name="Falcão Lacerda, Rafael" userId="40181ff7-4694-4c53-a944-7b7d63582359" providerId="ADAL" clId="{3B4D5F63-EA56-4616-8A78-0C43AB7049E7}" dt="2025-12-08T16:47:01.751" v="33063"/>
          <ac:spMkLst>
            <pc:docMk/>
            <pc:sldMk cId="3879939893" sldId="1077"/>
            <ac:spMk id="8" creationId="{40580F49-CBA9-1F61-BAA8-058709099200}"/>
          </ac:spMkLst>
        </pc:spChg>
        <pc:spChg chg="add del mod modVis">
          <ac:chgData name="Falcão Lacerda, Rafael" userId="40181ff7-4694-4c53-a944-7b7d63582359" providerId="ADAL" clId="{3B4D5F63-EA56-4616-8A78-0C43AB7049E7}" dt="2025-12-08T16:47:03.484" v="33101"/>
          <ac:spMkLst>
            <pc:docMk/>
            <pc:sldMk cId="3879939893" sldId="1077"/>
            <ac:spMk id="9" creationId="{E63DBC6C-A947-4C31-60CB-9C78DB30F43E}"/>
          </ac:spMkLst>
        </pc:spChg>
        <pc:spChg chg="add del mod modVis">
          <ac:chgData name="Falcão Lacerda, Rafael" userId="40181ff7-4694-4c53-a944-7b7d63582359" providerId="ADAL" clId="{3B4D5F63-EA56-4616-8A78-0C43AB7049E7}" dt="2025-12-08T16:47:04.811" v="33134"/>
          <ac:spMkLst>
            <pc:docMk/>
            <pc:sldMk cId="3879939893" sldId="1077"/>
            <ac:spMk id="10" creationId="{2957072E-259A-6220-B19E-2BB1557B02EE}"/>
          </ac:spMkLst>
        </pc:spChg>
        <pc:spChg chg="add del mod modVis">
          <ac:chgData name="Falcão Lacerda, Rafael" userId="40181ff7-4694-4c53-a944-7b7d63582359" providerId="ADAL" clId="{3B4D5F63-EA56-4616-8A78-0C43AB7049E7}" dt="2025-12-08T16:47:05.715" v="33159"/>
          <ac:spMkLst>
            <pc:docMk/>
            <pc:sldMk cId="3879939893" sldId="1077"/>
            <ac:spMk id="11" creationId="{072A29C3-7E16-C7F7-6FD5-325C69772EEF}"/>
          </ac:spMkLst>
        </pc:spChg>
        <pc:spChg chg="add del mod modVis">
          <ac:chgData name="Falcão Lacerda, Rafael" userId="40181ff7-4694-4c53-a944-7b7d63582359" providerId="ADAL" clId="{3B4D5F63-EA56-4616-8A78-0C43AB7049E7}" dt="2025-12-08T16:47:06.337" v="33184"/>
          <ac:spMkLst>
            <pc:docMk/>
            <pc:sldMk cId="3879939893" sldId="1077"/>
            <ac:spMk id="12" creationId="{FA470997-E76E-06C3-0814-350880D4BA6E}"/>
          </ac:spMkLst>
        </pc:spChg>
        <pc:spChg chg="add del mod modVis">
          <ac:chgData name="Falcão Lacerda, Rafael" userId="40181ff7-4694-4c53-a944-7b7d63582359" providerId="ADAL" clId="{3B4D5F63-EA56-4616-8A78-0C43AB7049E7}" dt="2025-12-08T16:47:10.891" v="33209"/>
          <ac:spMkLst>
            <pc:docMk/>
            <pc:sldMk cId="3879939893" sldId="1077"/>
            <ac:spMk id="13" creationId="{92397C8C-CFC5-2553-2C4B-93EE904EE750}"/>
          </ac:spMkLst>
        </pc:spChg>
        <pc:spChg chg="add del mod modVis">
          <ac:chgData name="Falcão Lacerda, Rafael" userId="40181ff7-4694-4c53-a944-7b7d63582359" providerId="ADAL" clId="{3B4D5F63-EA56-4616-8A78-0C43AB7049E7}" dt="2025-12-08T16:47:14.378" v="33250"/>
          <ac:spMkLst>
            <pc:docMk/>
            <pc:sldMk cId="3879939893" sldId="1077"/>
            <ac:spMk id="14" creationId="{C0C2A0BA-441A-A361-F35B-0CCC87EBD5CB}"/>
          </ac:spMkLst>
        </pc:spChg>
        <pc:spChg chg="add del mod modVis">
          <ac:chgData name="Falcão Lacerda, Rafael" userId="40181ff7-4694-4c53-a944-7b7d63582359" providerId="ADAL" clId="{3B4D5F63-EA56-4616-8A78-0C43AB7049E7}" dt="2025-12-08T16:47:15.585" v="33277"/>
          <ac:spMkLst>
            <pc:docMk/>
            <pc:sldMk cId="3879939893" sldId="1077"/>
            <ac:spMk id="15" creationId="{7EC3FBA6-682E-4024-8343-F6BA991ACF5A}"/>
          </ac:spMkLst>
        </pc:spChg>
        <pc:spChg chg="add del mod modVis">
          <ac:chgData name="Falcão Lacerda, Rafael" userId="40181ff7-4694-4c53-a944-7b7d63582359" providerId="ADAL" clId="{3B4D5F63-EA56-4616-8A78-0C43AB7049E7}" dt="2025-12-08T16:47:16.254" v="33302"/>
          <ac:spMkLst>
            <pc:docMk/>
            <pc:sldMk cId="3879939893" sldId="1077"/>
            <ac:spMk id="16" creationId="{D428D021-3F45-FD17-6CEF-93A6C902E80D}"/>
          </ac:spMkLst>
        </pc:spChg>
        <pc:spChg chg="add del mod modVis">
          <ac:chgData name="Falcão Lacerda, Rafael" userId="40181ff7-4694-4c53-a944-7b7d63582359" providerId="ADAL" clId="{3B4D5F63-EA56-4616-8A78-0C43AB7049E7}" dt="2025-12-08T16:47:22.298" v="33352"/>
          <ac:spMkLst>
            <pc:docMk/>
            <pc:sldMk cId="3879939893" sldId="1077"/>
            <ac:spMk id="17" creationId="{A7750A4F-0F54-04E2-BE7A-E443CB785EA2}"/>
          </ac:spMkLst>
        </pc:spChg>
        <pc:spChg chg="add del mod modVis">
          <ac:chgData name="Falcão Lacerda, Rafael" userId="40181ff7-4694-4c53-a944-7b7d63582359" providerId="ADAL" clId="{3B4D5F63-EA56-4616-8A78-0C43AB7049E7}" dt="2025-12-08T16:47:23.198" v="33378"/>
          <ac:spMkLst>
            <pc:docMk/>
            <pc:sldMk cId="3879939893" sldId="1077"/>
            <ac:spMk id="18" creationId="{831DE2B2-4A98-3C5B-4861-9DC7F052D2D8}"/>
          </ac:spMkLst>
        </pc:spChg>
        <pc:spChg chg="add del mod modVis">
          <ac:chgData name="Falcão Lacerda, Rafael" userId="40181ff7-4694-4c53-a944-7b7d63582359" providerId="ADAL" clId="{3B4D5F63-EA56-4616-8A78-0C43AB7049E7}" dt="2025-12-08T16:47:33.608" v="33419" actId="962"/>
          <ac:spMkLst>
            <pc:docMk/>
            <pc:sldMk cId="3879939893" sldId="1077"/>
            <ac:spMk id="19" creationId="{05AE55A2-D8EF-C991-EFFC-607412BCCEAE}"/>
          </ac:spMkLst>
        </pc:spChg>
        <pc:spChg chg="add del mod modVis">
          <ac:chgData name="Falcão Lacerda, Rafael" userId="40181ff7-4694-4c53-a944-7b7d63582359" providerId="ADAL" clId="{3B4D5F63-EA56-4616-8A78-0C43AB7049E7}" dt="2025-12-08T16:47:35.490" v="33446"/>
          <ac:spMkLst>
            <pc:docMk/>
            <pc:sldMk cId="3879939893" sldId="1077"/>
            <ac:spMk id="20" creationId="{6380E567-D1AC-EDED-8722-20D4401D20A4}"/>
          </ac:spMkLst>
        </pc:spChg>
        <pc:spChg chg="add del mod modVis">
          <ac:chgData name="Falcão Lacerda, Rafael" userId="40181ff7-4694-4c53-a944-7b7d63582359" providerId="ADAL" clId="{3B4D5F63-EA56-4616-8A78-0C43AB7049E7}" dt="2025-12-08T16:47:42.413" v="33487" actId="962"/>
          <ac:spMkLst>
            <pc:docMk/>
            <pc:sldMk cId="3879939893" sldId="1077"/>
            <ac:spMk id="21" creationId="{30D71DC5-5B1E-99BA-29D5-F2C5E87DD4CA}"/>
          </ac:spMkLst>
        </pc:spChg>
        <pc:spChg chg="add del mod modVis">
          <ac:chgData name="Falcão Lacerda, Rafael" userId="40181ff7-4694-4c53-a944-7b7d63582359" providerId="ADAL" clId="{3B4D5F63-EA56-4616-8A78-0C43AB7049E7}" dt="2025-12-08T16:47:52.661" v="33514"/>
          <ac:spMkLst>
            <pc:docMk/>
            <pc:sldMk cId="3879939893" sldId="1077"/>
            <ac:spMk id="22" creationId="{A04B7FCA-3F2E-9465-3BFF-C475E2E2F261}"/>
          </ac:spMkLst>
        </pc:spChg>
        <pc:spChg chg="add mod">
          <ac:chgData name="Falcão Lacerda, Rafael" userId="40181ff7-4694-4c53-a944-7b7d63582359" providerId="ADAL" clId="{3B4D5F63-EA56-4616-8A78-0C43AB7049E7}" dt="2025-12-08T17:17:24.419" v="34020" actId="207"/>
          <ac:spMkLst>
            <pc:docMk/>
            <pc:sldMk cId="3879939893" sldId="1077"/>
            <ac:spMk id="23" creationId="{44465EFF-A7EF-2295-288F-FCE80AE43913}"/>
          </ac:spMkLst>
        </pc:spChg>
        <pc:spChg chg="add del mod">
          <ac:chgData name="Falcão Lacerda, Rafael" userId="40181ff7-4694-4c53-a944-7b7d63582359" providerId="ADAL" clId="{3B4D5F63-EA56-4616-8A78-0C43AB7049E7}" dt="2025-12-08T16:48:04.416" v="33522" actId="478"/>
          <ac:spMkLst>
            <pc:docMk/>
            <pc:sldMk cId="3879939893" sldId="1077"/>
            <ac:spMk id="25" creationId="{48425714-D69B-2D06-3C85-BAF1CAF1C4AB}"/>
          </ac:spMkLst>
        </pc:spChg>
        <pc:graphicFrameChg chg="mod">
          <ac:chgData name="Falcão Lacerda, Rafael" userId="40181ff7-4694-4c53-a944-7b7d63582359" providerId="ADAL" clId="{3B4D5F63-EA56-4616-8A78-0C43AB7049E7}" dt="2025-12-08T16:48:04.925" v="33524"/>
          <ac:graphicFrameMkLst>
            <pc:docMk/>
            <pc:sldMk cId="3879939893" sldId="1077"/>
            <ac:graphicFrameMk id="4" creationId="{06CE9EE6-6761-D3BF-778E-A53D7C7B505A}"/>
          </ac:graphicFrameMkLst>
        </pc:graphicFrameChg>
      </pc:sldChg>
      <pc:sldChg chg="addSp delSp modSp add del mod">
        <pc:chgData name="Falcão Lacerda, Rafael" userId="40181ff7-4694-4c53-a944-7b7d63582359" providerId="ADAL" clId="{3B4D5F63-EA56-4616-8A78-0C43AB7049E7}" dt="2025-12-08T17:18:04.891" v="34034" actId="47"/>
        <pc:sldMkLst>
          <pc:docMk/>
          <pc:sldMk cId="2584337374" sldId="1078"/>
        </pc:sldMkLst>
        <pc:spChg chg="mod">
          <ac:chgData name="Falcão Lacerda, Rafael" userId="40181ff7-4694-4c53-a944-7b7d63582359" providerId="ADAL" clId="{3B4D5F63-EA56-4616-8A78-0C43AB7049E7}" dt="2025-12-08T16:49:05.744" v="33549" actId="948"/>
          <ac:spMkLst>
            <pc:docMk/>
            <pc:sldMk cId="2584337374" sldId="1078"/>
            <ac:spMk id="3" creationId="{04EEE64A-E40B-F382-73CA-E3D1356D553F}"/>
          </ac:spMkLst>
        </pc:spChg>
        <pc:spChg chg="add del mod">
          <ac:chgData name="Falcão Lacerda, Rafael" userId="40181ff7-4694-4c53-a944-7b7d63582359" providerId="ADAL" clId="{3B4D5F63-EA56-4616-8A78-0C43AB7049E7}" dt="2025-12-08T16:49:11.135" v="33553" actId="478"/>
          <ac:spMkLst>
            <pc:docMk/>
            <pc:sldMk cId="2584337374" sldId="1078"/>
            <ac:spMk id="5" creationId="{E6573CF3-6FDE-6754-9C23-62E248A019E6}"/>
          </ac:spMkLst>
        </pc:spChg>
        <pc:spChg chg="del">
          <ac:chgData name="Falcão Lacerda, Rafael" userId="40181ff7-4694-4c53-a944-7b7d63582359" providerId="ADAL" clId="{3B4D5F63-EA56-4616-8A78-0C43AB7049E7}" dt="2025-12-08T16:49:09.066" v="33552" actId="478"/>
          <ac:spMkLst>
            <pc:docMk/>
            <pc:sldMk cId="2584337374" sldId="1078"/>
            <ac:spMk id="11" creationId="{1DFD5F51-1D7C-FF81-F3A6-E83723D09BCC}"/>
          </ac:spMkLst>
        </pc:spChg>
        <pc:graphicFrameChg chg="mod">
          <ac:chgData name="Falcão Lacerda, Rafael" userId="40181ff7-4694-4c53-a944-7b7d63582359" providerId="ADAL" clId="{3B4D5F63-EA56-4616-8A78-0C43AB7049E7}" dt="2025-12-08T16:49:05.746" v="33551"/>
          <ac:graphicFrameMkLst>
            <pc:docMk/>
            <pc:sldMk cId="2584337374" sldId="1078"/>
            <ac:graphicFrameMk id="2" creationId="{38E3D1DD-3D5E-77DF-27C3-D337601B08C8}"/>
          </ac:graphicFrameMkLst>
        </pc:graphicFrameChg>
      </pc:sldChg>
      <pc:sldChg chg="modSp add mod">
        <pc:chgData name="Falcão Lacerda, Rafael" userId="40181ff7-4694-4c53-a944-7b7d63582359" providerId="ADAL" clId="{3B4D5F63-EA56-4616-8A78-0C43AB7049E7}" dt="2025-12-08T17:18:01.470" v="34033"/>
        <pc:sldMkLst>
          <pc:docMk/>
          <pc:sldMk cId="2640372770" sldId="1079"/>
        </pc:sldMkLst>
        <pc:spChg chg="mod">
          <ac:chgData name="Falcão Lacerda, Rafael" userId="40181ff7-4694-4c53-a944-7b7d63582359" providerId="ADAL" clId="{3B4D5F63-EA56-4616-8A78-0C43AB7049E7}" dt="2025-12-08T17:18:01.461" v="34031" actId="948"/>
          <ac:spMkLst>
            <pc:docMk/>
            <pc:sldMk cId="2640372770" sldId="1079"/>
            <ac:spMk id="2" creationId="{4E28E085-8DB8-4109-DCFC-6406AAFB6C72}"/>
          </ac:spMkLst>
        </pc:spChg>
        <pc:graphicFrameChg chg="mod">
          <ac:chgData name="Falcão Lacerda, Rafael" userId="40181ff7-4694-4c53-a944-7b7d63582359" providerId="ADAL" clId="{3B4D5F63-EA56-4616-8A78-0C43AB7049E7}" dt="2025-12-08T17:18:01.470" v="34033"/>
          <ac:graphicFrameMkLst>
            <pc:docMk/>
            <pc:sldMk cId="2640372770" sldId="1079"/>
            <ac:graphicFrameMk id="3" creationId="{1A6A3DE4-07DB-1DF5-A80A-DCAE63DBAEF7}"/>
          </ac:graphicFrameMkLst>
        </pc:graphicFrameChg>
      </pc:sldChg>
      <pc:sldMasterChg chg="addSp delSp modSp mod delSldLayout modSldLayout">
        <pc:chgData name="Falcão Lacerda, Rafael" userId="40181ff7-4694-4c53-a944-7b7d63582359" providerId="ADAL" clId="{3B4D5F63-EA56-4616-8A78-0C43AB7049E7}" dt="2025-12-08T12:52:00.498" v="29950" actId="478"/>
        <pc:sldMasterMkLst>
          <pc:docMk/>
          <pc:sldMasterMk cId="2457110672" sldId="2147483709"/>
        </pc:sldMasterMkLst>
        <pc:spChg chg="mod">
          <ac:chgData name="Falcão Lacerda, Rafael" userId="40181ff7-4694-4c53-a944-7b7d63582359" providerId="ADAL" clId="{3B4D5F63-EA56-4616-8A78-0C43AB7049E7}" dt="2025-12-08T00:26:42.221" v="6331" actId="948"/>
          <ac:spMkLst>
            <pc:docMk/>
            <pc:sldMasterMk cId="2457110672" sldId="2147483709"/>
            <ac:spMk id="2" creationId="{567A189F-CDB6-4881-855E-11E780CE46B1}"/>
          </ac:spMkLst>
        </pc:spChg>
        <pc:spChg chg="mod">
          <ac:chgData name="Falcão Lacerda, Rafael" userId="40181ff7-4694-4c53-a944-7b7d63582359" providerId="ADAL" clId="{3B4D5F63-EA56-4616-8A78-0C43AB7049E7}" dt="2025-12-08T00:26:30.302" v="2576"/>
          <ac:spMkLst>
            <pc:docMk/>
            <pc:sldMasterMk cId="2457110672" sldId="2147483709"/>
            <ac:spMk id="3" creationId="{6D78F67F-4953-4937-B393-889106DBC906}"/>
          </ac:spMkLst>
        </pc:spChg>
        <pc:spChg chg="del mod">
          <ac:chgData name="Falcão Lacerda, Rafael" userId="40181ff7-4694-4c53-a944-7b7d63582359" providerId="ADAL" clId="{3B4D5F63-EA56-4616-8A78-0C43AB7049E7}" dt="2025-12-08T12:49:23.396" v="29917" actId="478"/>
          <ac:spMkLst>
            <pc:docMk/>
            <pc:sldMasterMk cId="2457110672" sldId="2147483709"/>
            <ac:spMk id="4" creationId="{43975608-6DA8-9707-7CBD-C871ED474F3A}"/>
          </ac:spMkLst>
        </pc:spChg>
        <pc:spChg chg="add del mod modVis">
          <ac:chgData name="Falcão Lacerda, Rafael" userId="40181ff7-4694-4c53-a944-7b7d63582359" providerId="ADAL" clId="{3B4D5F63-EA56-4616-8A78-0C43AB7049E7}" dt="2025-12-07T18:00:45.581" v="30"/>
          <ac:spMkLst>
            <pc:docMk/>
            <pc:sldMasterMk cId="2457110672" sldId="2147483709"/>
            <ac:spMk id="5" creationId="{8D70CCD0-1B81-E2A6-0294-16CDD83AB82E}"/>
          </ac:spMkLst>
        </pc:spChg>
        <pc:spChg chg="add del mod modVis">
          <ac:chgData name="Falcão Lacerda, Rafael" userId="40181ff7-4694-4c53-a944-7b7d63582359" providerId="ADAL" clId="{3B4D5F63-EA56-4616-8A78-0C43AB7049E7}" dt="2025-12-08T00:26:48.499" v="9067"/>
          <ac:spMkLst>
            <pc:docMk/>
            <pc:sldMasterMk cId="2457110672" sldId="2147483709"/>
            <ac:spMk id="7" creationId="{61F381A9-778A-2085-75F4-7DAABA811F38}"/>
          </ac:spMkLst>
        </pc:spChg>
        <pc:spChg chg="add del mod">
          <ac:chgData name="Falcão Lacerda, Rafael" userId="40181ff7-4694-4c53-a944-7b7d63582359" providerId="ADAL" clId="{3B4D5F63-EA56-4616-8A78-0C43AB7049E7}" dt="2025-12-08T12:49:22.446" v="29916" actId="478"/>
          <ac:spMkLst>
            <pc:docMk/>
            <pc:sldMasterMk cId="2457110672" sldId="2147483709"/>
            <ac:spMk id="8" creationId="{12610C38-A32A-59E7-037E-49D66521C672}"/>
          </ac:spMkLst>
        </pc:spChg>
        <pc:spChg chg="add del mod">
          <ac:chgData name="Falcão Lacerda, Rafael" userId="40181ff7-4694-4c53-a944-7b7d63582359" providerId="ADAL" clId="{3B4D5F63-EA56-4616-8A78-0C43AB7049E7}" dt="2025-12-08T12:49:24.486" v="29918" actId="478"/>
          <ac:spMkLst>
            <pc:docMk/>
            <pc:sldMasterMk cId="2457110672" sldId="2147483709"/>
            <ac:spMk id="9" creationId="{64C69552-8D77-CD0E-9437-46C4FBE6E32F}"/>
          </ac:spMkLst>
        </pc:spChg>
        <pc:spChg chg="del mod">
          <ac:chgData name="Falcão Lacerda, Rafael" userId="40181ff7-4694-4c53-a944-7b7d63582359" providerId="ADAL" clId="{3B4D5F63-EA56-4616-8A78-0C43AB7049E7}" dt="2025-12-08T12:49:26.036" v="29919" actId="478"/>
          <ac:spMkLst>
            <pc:docMk/>
            <pc:sldMasterMk cId="2457110672" sldId="2147483709"/>
            <ac:spMk id="25" creationId="{8DEAF7F0-ADBE-DA4B-80DE-727BD0E615AA}"/>
          </ac:spMkLst>
        </pc:spChg>
        <pc:spChg chg="mod">
          <ac:chgData name="Falcão Lacerda, Rafael" userId="40181ff7-4694-4c53-a944-7b7d63582359" providerId="ADAL" clId="{3B4D5F63-EA56-4616-8A78-0C43AB7049E7}" dt="2025-12-08T00:26:30.254" v="2572" actId="947"/>
          <ac:spMkLst>
            <pc:docMk/>
            <pc:sldMasterMk cId="2457110672" sldId="2147483709"/>
            <ac:spMk id="26" creationId="{A54DE5B9-F305-CC4E-9A6A-0DC78956D275}"/>
          </ac:spMkLst>
        </pc:spChg>
        <pc:graphicFrameChg chg="add mod ord modVis">
          <ac:chgData name="Falcão Lacerda, Rafael" userId="40181ff7-4694-4c53-a944-7b7d63582359" providerId="ADAL" clId="{3B4D5F63-EA56-4616-8A78-0C43AB7049E7}" dt="2025-12-08T00:26:48.502" v="9069"/>
          <ac:graphicFrameMkLst>
            <pc:docMk/>
            <pc:sldMasterMk cId="2457110672" sldId="2147483709"/>
            <ac:graphicFrameMk id="6" creationId="{AF490F46-0373-A60B-B553-7377BBB190D8}"/>
          </ac:graphicFrameMkLst>
        </pc:graphicFrameChg>
        <pc:sldLayoutChg chg="addSp delSp modSp mod">
          <pc:chgData name="Falcão Lacerda, Rafael" userId="40181ff7-4694-4c53-a944-7b7d63582359" providerId="ADAL" clId="{3B4D5F63-EA56-4616-8A78-0C43AB7049E7}" dt="2025-12-08T00:26:49.809" v="9421"/>
          <pc:sldLayoutMkLst>
            <pc:docMk/>
            <pc:sldMasterMk cId="2457110672" sldId="2147483709"/>
            <pc:sldLayoutMk cId="2378140289" sldId="2147483649"/>
          </pc:sldLayoutMkLst>
          <pc:spChg chg="add del mod modVis">
            <ac:chgData name="Falcão Lacerda, Rafael" userId="40181ff7-4694-4c53-a944-7b7d63582359" providerId="ADAL" clId="{3B4D5F63-EA56-4616-8A78-0C43AB7049E7}" dt="2025-12-08T00:26:49.778" v="9407"/>
            <ac:spMkLst>
              <pc:docMk/>
              <pc:sldMasterMk cId="2457110672" sldId="2147483709"/>
              <pc:sldLayoutMk cId="2378140289" sldId="2147483649"/>
              <ac:spMk id="2" creationId="{ACAD0CA7-5796-3EC4-DC70-B03A67608B13}"/>
            </ac:spMkLst>
          </pc:spChg>
          <pc:spChg chg="mod">
            <ac:chgData name="Falcão Lacerda, Rafael" userId="40181ff7-4694-4c53-a944-7b7d63582359" providerId="ADAL" clId="{3B4D5F63-EA56-4616-8A78-0C43AB7049E7}" dt="2025-12-08T00:26:43.449" v="6772" actId="948"/>
            <ac:spMkLst>
              <pc:docMk/>
              <pc:sldMasterMk cId="2457110672" sldId="2147483709"/>
              <pc:sldLayoutMk cId="2378140289" sldId="2147483649"/>
              <ac:spMk id="4" creationId="{5E6475EA-05F8-881F-8077-6C5A702451D9}"/>
            </ac:spMkLst>
          </pc:spChg>
          <pc:spChg chg="mod">
            <ac:chgData name="Falcão Lacerda, Rafael" userId="40181ff7-4694-4c53-a944-7b7d63582359" providerId="ADAL" clId="{3B4D5F63-EA56-4616-8A78-0C43AB7049E7}" dt="2025-12-08T00:26:32.374" v="2954"/>
            <ac:spMkLst>
              <pc:docMk/>
              <pc:sldMasterMk cId="2457110672" sldId="2147483709"/>
              <pc:sldLayoutMk cId="2378140289" sldId="2147483649"/>
              <ac:spMk id="17" creationId="{23D344E3-E54F-25F8-2F2F-980511EB6BDF}"/>
            </ac:spMkLst>
          </pc:spChg>
          <pc:graphicFrameChg chg="add mod ord modVis">
            <ac:chgData name="Falcão Lacerda, Rafael" userId="40181ff7-4694-4c53-a944-7b7d63582359" providerId="ADAL" clId="{3B4D5F63-EA56-4616-8A78-0C43AB7049E7}" dt="2025-12-08T00:26:49.809" v="9421"/>
            <ac:graphicFrameMkLst>
              <pc:docMk/>
              <pc:sldMasterMk cId="2457110672" sldId="2147483709"/>
              <pc:sldLayoutMk cId="2378140289" sldId="2147483649"/>
              <ac:graphicFrameMk id="3" creationId="{A1F189C4-D038-9C77-BBF0-F7913289B150}"/>
            </ac:graphicFrameMkLst>
          </pc:graphicFrameChg>
        </pc:sldLayoutChg>
        <pc:sldLayoutChg chg="addSp delSp modSp mod">
          <pc:chgData name="Falcão Lacerda, Rafael" userId="40181ff7-4694-4c53-a944-7b7d63582359" providerId="ADAL" clId="{3B4D5F63-EA56-4616-8A78-0C43AB7049E7}" dt="2025-12-08T12:50:31.001" v="29934" actId="478"/>
          <pc:sldLayoutMkLst>
            <pc:docMk/>
            <pc:sldMasterMk cId="2457110672" sldId="2147483709"/>
            <pc:sldLayoutMk cId="836597898" sldId="2147483760"/>
          </pc:sldLayoutMkLst>
          <pc:spChg chg="mod">
            <ac:chgData name="Falcão Lacerda, Rafael" userId="40181ff7-4694-4c53-a944-7b7d63582359" providerId="ADAL" clId="{3B4D5F63-EA56-4616-8A78-0C43AB7049E7}" dt="2025-12-08T00:26:42.663" v="6472" actId="948"/>
            <ac:spMkLst>
              <pc:docMk/>
              <pc:sldMasterMk cId="2457110672" sldId="2147483709"/>
              <pc:sldLayoutMk cId="836597898" sldId="2147483760"/>
              <ac:spMk id="2" creationId="{32394B85-B39D-4BE7-A334-787162CB4A41}"/>
            </ac:spMkLst>
          </pc:spChg>
          <pc:spChg chg="mod">
            <ac:chgData name="Falcão Lacerda, Rafael" userId="40181ff7-4694-4c53-a944-7b7d63582359" providerId="ADAL" clId="{3B4D5F63-EA56-4616-8A78-0C43AB7049E7}" dt="2025-12-08T00:26:31.119" v="2710"/>
            <ac:spMkLst>
              <pc:docMk/>
              <pc:sldMasterMk cId="2457110672" sldId="2147483709"/>
              <pc:sldLayoutMk cId="836597898" sldId="2147483760"/>
              <ac:spMk id="3" creationId="{1462BA77-FAF3-D3DC-18C0-2C2257012AB5}"/>
            </ac:spMkLst>
          </pc:spChg>
          <pc:spChg chg="del mod">
            <ac:chgData name="Falcão Lacerda, Rafael" userId="40181ff7-4694-4c53-a944-7b7d63582359" providerId="ADAL" clId="{3B4D5F63-EA56-4616-8A78-0C43AB7049E7}" dt="2025-12-08T12:50:31.001" v="29934" actId="478"/>
            <ac:spMkLst>
              <pc:docMk/>
              <pc:sldMasterMk cId="2457110672" sldId="2147483709"/>
              <pc:sldLayoutMk cId="836597898" sldId="2147483760"/>
              <ac:spMk id="4" creationId="{3BFEEF07-2489-1DF1-A61D-F05EF6756806}"/>
            </ac:spMkLst>
          </pc:spChg>
          <pc:spChg chg="mod">
            <ac:chgData name="Falcão Lacerda, Rafael" userId="40181ff7-4694-4c53-a944-7b7d63582359" providerId="ADAL" clId="{3B4D5F63-EA56-4616-8A78-0C43AB7049E7}" dt="2025-12-08T00:26:31.128" v="2712"/>
            <ac:spMkLst>
              <pc:docMk/>
              <pc:sldMasterMk cId="2457110672" sldId="2147483709"/>
              <pc:sldLayoutMk cId="836597898" sldId="2147483760"/>
              <ac:spMk id="5" creationId="{772726BC-B615-3428-7DAF-2FCAE36D30B4}"/>
            </ac:spMkLst>
          </pc:spChg>
          <pc:spChg chg="add del mod modVis">
            <ac:chgData name="Falcão Lacerda, Rafael" userId="40181ff7-4694-4c53-a944-7b7d63582359" providerId="ADAL" clId="{3B4D5F63-EA56-4616-8A78-0C43AB7049E7}" dt="2025-12-08T00:26:48.887" v="9167"/>
            <ac:spMkLst>
              <pc:docMk/>
              <pc:sldMasterMk cId="2457110672" sldId="2147483709"/>
              <pc:sldLayoutMk cId="836597898" sldId="2147483760"/>
              <ac:spMk id="6" creationId="{F044CE62-9FA1-64B8-08BF-FCD4576985D4}"/>
            </ac:spMkLst>
          </pc:spChg>
          <pc:spChg chg="mod">
            <ac:chgData name="Falcão Lacerda, Rafael" userId="40181ff7-4694-4c53-a944-7b7d63582359" providerId="ADAL" clId="{3B4D5F63-EA56-4616-8A78-0C43AB7049E7}" dt="2025-12-08T00:26:31.176" v="2720" actId="947"/>
            <ac:spMkLst>
              <pc:docMk/>
              <pc:sldMasterMk cId="2457110672" sldId="2147483709"/>
              <pc:sldLayoutMk cId="836597898" sldId="2147483760"/>
              <ac:spMk id="7" creationId="{89017E74-C690-EF85-4C2D-25D3ED0FF55F}"/>
            </ac:spMkLst>
          </pc:spChg>
          <pc:spChg chg="add del mod">
            <ac:chgData name="Falcão Lacerda, Rafael" userId="40181ff7-4694-4c53-a944-7b7d63582359" providerId="ADAL" clId="{3B4D5F63-EA56-4616-8A78-0C43AB7049E7}" dt="2025-12-08T12:50:26.003" v="29931" actId="478"/>
            <ac:spMkLst>
              <pc:docMk/>
              <pc:sldMasterMk cId="2457110672" sldId="2147483709"/>
              <pc:sldLayoutMk cId="836597898" sldId="2147483760"/>
              <ac:spMk id="9" creationId="{EA2EB9B8-4A81-D733-A91A-97A7D3FD4857}"/>
            </ac:spMkLst>
          </pc:spChg>
          <pc:spChg chg="add del mod">
            <ac:chgData name="Falcão Lacerda, Rafael" userId="40181ff7-4694-4c53-a944-7b7d63582359" providerId="ADAL" clId="{3B4D5F63-EA56-4616-8A78-0C43AB7049E7}" dt="2025-12-08T12:50:28.516" v="29933" actId="478"/>
            <ac:spMkLst>
              <pc:docMk/>
              <pc:sldMasterMk cId="2457110672" sldId="2147483709"/>
              <pc:sldLayoutMk cId="836597898" sldId="2147483760"/>
              <ac:spMk id="10" creationId="{64E05421-BCA7-D0D1-45FD-314217BD3302}"/>
            </ac:spMkLst>
          </pc:spChg>
          <pc:spChg chg="mod">
            <ac:chgData name="Falcão Lacerda, Rafael" userId="40181ff7-4694-4c53-a944-7b7d63582359" providerId="ADAL" clId="{3B4D5F63-EA56-4616-8A78-0C43AB7049E7}" dt="2025-12-08T00:26:31.144" v="2714"/>
            <ac:spMkLst>
              <pc:docMk/>
              <pc:sldMasterMk cId="2457110672" sldId="2147483709"/>
              <pc:sldLayoutMk cId="836597898" sldId="2147483760"/>
              <ac:spMk id="12" creationId="{3996D868-07E7-4C6F-B00B-4026C634BAE0}"/>
            </ac:spMkLst>
          </pc:spChg>
          <pc:spChg chg="del mod">
            <ac:chgData name="Falcão Lacerda, Rafael" userId="40181ff7-4694-4c53-a944-7b7d63582359" providerId="ADAL" clId="{3B4D5F63-EA56-4616-8A78-0C43AB7049E7}" dt="2025-12-08T12:50:26.904" v="29932" actId="478"/>
            <ac:spMkLst>
              <pc:docMk/>
              <pc:sldMasterMk cId="2457110672" sldId="2147483709"/>
              <pc:sldLayoutMk cId="836597898" sldId="2147483760"/>
              <ac:spMk id="16" creationId="{B99510A1-6B22-EF9F-A1BE-64088860C26E}"/>
            </ac:spMkLst>
          </pc:spChg>
          <pc:graphicFrameChg chg="add mod ord modVis">
            <ac:chgData name="Falcão Lacerda, Rafael" userId="40181ff7-4694-4c53-a944-7b7d63582359" providerId="ADAL" clId="{3B4D5F63-EA56-4616-8A78-0C43AB7049E7}" dt="2025-12-08T00:26:48.918" v="9181"/>
            <ac:graphicFrameMkLst>
              <pc:docMk/>
              <pc:sldMasterMk cId="2457110672" sldId="2147483709"/>
              <pc:sldLayoutMk cId="836597898" sldId="2147483760"/>
              <ac:graphicFrameMk id="8" creationId="{1A5C553B-0BC2-6B8B-20D7-B0B9959ED5AE}"/>
            </ac:graphicFrameMkLst>
          </pc:graphicFrameChg>
        </pc:sldLayoutChg>
        <pc:sldLayoutChg chg="addSp delSp modSp mod">
          <pc:chgData name="Falcão Lacerda, Rafael" userId="40181ff7-4694-4c53-a944-7b7d63582359" providerId="ADAL" clId="{3B4D5F63-EA56-4616-8A78-0C43AB7049E7}" dt="2025-12-08T12:50:22.402" v="29930" actId="478"/>
          <pc:sldLayoutMkLst>
            <pc:docMk/>
            <pc:sldMasterMk cId="2457110672" sldId="2147483709"/>
            <pc:sldLayoutMk cId="26244289" sldId="2147483761"/>
          </pc:sldLayoutMkLst>
          <pc:spChg chg="mod">
            <ac:chgData name="Falcão Lacerda, Rafael" userId="40181ff7-4694-4c53-a944-7b7d63582359" providerId="ADAL" clId="{3B4D5F63-EA56-4616-8A78-0C43AB7049E7}" dt="2025-12-08T00:26:31.853" v="2820"/>
            <ac:spMkLst>
              <pc:docMk/>
              <pc:sldMasterMk cId="2457110672" sldId="2147483709"/>
              <pc:sldLayoutMk cId="26244289" sldId="2147483761"/>
              <ac:spMk id="2" creationId="{56C59DBC-B2E5-1892-B37B-68897D161976}"/>
            </ac:spMkLst>
          </pc:spChg>
          <pc:spChg chg="add del mod modVis">
            <ac:chgData name="Falcão Lacerda, Rafael" userId="40181ff7-4694-4c53-a944-7b7d63582359" providerId="ADAL" clId="{3B4D5F63-EA56-4616-8A78-0C43AB7049E7}" dt="2025-12-08T00:26:49.086" v="9231"/>
            <ac:spMkLst>
              <pc:docMk/>
              <pc:sldMasterMk cId="2457110672" sldId="2147483709"/>
              <pc:sldLayoutMk cId="26244289" sldId="2147483761"/>
              <ac:spMk id="3" creationId="{FFF8A249-0554-8FD5-1044-37C0BD482A79}"/>
            </ac:spMkLst>
          </pc:spChg>
          <pc:spChg chg="del mod">
            <ac:chgData name="Falcão Lacerda, Rafael" userId="40181ff7-4694-4c53-a944-7b7d63582359" providerId="ADAL" clId="{3B4D5F63-EA56-4616-8A78-0C43AB7049E7}" dt="2025-12-08T12:50:22.402" v="29930" actId="478"/>
            <ac:spMkLst>
              <pc:docMk/>
              <pc:sldMasterMk cId="2457110672" sldId="2147483709"/>
              <pc:sldLayoutMk cId="26244289" sldId="2147483761"/>
              <ac:spMk id="9" creationId="{08C622A3-6AC3-418E-A8AE-75B117754CFC}"/>
            </ac:spMkLst>
          </pc:spChg>
          <pc:spChg chg="mod">
            <ac:chgData name="Falcão Lacerda, Rafael" userId="40181ff7-4694-4c53-a944-7b7d63582359" providerId="ADAL" clId="{3B4D5F63-EA56-4616-8A78-0C43AB7049E7}" dt="2025-12-08T00:26:42.875" v="6552" actId="948"/>
            <ac:spMkLst>
              <pc:docMk/>
              <pc:sldMasterMk cId="2457110672" sldId="2147483709"/>
              <pc:sldLayoutMk cId="26244289" sldId="2147483761"/>
              <ac:spMk id="17" creationId="{2B28B826-EFF3-117E-A205-62F240EBE2CC}"/>
            </ac:spMkLst>
          </pc:spChg>
          <pc:spChg chg="mod">
            <ac:chgData name="Falcão Lacerda, Rafael" userId="40181ff7-4694-4c53-a944-7b7d63582359" providerId="ADAL" clId="{3B4D5F63-EA56-4616-8A78-0C43AB7049E7}" dt="2025-12-08T00:26:31.837" v="2818"/>
            <ac:spMkLst>
              <pc:docMk/>
              <pc:sldMasterMk cId="2457110672" sldId="2147483709"/>
              <pc:sldLayoutMk cId="26244289" sldId="2147483761"/>
              <ac:spMk id="18" creationId="{31547BE7-16A3-D21E-ADAC-48D17CDF3008}"/>
            </ac:spMkLst>
          </pc:spChg>
          <pc:graphicFrameChg chg="add mod ord modVis">
            <ac:chgData name="Falcão Lacerda, Rafael" userId="40181ff7-4694-4c53-a944-7b7d63582359" providerId="ADAL" clId="{3B4D5F63-EA56-4616-8A78-0C43AB7049E7}" dt="2025-12-08T00:26:49.120" v="9245"/>
            <ac:graphicFrameMkLst>
              <pc:docMk/>
              <pc:sldMasterMk cId="2457110672" sldId="2147483709"/>
              <pc:sldLayoutMk cId="26244289" sldId="2147483761"/>
              <ac:graphicFrameMk id="5" creationId="{EA7B0DF9-70F3-6D55-4A87-870CE3C3EAF5}"/>
            </ac:graphicFrameMkLst>
          </pc:graphicFrameChg>
        </pc:sldLayoutChg>
        <pc:sldLayoutChg chg="addSp delSp modSp mod">
          <pc:chgData name="Falcão Lacerda, Rafael" userId="40181ff7-4694-4c53-a944-7b7d63582359" providerId="ADAL" clId="{3B4D5F63-EA56-4616-8A78-0C43AB7049E7}" dt="2025-12-08T12:49:30.543" v="29920" actId="478"/>
          <pc:sldLayoutMkLst>
            <pc:docMk/>
            <pc:sldMasterMk cId="2457110672" sldId="2147483709"/>
            <pc:sldLayoutMk cId="2209306965" sldId="2147483768"/>
          </pc:sldLayoutMkLst>
          <pc:spChg chg="add del mod modVis">
            <ac:chgData name="Falcão Lacerda, Rafael" userId="40181ff7-4694-4c53-a944-7b7d63582359" providerId="ADAL" clId="{3B4D5F63-EA56-4616-8A78-0C43AB7049E7}" dt="2025-12-08T00:26:48.668" v="9103"/>
            <ac:spMkLst>
              <pc:docMk/>
              <pc:sldMasterMk cId="2457110672" sldId="2147483709"/>
              <pc:sldLayoutMk cId="2209306965" sldId="2147483768"/>
              <ac:spMk id="2" creationId="{EC2DC828-3CD3-50C9-1768-77748D730CB5}"/>
            </ac:spMkLst>
          </pc:spChg>
          <pc:spChg chg="mod">
            <ac:chgData name="Falcão Lacerda, Rafael" userId="40181ff7-4694-4c53-a944-7b7d63582359" providerId="ADAL" clId="{3B4D5F63-EA56-4616-8A78-0C43AB7049E7}" dt="2025-12-08T00:26:42.373" v="6392" actId="948"/>
            <ac:spMkLst>
              <pc:docMk/>
              <pc:sldMasterMk cId="2457110672" sldId="2147483709"/>
              <pc:sldLayoutMk cId="2209306965" sldId="2147483768"/>
              <ac:spMk id="15" creationId="{746E4763-F545-C94B-51CE-F4BC514CB5E2}"/>
            </ac:spMkLst>
          </pc:spChg>
          <pc:spChg chg="mod">
            <ac:chgData name="Falcão Lacerda, Rafael" userId="40181ff7-4694-4c53-a944-7b7d63582359" providerId="ADAL" clId="{3B4D5F63-EA56-4616-8A78-0C43AB7049E7}" dt="2025-12-08T00:26:30.428" v="2598"/>
            <ac:spMkLst>
              <pc:docMk/>
              <pc:sldMasterMk cId="2457110672" sldId="2147483709"/>
              <pc:sldLayoutMk cId="2209306965" sldId="2147483768"/>
              <ac:spMk id="16" creationId="{BC002026-094D-D1B0-BDA1-62996F241354}"/>
            </ac:spMkLst>
          </pc:spChg>
          <pc:spChg chg="mod">
            <ac:chgData name="Falcão Lacerda, Rafael" userId="40181ff7-4694-4c53-a944-7b7d63582359" providerId="ADAL" clId="{3B4D5F63-EA56-4616-8A78-0C43AB7049E7}" dt="2025-12-08T00:26:30.445" v="2600"/>
            <ac:spMkLst>
              <pc:docMk/>
              <pc:sldMasterMk cId="2457110672" sldId="2147483709"/>
              <pc:sldLayoutMk cId="2209306965" sldId="2147483768"/>
              <ac:spMk id="18" creationId="{21E81FC3-5B5A-36F1-7992-060E05D4773E}"/>
            </ac:spMkLst>
          </pc:spChg>
          <pc:spChg chg="mod">
            <ac:chgData name="Falcão Lacerda, Rafael" userId="40181ff7-4694-4c53-a944-7b7d63582359" providerId="ADAL" clId="{3B4D5F63-EA56-4616-8A78-0C43AB7049E7}" dt="2025-12-08T00:26:30.466" v="2602"/>
            <ac:spMkLst>
              <pc:docMk/>
              <pc:sldMasterMk cId="2457110672" sldId="2147483709"/>
              <pc:sldLayoutMk cId="2209306965" sldId="2147483768"/>
              <ac:spMk id="23" creationId="{36108AED-3E3E-1C9D-6AD6-AB28DC816233}"/>
            </ac:spMkLst>
          </pc:spChg>
          <pc:graphicFrameChg chg="add mod ord modVis">
            <ac:chgData name="Falcão Lacerda, Rafael" userId="40181ff7-4694-4c53-a944-7b7d63582359" providerId="ADAL" clId="{3B4D5F63-EA56-4616-8A78-0C43AB7049E7}" dt="2025-12-08T00:26:48.735" v="9117"/>
            <ac:graphicFrameMkLst>
              <pc:docMk/>
              <pc:sldMasterMk cId="2457110672" sldId="2147483709"/>
              <pc:sldLayoutMk cId="2209306965" sldId="2147483768"/>
              <ac:graphicFrameMk id="4" creationId="{D17AB523-6616-8B7D-2AB7-768807584704}"/>
            </ac:graphicFrameMkLst>
          </pc:graphicFrameChg>
          <pc:picChg chg="del">
            <ac:chgData name="Falcão Lacerda, Rafael" userId="40181ff7-4694-4c53-a944-7b7d63582359" providerId="ADAL" clId="{3B4D5F63-EA56-4616-8A78-0C43AB7049E7}" dt="2025-12-08T12:49:30.543" v="29920" actId="478"/>
            <ac:picMkLst>
              <pc:docMk/>
              <pc:sldMasterMk cId="2457110672" sldId="2147483709"/>
              <pc:sldLayoutMk cId="2209306965" sldId="2147483768"/>
              <ac:picMk id="3" creationId="{FF7A765D-4682-9084-D606-70A59390D78F}"/>
            </ac:picMkLst>
          </pc:picChg>
        </pc:sldLayoutChg>
        <pc:sldLayoutChg chg="addSp delSp modSp mod">
          <pc:chgData name="Falcão Lacerda, Rafael" userId="40181ff7-4694-4c53-a944-7b7d63582359" providerId="ADAL" clId="{3B4D5F63-EA56-4616-8A78-0C43AB7049E7}" dt="2025-12-08T12:49:47.150" v="29924" actId="478"/>
          <pc:sldLayoutMkLst>
            <pc:docMk/>
            <pc:sldMasterMk cId="2457110672" sldId="2147483709"/>
            <pc:sldLayoutMk cId="2042625388" sldId="2147483772"/>
          </pc:sldLayoutMkLst>
          <pc:spChg chg="add mod">
            <ac:chgData name="Falcão Lacerda, Rafael" userId="40181ff7-4694-4c53-a944-7b7d63582359" providerId="ADAL" clId="{3B4D5F63-EA56-4616-8A78-0C43AB7049E7}" dt="2025-12-08T00:26:30.571" v="2614"/>
            <ac:spMkLst>
              <pc:docMk/>
              <pc:sldMasterMk cId="2457110672" sldId="2147483709"/>
              <pc:sldLayoutMk cId="2042625388" sldId="2147483772"/>
              <ac:spMk id="2" creationId="{8B1EACD7-5325-C8B9-F0F8-361612B52620}"/>
            </ac:spMkLst>
          </pc:spChg>
          <pc:spChg chg="mod">
            <ac:chgData name="Falcão Lacerda, Rafael" userId="40181ff7-4694-4c53-a944-7b7d63582359" providerId="ADAL" clId="{3B4D5F63-EA56-4616-8A78-0C43AB7049E7}" dt="2025-12-08T00:26:30.492" v="2604"/>
            <ac:spMkLst>
              <pc:docMk/>
              <pc:sldMasterMk cId="2457110672" sldId="2147483709"/>
              <pc:sldLayoutMk cId="2042625388" sldId="2147483772"/>
              <ac:spMk id="3" creationId="{C5FB3CF4-DD64-BD63-23C6-97F8FC097FD4}"/>
            </ac:spMkLst>
          </pc:spChg>
          <pc:spChg chg="add del mod modVis">
            <ac:chgData name="Falcão Lacerda, Rafael" userId="40181ff7-4694-4c53-a944-7b7d63582359" providerId="ADAL" clId="{3B4D5F63-EA56-4616-8A78-0C43AB7049E7}" dt="2025-12-08T00:26:48.739" v="9119"/>
            <ac:spMkLst>
              <pc:docMk/>
              <pc:sldMasterMk cId="2457110672" sldId="2147483709"/>
              <pc:sldLayoutMk cId="2042625388" sldId="2147483772"/>
              <ac:spMk id="4" creationId="{C558C1CD-6184-F4F3-8AE1-0E6C77D19836}"/>
            </ac:spMkLst>
          </pc:spChg>
          <pc:spChg chg="mod">
            <ac:chgData name="Falcão Lacerda, Rafael" userId="40181ff7-4694-4c53-a944-7b7d63582359" providerId="ADAL" clId="{3B4D5F63-EA56-4616-8A78-0C43AB7049E7}" dt="2025-12-08T00:26:30.553" v="2612"/>
            <ac:spMkLst>
              <pc:docMk/>
              <pc:sldMasterMk cId="2457110672" sldId="2147483709"/>
              <pc:sldLayoutMk cId="2042625388" sldId="2147483772"/>
              <ac:spMk id="6" creationId="{36794D19-B699-311B-25DD-C0D60FC7889B}"/>
            </ac:spMkLst>
          </pc:spChg>
          <pc:spChg chg="mod">
            <ac:chgData name="Falcão Lacerda, Rafael" userId="40181ff7-4694-4c53-a944-7b7d63582359" providerId="ADAL" clId="{3B4D5F63-EA56-4616-8A78-0C43AB7049E7}" dt="2025-12-08T00:26:30.540" v="2610"/>
            <ac:spMkLst>
              <pc:docMk/>
              <pc:sldMasterMk cId="2457110672" sldId="2147483709"/>
              <pc:sldLayoutMk cId="2042625388" sldId="2147483772"/>
              <ac:spMk id="9" creationId="{EF8263C3-A1F7-3492-0FC4-3EB7054D3058}"/>
            </ac:spMkLst>
          </pc:spChg>
          <pc:spChg chg="mod">
            <ac:chgData name="Falcão Lacerda, Rafael" userId="40181ff7-4694-4c53-a944-7b7d63582359" providerId="ADAL" clId="{3B4D5F63-EA56-4616-8A78-0C43AB7049E7}" dt="2025-12-08T00:26:30.531" v="2608"/>
            <ac:spMkLst>
              <pc:docMk/>
              <pc:sldMasterMk cId="2457110672" sldId="2147483709"/>
              <pc:sldLayoutMk cId="2042625388" sldId="2147483772"/>
              <ac:spMk id="10" creationId="{71313E0C-79AC-2382-CFF0-C1879E03CA7D}"/>
            </ac:spMkLst>
          </pc:spChg>
          <pc:spChg chg="mod">
            <ac:chgData name="Falcão Lacerda, Rafael" userId="40181ff7-4694-4c53-a944-7b7d63582359" providerId="ADAL" clId="{3B4D5F63-EA56-4616-8A78-0C43AB7049E7}" dt="2025-12-08T00:26:42.416" v="6412" actId="948"/>
            <ac:spMkLst>
              <pc:docMk/>
              <pc:sldMasterMk cId="2457110672" sldId="2147483709"/>
              <pc:sldLayoutMk cId="2042625388" sldId="2147483772"/>
              <ac:spMk id="11" creationId="{441759CF-E2D4-0A80-7950-4AF5952D5985}"/>
            </ac:spMkLst>
          </pc:spChg>
          <pc:graphicFrameChg chg="add mod ord modVis">
            <ac:chgData name="Falcão Lacerda, Rafael" userId="40181ff7-4694-4c53-a944-7b7d63582359" providerId="ADAL" clId="{3B4D5F63-EA56-4616-8A78-0C43AB7049E7}" dt="2025-12-08T00:26:48.778" v="9133"/>
            <ac:graphicFrameMkLst>
              <pc:docMk/>
              <pc:sldMasterMk cId="2457110672" sldId="2147483709"/>
              <pc:sldLayoutMk cId="2042625388" sldId="2147483772"/>
              <ac:graphicFrameMk id="5" creationId="{BECB7D07-70B9-D4D5-70D1-B8DD86990334}"/>
            </ac:graphicFrameMkLst>
          </pc:graphicFrameChg>
          <pc:picChg chg="del">
            <ac:chgData name="Falcão Lacerda, Rafael" userId="40181ff7-4694-4c53-a944-7b7d63582359" providerId="ADAL" clId="{3B4D5F63-EA56-4616-8A78-0C43AB7049E7}" dt="2025-12-08T12:49:47.150" v="29924" actId="478"/>
            <ac:picMkLst>
              <pc:docMk/>
              <pc:sldMasterMk cId="2457110672" sldId="2147483709"/>
              <pc:sldLayoutMk cId="2042625388" sldId="2147483772"/>
              <ac:picMk id="7" creationId="{B644DD64-75F6-CAA6-3062-5DD0649C1338}"/>
            </ac:picMkLst>
          </pc:picChg>
        </pc:sldLayoutChg>
        <pc:sldLayoutChg chg="addSp delSp modSp mod">
          <pc:chgData name="Falcão Lacerda, Rafael" userId="40181ff7-4694-4c53-a944-7b7d63582359" providerId="ADAL" clId="{3B4D5F63-EA56-4616-8A78-0C43AB7049E7}" dt="2025-12-08T12:50:05.045" v="29929" actId="478"/>
          <pc:sldLayoutMkLst>
            <pc:docMk/>
            <pc:sldMasterMk cId="2457110672" sldId="2147483709"/>
            <pc:sldLayoutMk cId="3442698307" sldId="2147483777"/>
          </pc:sldLayoutMkLst>
          <pc:spChg chg="mod">
            <ac:chgData name="Falcão Lacerda, Rafael" userId="40181ff7-4694-4c53-a944-7b7d63582359" providerId="ADAL" clId="{3B4D5F63-EA56-4616-8A78-0C43AB7049E7}" dt="2025-12-08T00:26:42.778" v="6512" actId="948"/>
            <ac:spMkLst>
              <pc:docMk/>
              <pc:sldMasterMk cId="2457110672" sldId="2147483709"/>
              <pc:sldLayoutMk cId="3442698307" sldId="2147483777"/>
              <ac:spMk id="2" creationId="{F251A5E4-3909-4229-80CB-2E4CA2A5B2D3}"/>
            </ac:spMkLst>
          </pc:spChg>
          <pc:spChg chg="del mod">
            <ac:chgData name="Falcão Lacerda, Rafael" userId="40181ff7-4694-4c53-a944-7b7d63582359" providerId="ADAL" clId="{3B4D5F63-EA56-4616-8A78-0C43AB7049E7}" dt="2025-12-08T12:50:05.045" v="29929" actId="478"/>
            <ac:spMkLst>
              <pc:docMk/>
              <pc:sldMasterMk cId="2457110672" sldId="2147483709"/>
              <pc:sldLayoutMk cId="3442698307" sldId="2147483777"/>
              <ac:spMk id="3" creationId="{95F63345-6C3E-8981-5F6D-DF2B3FF6475C}"/>
            </ac:spMkLst>
          </pc:spChg>
          <pc:spChg chg="mod">
            <ac:chgData name="Falcão Lacerda, Rafael" userId="40181ff7-4694-4c53-a944-7b7d63582359" providerId="ADAL" clId="{3B4D5F63-EA56-4616-8A78-0C43AB7049E7}" dt="2025-12-08T00:26:31.239" v="2730" actId="947"/>
            <ac:spMkLst>
              <pc:docMk/>
              <pc:sldMasterMk cId="2457110672" sldId="2147483709"/>
              <pc:sldLayoutMk cId="3442698307" sldId="2147483777"/>
              <ac:spMk id="5" creationId="{58DFF95F-BC04-BCE4-81EC-25C099CB74A3}"/>
            </ac:spMkLst>
          </pc:spChg>
          <pc:spChg chg="add del mod modVis">
            <ac:chgData name="Falcão Lacerda, Rafael" userId="40181ff7-4694-4c53-a944-7b7d63582359" providerId="ADAL" clId="{3B4D5F63-EA56-4616-8A78-0C43AB7049E7}" dt="2025-12-08T00:26:48.986" v="9199"/>
            <ac:spMkLst>
              <pc:docMk/>
              <pc:sldMasterMk cId="2457110672" sldId="2147483709"/>
              <pc:sldLayoutMk cId="3442698307" sldId="2147483777"/>
              <ac:spMk id="6" creationId="{B44D1DB9-E4A4-C224-FD9A-1225EC51D474}"/>
            </ac:spMkLst>
          </pc:spChg>
          <pc:spChg chg="mod">
            <ac:chgData name="Falcão Lacerda, Rafael" userId="40181ff7-4694-4c53-a944-7b7d63582359" providerId="ADAL" clId="{3B4D5F63-EA56-4616-8A78-0C43AB7049E7}" dt="2025-12-08T00:26:31.774" v="2804" actId="947"/>
            <ac:spMkLst>
              <pc:docMk/>
              <pc:sldMasterMk cId="2457110672" sldId="2147483709"/>
              <pc:sldLayoutMk cId="3442698307" sldId="2147483777"/>
              <ac:spMk id="7" creationId="{EA0A3F89-649C-BCA9-F69D-4791BE39CE26}"/>
            </ac:spMkLst>
          </pc:spChg>
          <pc:spChg chg="del mod">
            <ac:chgData name="Falcão Lacerda, Rafael" userId="40181ff7-4694-4c53-a944-7b7d63582359" providerId="ADAL" clId="{3B4D5F63-EA56-4616-8A78-0C43AB7049E7}" dt="2025-12-08T12:50:00.817" v="29927" actId="478"/>
            <ac:spMkLst>
              <pc:docMk/>
              <pc:sldMasterMk cId="2457110672" sldId="2147483709"/>
              <pc:sldLayoutMk cId="3442698307" sldId="2147483777"/>
              <ac:spMk id="8" creationId="{042F1CA7-6A9E-5C2F-F3C0-78D6AFD6C707}"/>
            </ac:spMkLst>
          </pc:spChg>
          <pc:spChg chg="mod">
            <ac:chgData name="Falcão Lacerda, Rafael" userId="40181ff7-4694-4c53-a944-7b7d63582359" providerId="ADAL" clId="{3B4D5F63-EA56-4616-8A78-0C43AB7049E7}" dt="2025-12-08T00:26:31.758" v="2800"/>
            <ac:spMkLst>
              <pc:docMk/>
              <pc:sldMasterMk cId="2457110672" sldId="2147483709"/>
              <pc:sldLayoutMk cId="3442698307" sldId="2147483777"/>
              <ac:spMk id="10" creationId="{B01AB161-4BFB-138B-C93C-DFFFE563CF59}"/>
            </ac:spMkLst>
          </pc:spChg>
          <pc:spChg chg="add del mod">
            <ac:chgData name="Falcão Lacerda, Rafael" userId="40181ff7-4694-4c53-a944-7b7d63582359" providerId="ADAL" clId="{3B4D5F63-EA56-4616-8A78-0C43AB7049E7}" dt="2025-12-08T12:49:58.331" v="29926" actId="478"/>
            <ac:spMkLst>
              <pc:docMk/>
              <pc:sldMasterMk cId="2457110672" sldId="2147483709"/>
              <pc:sldLayoutMk cId="3442698307" sldId="2147483777"/>
              <ac:spMk id="11" creationId="{9CDCA9C2-64C3-65A8-F1BA-21E5CC31FB73}"/>
            </ac:spMkLst>
          </pc:spChg>
          <pc:spChg chg="add del mod">
            <ac:chgData name="Falcão Lacerda, Rafael" userId="40181ff7-4694-4c53-a944-7b7d63582359" providerId="ADAL" clId="{3B4D5F63-EA56-4616-8A78-0C43AB7049E7}" dt="2025-12-08T12:50:02.642" v="29928" actId="478"/>
            <ac:spMkLst>
              <pc:docMk/>
              <pc:sldMasterMk cId="2457110672" sldId="2147483709"/>
              <pc:sldLayoutMk cId="3442698307" sldId="2147483777"/>
              <ac:spMk id="12" creationId="{4F01AC94-23BC-EEF9-62E2-F187029F65CB}"/>
            </ac:spMkLst>
          </pc:spChg>
          <pc:spChg chg="mod">
            <ac:chgData name="Falcão Lacerda, Rafael" userId="40181ff7-4694-4c53-a944-7b7d63582359" providerId="ADAL" clId="{3B4D5F63-EA56-4616-8A78-0C43AB7049E7}" dt="2025-12-08T00:26:31.286" v="2736"/>
            <ac:spMkLst>
              <pc:docMk/>
              <pc:sldMasterMk cId="2457110672" sldId="2147483709"/>
              <pc:sldLayoutMk cId="3442698307" sldId="2147483777"/>
              <ac:spMk id="18" creationId="{257C0C72-781A-F24F-B1F2-0A290409F1F6}"/>
            </ac:spMkLst>
          </pc:spChg>
          <pc:spChg chg="mod">
            <ac:chgData name="Falcão Lacerda, Rafael" userId="40181ff7-4694-4c53-a944-7b7d63582359" providerId="ADAL" clId="{3B4D5F63-EA56-4616-8A78-0C43AB7049E7}" dt="2025-12-08T00:26:31.271" v="2734"/>
            <ac:spMkLst>
              <pc:docMk/>
              <pc:sldMasterMk cId="2457110672" sldId="2147483709"/>
              <pc:sldLayoutMk cId="3442698307" sldId="2147483777"/>
              <ac:spMk id="29" creationId="{2F4C171E-3D12-FC48-87BB-B5005B4EE338}"/>
            </ac:spMkLst>
          </pc:spChg>
          <pc:spChg chg="mod">
            <ac:chgData name="Falcão Lacerda, Rafael" userId="40181ff7-4694-4c53-a944-7b7d63582359" providerId="ADAL" clId="{3B4D5F63-EA56-4616-8A78-0C43AB7049E7}" dt="2025-12-08T00:26:31.286" v="2738"/>
            <ac:spMkLst>
              <pc:docMk/>
              <pc:sldMasterMk cId="2457110672" sldId="2147483709"/>
              <pc:sldLayoutMk cId="3442698307" sldId="2147483777"/>
              <ac:spMk id="30" creationId="{E8AE9E02-9423-4748-8AD7-2BBB3B94A799}"/>
            </ac:spMkLst>
          </pc:spChg>
          <pc:spChg chg="mod">
            <ac:chgData name="Falcão Lacerda, Rafael" userId="40181ff7-4694-4c53-a944-7b7d63582359" providerId="ADAL" clId="{3B4D5F63-EA56-4616-8A78-0C43AB7049E7}" dt="2025-12-08T00:26:31.320" v="2742"/>
            <ac:spMkLst>
              <pc:docMk/>
              <pc:sldMasterMk cId="2457110672" sldId="2147483709"/>
              <pc:sldLayoutMk cId="3442698307" sldId="2147483777"/>
              <ac:spMk id="31" creationId="{7C692F47-FBF4-5842-A0CA-4B8B48DE4638}"/>
            </ac:spMkLst>
          </pc:spChg>
          <pc:spChg chg="mod">
            <ac:chgData name="Falcão Lacerda, Rafael" userId="40181ff7-4694-4c53-a944-7b7d63582359" providerId="ADAL" clId="{3B4D5F63-EA56-4616-8A78-0C43AB7049E7}" dt="2025-12-08T00:26:31.350" v="2746"/>
            <ac:spMkLst>
              <pc:docMk/>
              <pc:sldMasterMk cId="2457110672" sldId="2147483709"/>
              <pc:sldLayoutMk cId="3442698307" sldId="2147483777"/>
              <ac:spMk id="32" creationId="{BDE48124-A481-074B-9AD4-22EC49D172D0}"/>
            </ac:spMkLst>
          </pc:spChg>
          <pc:spChg chg="mod">
            <ac:chgData name="Falcão Lacerda, Rafael" userId="40181ff7-4694-4c53-a944-7b7d63582359" providerId="ADAL" clId="{3B4D5F63-EA56-4616-8A78-0C43AB7049E7}" dt="2025-12-08T00:26:31.397" v="2750"/>
            <ac:spMkLst>
              <pc:docMk/>
              <pc:sldMasterMk cId="2457110672" sldId="2147483709"/>
              <pc:sldLayoutMk cId="3442698307" sldId="2147483777"/>
              <ac:spMk id="33" creationId="{98E2B4B4-ED02-4945-B581-1A8D48D031AA}"/>
            </ac:spMkLst>
          </pc:spChg>
          <pc:spChg chg="mod">
            <ac:chgData name="Falcão Lacerda, Rafael" userId="40181ff7-4694-4c53-a944-7b7d63582359" providerId="ADAL" clId="{3B4D5F63-EA56-4616-8A78-0C43AB7049E7}" dt="2025-12-08T00:26:31.429" v="2754"/>
            <ac:spMkLst>
              <pc:docMk/>
              <pc:sldMasterMk cId="2457110672" sldId="2147483709"/>
              <pc:sldLayoutMk cId="3442698307" sldId="2147483777"/>
              <ac:spMk id="34" creationId="{B70B7DFE-5DE8-0F42-BF3C-DA43110C0D0E}"/>
            </ac:spMkLst>
          </pc:spChg>
          <pc:spChg chg="mod">
            <ac:chgData name="Falcão Lacerda, Rafael" userId="40181ff7-4694-4c53-a944-7b7d63582359" providerId="ADAL" clId="{3B4D5F63-EA56-4616-8A78-0C43AB7049E7}" dt="2025-12-08T00:26:31.460" v="2758"/>
            <ac:spMkLst>
              <pc:docMk/>
              <pc:sldMasterMk cId="2457110672" sldId="2147483709"/>
              <pc:sldLayoutMk cId="3442698307" sldId="2147483777"/>
              <ac:spMk id="35" creationId="{D63FCDAD-F7F9-774F-8EC9-A0777820ED0F}"/>
            </ac:spMkLst>
          </pc:spChg>
          <pc:spChg chg="mod">
            <ac:chgData name="Falcão Lacerda, Rafael" userId="40181ff7-4694-4c53-a944-7b7d63582359" providerId="ADAL" clId="{3B4D5F63-EA56-4616-8A78-0C43AB7049E7}" dt="2025-12-08T00:26:31.512" v="2762"/>
            <ac:spMkLst>
              <pc:docMk/>
              <pc:sldMasterMk cId="2457110672" sldId="2147483709"/>
              <pc:sldLayoutMk cId="3442698307" sldId="2147483777"/>
              <ac:spMk id="36" creationId="{AE66CCF5-C5F4-5645-A851-E4A7D572FDA7}"/>
            </ac:spMkLst>
          </pc:spChg>
          <pc:spChg chg="mod">
            <ac:chgData name="Falcão Lacerda, Rafael" userId="40181ff7-4694-4c53-a944-7b7d63582359" providerId="ADAL" clId="{3B4D5F63-EA56-4616-8A78-0C43AB7049E7}" dt="2025-12-08T00:26:31.308" v="2740"/>
            <ac:spMkLst>
              <pc:docMk/>
              <pc:sldMasterMk cId="2457110672" sldId="2147483709"/>
              <pc:sldLayoutMk cId="3442698307" sldId="2147483777"/>
              <ac:spMk id="57" creationId="{A5D4C4AC-7870-A641-AF65-6F3ECB9DA9CA}"/>
            </ac:spMkLst>
          </pc:spChg>
          <pc:spChg chg="mod">
            <ac:chgData name="Falcão Lacerda, Rafael" userId="40181ff7-4694-4c53-a944-7b7d63582359" providerId="ADAL" clId="{3B4D5F63-EA56-4616-8A78-0C43AB7049E7}" dt="2025-12-08T00:26:31.350" v="2744"/>
            <ac:spMkLst>
              <pc:docMk/>
              <pc:sldMasterMk cId="2457110672" sldId="2147483709"/>
              <pc:sldLayoutMk cId="3442698307" sldId="2147483777"/>
              <ac:spMk id="59" creationId="{9F332AA7-2896-E24E-B21D-90FED54D4335}"/>
            </ac:spMkLst>
          </pc:spChg>
          <pc:spChg chg="mod">
            <ac:chgData name="Falcão Lacerda, Rafael" userId="40181ff7-4694-4c53-a944-7b7d63582359" providerId="ADAL" clId="{3B4D5F63-EA56-4616-8A78-0C43AB7049E7}" dt="2025-12-08T00:26:31.386" v="2748"/>
            <ac:spMkLst>
              <pc:docMk/>
              <pc:sldMasterMk cId="2457110672" sldId="2147483709"/>
              <pc:sldLayoutMk cId="3442698307" sldId="2147483777"/>
              <ac:spMk id="61" creationId="{25D7BCB2-FC6B-2A46-AC11-482A4F731116}"/>
            </ac:spMkLst>
          </pc:spChg>
          <pc:spChg chg="mod">
            <ac:chgData name="Falcão Lacerda, Rafael" userId="40181ff7-4694-4c53-a944-7b7d63582359" providerId="ADAL" clId="{3B4D5F63-EA56-4616-8A78-0C43AB7049E7}" dt="2025-12-08T00:26:31.418" v="2752"/>
            <ac:spMkLst>
              <pc:docMk/>
              <pc:sldMasterMk cId="2457110672" sldId="2147483709"/>
              <pc:sldLayoutMk cId="3442698307" sldId="2147483777"/>
              <ac:spMk id="63" creationId="{FD74906C-72A4-CF4A-A4F6-B28AE864B9B7}"/>
            </ac:spMkLst>
          </pc:spChg>
          <pc:spChg chg="mod">
            <ac:chgData name="Falcão Lacerda, Rafael" userId="40181ff7-4694-4c53-a944-7b7d63582359" providerId="ADAL" clId="{3B4D5F63-EA56-4616-8A78-0C43AB7049E7}" dt="2025-12-08T00:26:31.460" v="2756"/>
            <ac:spMkLst>
              <pc:docMk/>
              <pc:sldMasterMk cId="2457110672" sldId="2147483709"/>
              <pc:sldLayoutMk cId="3442698307" sldId="2147483777"/>
              <ac:spMk id="65" creationId="{F28AA3EC-0083-2742-A4D0-0B32569FD766}"/>
            </ac:spMkLst>
          </pc:spChg>
          <pc:spChg chg="mod">
            <ac:chgData name="Falcão Lacerda, Rafael" userId="40181ff7-4694-4c53-a944-7b7d63582359" providerId="ADAL" clId="{3B4D5F63-EA56-4616-8A78-0C43AB7049E7}" dt="2025-12-08T00:26:31.492" v="2760"/>
            <ac:spMkLst>
              <pc:docMk/>
              <pc:sldMasterMk cId="2457110672" sldId="2147483709"/>
              <pc:sldLayoutMk cId="3442698307" sldId="2147483777"/>
              <ac:spMk id="67" creationId="{D46DA866-B19E-684E-8A23-EEA295487841}"/>
            </ac:spMkLst>
          </pc:spChg>
          <pc:spChg chg="mod">
            <ac:chgData name="Falcão Lacerda, Rafael" userId="40181ff7-4694-4c53-a944-7b7d63582359" providerId="ADAL" clId="{3B4D5F63-EA56-4616-8A78-0C43AB7049E7}" dt="2025-12-08T00:26:31.530" v="2764"/>
            <ac:spMkLst>
              <pc:docMk/>
              <pc:sldMasterMk cId="2457110672" sldId="2147483709"/>
              <pc:sldLayoutMk cId="3442698307" sldId="2147483777"/>
              <ac:spMk id="69" creationId="{A4A135E2-DF01-5543-BA57-DFBCCC446A3A}"/>
            </ac:spMkLst>
          </pc:spChg>
          <pc:spChg chg="mod">
            <ac:chgData name="Falcão Lacerda, Rafael" userId="40181ff7-4694-4c53-a944-7b7d63582359" providerId="ADAL" clId="{3B4D5F63-EA56-4616-8A78-0C43AB7049E7}" dt="2025-12-08T00:26:31.560" v="2768"/>
            <ac:spMkLst>
              <pc:docMk/>
              <pc:sldMasterMk cId="2457110672" sldId="2147483709"/>
              <pc:sldLayoutMk cId="3442698307" sldId="2147483777"/>
              <ac:spMk id="86" creationId="{C10680BC-1106-B24D-A63E-02912A27325E}"/>
            </ac:spMkLst>
          </pc:spChg>
          <pc:spChg chg="mod">
            <ac:chgData name="Falcão Lacerda, Rafael" userId="40181ff7-4694-4c53-a944-7b7d63582359" providerId="ADAL" clId="{3B4D5F63-EA56-4616-8A78-0C43AB7049E7}" dt="2025-12-08T00:26:31.587" v="2772"/>
            <ac:spMkLst>
              <pc:docMk/>
              <pc:sldMasterMk cId="2457110672" sldId="2147483709"/>
              <pc:sldLayoutMk cId="3442698307" sldId="2147483777"/>
              <ac:spMk id="87" creationId="{194D437D-E8B7-694E-B60A-5A3D6E811713}"/>
            </ac:spMkLst>
          </pc:spChg>
          <pc:spChg chg="mod">
            <ac:chgData name="Falcão Lacerda, Rafael" userId="40181ff7-4694-4c53-a944-7b7d63582359" providerId="ADAL" clId="{3B4D5F63-EA56-4616-8A78-0C43AB7049E7}" dt="2025-12-08T00:26:31.613" v="2776"/>
            <ac:spMkLst>
              <pc:docMk/>
              <pc:sldMasterMk cId="2457110672" sldId="2147483709"/>
              <pc:sldLayoutMk cId="3442698307" sldId="2147483777"/>
              <ac:spMk id="88" creationId="{D743CFF4-B173-B648-86A6-5021F5FB8C07}"/>
            </ac:spMkLst>
          </pc:spChg>
          <pc:spChg chg="mod">
            <ac:chgData name="Falcão Lacerda, Rafael" userId="40181ff7-4694-4c53-a944-7b7d63582359" providerId="ADAL" clId="{3B4D5F63-EA56-4616-8A78-0C43AB7049E7}" dt="2025-12-08T00:26:31.635" v="2780"/>
            <ac:spMkLst>
              <pc:docMk/>
              <pc:sldMasterMk cId="2457110672" sldId="2147483709"/>
              <pc:sldLayoutMk cId="3442698307" sldId="2147483777"/>
              <ac:spMk id="89" creationId="{67B9EDF9-023B-A84C-B540-ABBA3E3BA5C0}"/>
            </ac:spMkLst>
          </pc:spChg>
          <pc:spChg chg="mod">
            <ac:chgData name="Falcão Lacerda, Rafael" userId="40181ff7-4694-4c53-a944-7b7d63582359" providerId="ADAL" clId="{3B4D5F63-EA56-4616-8A78-0C43AB7049E7}" dt="2025-12-08T00:26:31.658" v="2784"/>
            <ac:spMkLst>
              <pc:docMk/>
              <pc:sldMasterMk cId="2457110672" sldId="2147483709"/>
              <pc:sldLayoutMk cId="3442698307" sldId="2147483777"/>
              <ac:spMk id="90" creationId="{EA82EDEB-3F03-7A48-BC36-8C7437083F46}"/>
            </ac:spMkLst>
          </pc:spChg>
          <pc:spChg chg="mod">
            <ac:chgData name="Falcão Lacerda, Rafael" userId="40181ff7-4694-4c53-a944-7b7d63582359" providerId="ADAL" clId="{3B4D5F63-EA56-4616-8A78-0C43AB7049E7}" dt="2025-12-08T00:26:31.686" v="2788"/>
            <ac:spMkLst>
              <pc:docMk/>
              <pc:sldMasterMk cId="2457110672" sldId="2147483709"/>
              <pc:sldLayoutMk cId="3442698307" sldId="2147483777"/>
              <ac:spMk id="91" creationId="{8D7A3AD2-4413-D941-B944-D1D235AC6689}"/>
            </ac:spMkLst>
          </pc:spChg>
          <pc:spChg chg="mod">
            <ac:chgData name="Falcão Lacerda, Rafael" userId="40181ff7-4694-4c53-a944-7b7d63582359" providerId="ADAL" clId="{3B4D5F63-EA56-4616-8A78-0C43AB7049E7}" dt="2025-12-08T00:26:31.709" v="2792"/>
            <ac:spMkLst>
              <pc:docMk/>
              <pc:sldMasterMk cId="2457110672" sldId="2147483709"/>
              <pc:sldLayoutMk cId="3442698307" sldId="2147483777"/>
              <ac:spMk id="92" creationId="{F5014509-24B5-6040-8686-31A95601E0B3}"/>
            </ac:spMkLst>
          </pc:spChg>
          <pc:spChg chg="mod">
            <ac:chgData name="Falcão Lacerda, Rafael" userId="40181ff7-4694-4c53-a944-7b7d63582359" providerId="ADAL" clId="{3B4D5F63-EA56-4616-8A78-0C43AB7049E7}" dt="2025-12-08T00:26:31.741" v="2796"/>
            <ac:spMkLst>
              <pc:docMk/>
              <pc:sldMasterMk cId="2457110672" sldId="2147483709"/>
              <pc:sldLayoutMk cId="3442698307" sldId="2147483777"/>
              <ac:spMk id="93" creationId="{02B9D5CB-DA36-724C-A996-6331344816A3}"/>
            </ac:spMkLst>
          </pc:spChg>
          <pc:spChg chg="mod">
            <ac:chgData name="Falcão Lacerda, Rafael" userId="40181ff7-4694-4c53-a944-7b7d63582359" providerId="ADAL" clId="{3B4D5F63-EA56-4616-8A78-0C43AB7049E7}" dt="2025-12-08T00:26:31.539" v="2766"/>
            <ac:spMkLst>
              <pc:docMk/>
              <pc:sldMasterMk cId="2457110672" sldId="2147483709"/>
              <pc:sldLayoutMk cId="3442698307" sldId="2147483777"/>
              <ac:spMk id="94" creationId="{ED51288A-4DF8-0D4F-8BBC-90AE60B66177}"/>
            </ac:spMkLst>
          </pc:spChg>
          <pc:spChg chg="mod">
            <ac:chgData name="Falcão Lacerda, Rafael" userId="40181ff7-4694-4c53-a944-7b7d63582359" providerId="ADAL" clId="{3B4D5F63-EA56-4616-8A78-0C43AB7049E7}" dt="2025-12-08T00:26:31.569" v="2770"/>
            <ac:spMkLst>
              <pc:docMk/>
              <pc:sldMasterMk cId="2457110672" sldId="2147483709"/>
              <pc:sldLayoutMk cId="3442698307" sldId="2147483777"/>
              <ac:spMk id="95" creationId="{B55123CE-2705-2A4C-88D5-5BEECF04606C}"/>
            </ac:spMkLst>
          </pc:spChg>
          <pc:spChg chg="mod">
            <ac:chgData name="Falcão Lacerda, Rafael" userId="40181ff7-4694-4c53-a944-7b7d63582359" providerId="ADAL" clId="{3B4D5F63-EA56-4616-8A78-0C43AB7049E7}" dt="2025-12-08T00:26:31.595" v="2774"/>
            <ac:spMkLst>
              <pc:docMk/>
              <pc:sldMasterMk cId="2457110672" sldId="2147483709"/>
              <pc:sldLayoutMk cId="3442698307" sldId="2147483777"/>
              <ac:spMk id="96" creationId="{95340386-A048-C64F-B858-E874FB9006DC}"/>
            </ac:spMkLst>
          </pc:spChg>
          <pc:spChg chg="mod">
            <ac:chgData name="Falcão Lacerda, Rafael" userId="40181ff7-4694-4c53-a944-7b7d63582359" providerId="ADAL" clId="{3B4D5F63-EA56-4616-8A78-0C43AB7049E7}" dt="2025-12-08T00:26:31.623" v="2778"/>
            <ac:spMkLst>
              <pc:docMk/>
              <pc:sldMasterMk cId="2457110672" sldId="2147483709"/>
              <pc:sldLayoutMk cId="3442698307" sldId="2147483777"/>
              <ac:spMk id="97" creationId="{389D3522-38D0-6A46-B023-28998ECDD0FA}"/>
            </ac:spMkLst>
          </pc:spChg>
          <pc:spChg chg="mod">
            <ac:chgData name="Falcão Lacerda, Rafael" userId="40181ff7-4694-4c53-a944-7b7d63582359" providerId="ADAL" clId="{3B4D5F63-EA56-4616-8A78-0C43AB7049E7}" dt="2025-12-08T00:26:31.643" v="2782"/>
            <ac:spMkLst>
              <pc:docMk/>
              <pc:sldMasterMk cId="2457110672" sldId="2147483709"/>
              <pc:sldLayoutMk cId="3442698307" sldId="2147483777"/>
              <ac:spMk id="98" creationId="{DFF1DA35-A5DD-8E48-B33F-D2FC79AD9AF0}"/>
            </ac:spMkLst>
          </pc:spChg>
          <pc:spChg chg="mod">
            <ac:chgData name="Falcão Lacerda, Rafael" userId="40181ff7-4694-4c53-a944-7b7d63582359" providerId="ADAL" clId="{3B4D5F63-EA56-4616-8A78-0C43AB7049E7}" dt="2025-12-08T00:26:31.667" v="2786"/>
            <ac:spMkLst>
              <pc:docMk/>
              <pc:sldMasterMk cId="2457110672" sldId="2147483709"/>
              <pc:sldLayoutMk cId="3442698307" sldId="2147483777"/>
              <ac:spMk id="99" creationId="{2DD1FA43-908E-6A4A-8D78-19F781C138B2}"/>
            </ac:spMkLst>
          </pc:spChg>
          <pc:spChg chg="mod">
            <ac:chgData name="Falcão Lacerda, Rafael" userId="40181ff7-4694-4c53-a944-7b7d63582359" providerId="ADAL" clId="{3B4D5F63-EA56-4616-8A78-0C43AB7049E7}" dt="2025-12-08T00:26:31.693" v="2790"/>
            <ac:spMkLst>
              <pc:docMk/>
              <pc:sldMasterMk cId="2457110672" sldId="2147483709"/>
              <pc:sldLayoutMk cId="3442698307" sldId="2147483777"/>
              <ac:spMk id="100" creationId="{B42DF6FB-CEA5-344B-B42D-A5B8AF0712F6}"/>
            </ac:spMkLst>
          </pc:spChg>
          <pc:spChg chg="mod">
            <ac:chgData name="Falcão Lacerda, Rafael" userId="40181ff7-4694-4c53-a944-7b7d63582359" providerId="ADAL" clId="{3B4D5F63-EA56-4616-8A78-0C43AB7049E7}" dt="2025-12-08T00:26:31.709" v="2794"/>
            <ac:spMkLst>
              <pc:docMk/>
              <pc:sldMasterMk cId="2457110672" sldId="2147483709"/>
              <pc:sldLayoutMk cId="3442698307" sldId="2147483777"/>
              <ac:spMk id="101" creationId="{DD7618EA-1B4E-9D4F-BE9D-ED39BC26377B}"/>
            </ac:spMkLst>
          </pc:spChg>
          <pc:graphicFrameChg chg="add mod ord modVis">
            <ac:chgData name="Falcão Lacerda, Rafael" userId="40181ff7-4694-4c53-a944-7b7d63582359" providerId="ADAL" clId="{3B4D5F63-EA56-4616-8A78-0C43AB7049E7}" dt="2025-12-08T00:26:49.028" v="9213"/>
            <ac:graphicFrameMkLst>
              <pc:docMk/>
              <pc:sldMasterMk cId="2457110672" sldId="2147483709"/>
              <pc:sldLayoutMk cId="3442698307" sldId="2147483777"/>
              <ac:graphicFrameMk id="9" creationId="{755719E4-D9CA-3ABD-FD5E-05C0FB5213B8}"/>
            </ac:graphicFrameMkLst>
          </pc:graphicFrameChg>
        </pc:sldLayoutChg>
        <pc:sldLayoutChg chg="addSp delSp modSp mod">
          <pc:chgData name="Falcão Lacerda, Rafael" userId="40181ff7-4694-4c53-a944-7b7d63582359" providerId="ADAL" clId="{3B4D5F63-EA56-4616-8A78-0C43AB7049E7}" dt="2025-12-08T12:51:04.537" v="29941" actId="478"/>
          <pc:sldLayoutMkLst>
            <pc:docMk/>
            <pc:sldMasterMk cId="2457110672" sldId="2147483709"/>
            <pc:sldLayoutMk cId="283273341" sldId="2147483778"/>
          </pc:sldLayoutMkLst>
          <pc:spChg chg="add del mod modVis">
            <ac:chgData name="Falcão Lacerda, Rafael" userId="40181ff7-4694-4c53-a944-7b7d63582359" providerId="ADAL" clId="{3B4D5F63-EA56-4616-8A78-0C43AB7049E7}" dt="2025-12-08T00:26:49.285" v="9279"/>
            <ac:spMkLst>
              <pc:docMk/>
              <pc:sldMasterMk cId="2457110672" sldId="2147483709"/>
              <pc:sldLayoutMk cId="283273341" sldId="2147483778"/>
              <ac:spMk id="2" creationId="{4D881718-448D-96F2-67E9-D3EB3D264AB3}"/>
            </ac:spMkLst>
          </pc:spChg>
          <pc:spChg chg="mod">
            <ac:chgData name="Falcão Lacerda, Rafael" userId="40181ff7-4694-4c53-a944-7b7d63582359" providerId="ADAL" clId="{3B4D5F63-EA56-4616-8A78-0C43AB7049E7}" dt="2025-12-08T00:26:43.042" v="6612" actId="948"/>
            <ac:spMkLst>
              <pc:docMk/>
              <pc:sldMasterMk cId="2457110672" sldId="2147483709"/>
              <pc:sldLayoutMk cId="283273341" sldId="2147483778"/>
              <ac:spMk id="3" creationId="{45C11A26-2DA7-C2CB-5CA4-C2226E694332}"/>
            </ac:spMkLst>
          </pc:spChg>
          <pc:spChg chg="mod">
            <ac:chgData name="Falcão Lacerda, Rafael" userId="40181ff7-4694-4c53-a944-7b7d63582359" providerId="ADAL" clId="{3B4D5F63-EA56-4616-8A78-0C43AB7049E7}" dt="2025-12-08T00:26:31.964" v="2850"/>
            <ac:spMkLst>
              <pc:docMk/>
              <pc:sldMasterMk cId="2457110672" sldId="2147483709"/>
              <pc:sldLayoutMk cId="283273341" sldId="2147483778"/>
              <ac:spMk id="6" creationId="{72BD5E18-7BA8-5728-2FF2-876642FDAD1A}"/>
            </ac:spMkLst>
          </pc:spChg>
          <pc:spChg chg="del mod">
            <ac:chgData name="Falcão Lacerda, Rafael" userId="40181ff7-4694-4c53-a944-7b7d63582359" providerId="ADAL" clId="{3B4D5F63-EA56-4616-8A78-0C43AB7049E7}" dt="2025-12-08T12:51:04.537" v="29941" actId="478"/>
            <ac:spMkLst>
              <pc:docMk/>
              <pc:sldMasterMk cId="2457110672" sldId="2147483709"/>
              <pc:sldLayoutMk cId="283273341" sldId="2147483778"/>
              <ac:spMk id="11" creationId="{5EFDEB3F-4743-43EA-A121-ED3CB6054C7F}"/>
            </ac:spMkLst>
          </pc:spChg>
          <pc:graphicFrameChg chg="add mod ord modVis">
            <ac:chgData name="Falcão Lacerda, Rafael" userId="40181ff7-4694-4c53-a944-7b7d63582359" providerId="ADAL" clId="{3B4D5F63-EA56-4616-8A78-0C43AB7049E7}" dt="2025-12-08T00:26:49.309" v="9293"/>
            <ac:graphicFrameMkLst>
              <pc:docMk/>
              <pc:sldMasterMk cId="2457110672" sldId="2147483709"/>
              <pc:sldLayoutMk cId="283273341" sldId="2147483778"/>
              <ac:graphicFrameMk id="4" creationId="{A4E2D7B6-79E3-CC59-74D2-C2E360337861}"/>
            </ac:graphicFrameMkLst>
          </pc:graphicFrameChg>
        </pc:sldLayoutChg>
        <pc:sldLayoutChg chg="addSp delSp modSp mod">
          <pc:chgData name="Falcão Lacerda, Rafael" userId="40181ff7-4694-4c53-a944-7b7d63582359" providerId="ADAL" clId="{3B4D5F63-EA56-4616-8A78-0C43AB7049E7}" dt="2025-12-08T00:26:49.542" v="9341"/>
          <pc:sldLayoutMkLst>
            <pc:docMk/>
            <pc:sldMasterMk cId="2457110672" sldId="2147483709"/>
            <pc:sldLayoutMk cId="3327608351" sldId="2147483779"/>
          </pc:sldLayoutMkLst>
          <pc:spChg chg="mod">
            <ac:chgData name="Falcão Lacerda, Rafael" userId="40181ff7-4694-4c53-a944-7b7d63582359" providerId="ADAL" clId="{3B4D5F63-EA56-4616-8A78-0C43AB7049E7}" dt="2025-12-08T00:26:32.043" v="2872"/>
            <ac:spMkLst>
              <pc:docMk/>
              <pc:sldMasterMk cId="2457110672" sldId="2147483709"/>
              <pc:sldLayoutMk cId="3327608351" sldId="2147483779"/>
              <ac:spMk id="2" creationId="{E013B68F-B365-32C6-C8B6-66516407E205}"/>
            </ac:spMkLst>
          </pc:spChg>
          <pc:spChg chg="mod">
            <ac:chgData name="Falcão Lacerda, Rafael" userId="40181ff7-4694-4c53-a944-7b7d63582359" providerId="ADAL" clId="{3B4D5F63-EA56-4616-8A78-0C43AB7049E7}" dt="2025-12-08T00:26:43.198" v="6672" actId="948"/>
            <ac:spMkLst>
              <pc:docMk/>
              <pc:sldMasterMk cId="2457110672" sldId="2147483709"/>
              <pc:sldLayoutMk cId="3327608351" sldId="2147483779"/>
              <ac:spMk id="3" creationId="{29C6DC0A-3CA3-F5A5-5E70-94036764CF84}"/>
            </ac:spMkLst>
          </pc:spChg>
          <pc:spChg chg="add del mod modVis">
            <ac:chgData name="Falcão Lacerda, Rafael" userId="40181ff7-4694-4c53-a944-7b7d63582359" providerId="ADAL" clId="{3B4D5F63-EA56-4616-8A78-0C43AB7049E7}" dt="2025-12-08T00:26:49.457" v="9327"/>
            <ac:spMkLst>
              <pc:docMk/>
              <pc:sldMasterMk cId="2457110672" sldId="2147483709"/>
              <pc:sldLayoutMk cId="3327608351" sldId="2147483779"/>
              <ac:spMk id="4" creationId="{B38C4116-5A27-AEEA-D73A-0BB856FB12AA}"/>
            </ac:spMkLst>
          </pc:spChg>
          <pc:spChg chg="mod">
            <ac:chgData name="Falcão Lacerda, Rafael" userId="40181ff7-4694-4c53-a944-7b7d63582359" providerId="ADAL" clId="{3B4D5F63-EA56-4616-8A78-0C43AB7049E7}" dt="2025-12-08T00:26:32.037" v="2870"/>
            <ac:spMkLst>
              <pc:docMk/>
              <pc:sldMasterMk cId="2457110672" sldId="2147483709"/>
              <pc:sldLayoutMk cId="3327608351" sldId="2147483779"/>
              <ac:spMk id="6" creationId="{0EC44ACB-E461-9710-1A88-433105BDF5D8}"/>
            </ac:spMkLst>
          </pc:spChg>
          <pc:graphicFrameChg chg="add mod ord modVis">
            <ac:chgData name="Falcão Lacerda, Rafael" userId="40181ff7-4694-4c53-a944-7b7d63582359" providerId="ADAL" clId="{3B4D5F63-EA56-4616-8A78-0C43AB7049E7}" dt="2025-12-08T00:26:49.542" v="9341"/>
            <ac:graphicFrameMkLst>
              <pc:docMk/>
              <pc:sldMasterMk cId="2457110672" sldId="2147483709"/>
              <pc:sldLayoutMk cId="3327608351" sldId="2147483779"/>
              <ac:graphicFrameMk id="5" creationId="{C9FBE142-DFAE-DDDD-D912-BF6E21622854}"/>
            </ac:graphicFrameMkLst>
          </pc:graphicFrameChg>
        </pc:sldLayoutChg>
        <pc:sldLayoutChg chg="addSp delSp modSp mod">
          <pc:chgData name="Falcão Lacerda, Rafael" userId="40181ff7-4694-4c53-a944-7b7d63582359" providerId="ADAL" clId="{3B4D5F63-EA56-4616-8A78-0C43AB7049E7}" dt="2025-12-08T00:26:50.113" v="9501"/>
          <pc:sldLayoutMkLst>
            <pc:docMk/>
            <pc:sldMasterMk cId="2457110672" sldId="2147483709"/>
            <pc:sldLayoutMk cId="2214261507" sldId="2147483781"/>
          </pc:sldLayoutMkLst>
          <pc:spChg chg="add del mod modVis">
            <ac:chgData name="Falcão Lacerda, Rafael" userId="40181ff7-4694-4c53-a944-7b7d63582359" providerId="ADAL" clId="{3B4D5F63-EA56-4616-8A78-0C43AB7049E7}" dt="2025-12-08T00:26:50.075" v="9487"/>
            <ac:spMkLst>
              <pc:docMk/>
              <pc:sldMasterMk cId="2457110672" sldId="2147483709"/>
              <pc:sldLayoutMk cId="2214261507" sldId="2147483781"/>
              <ac:spMk id="2" creationId="{C7A35DD9-0178-9A77-EF1C-DE9BED8F393B}"/>
            </ac:spMkLst>
          </pc:spChg>
          <pc:spChg chg="mod">
            <ac:chgData name="Falcão Lacerda, Rafael" userId="40181ff7-4694-4c53-a944-7b7d63582359" providerId="ADAL" clId="{3B4D5F63-EA56-4616-8A78-0C43AB7049E7}" dt="2025-12-08T00:26:32.708" v="3028"/>
            <ac:spMkLst>
              <pc:docMk/>
              <pc:sldMasterMk cId="2457110672" sldId="2147483709"/>
              <pc:sldLayoutMk cId="2214261507" sldId="2147483781"/>
              <ac:spMk id="3" creationId="{A3A63DC6-F1D4-F48E-63CC-C7FB269035DD}"/>
            </ac:spMkLst>
          </pc:spChg>
          <pc:spChg chg="mod">
            <ac:chgData name="Falcão Lacerda, Rafael" userId="40181ff7-4694-4c53-a944-7b7d63582359" providerId="ADAL" clId="{3B4D5F63-EA56-4616-8A78-0C43AB7049E7}" dt="2025-12-08T00:26:43.700" v="6872" actId="948"/>
            <ac:spMkLst>
              <pc:docMk/>
              <pc:sldMasterMk cId="2457110672" sldId="2147483709"/>
              <pc:sldLayoutMk cId="2214261507" sldId="2147483781"/>
              <ac:spMk id="5" creationId="{4ADD1F44-0234-2D57-4413-4FC6C13C9526}"/>
            </ac:spMkLst>
          </pc:spChg>
          <pc:spChg chg="mod">
            <ac:chgData name="Falcão Lacerda, Rafael" userId="40181ff7-4694-4c53-a944-7b7d63582359" providerId="ADAL" clId="{3B4D5F63-EA56-4616-8A78-0C43AB7049E7}" dt="2025-12-08T00:26:32.708" v="3030"/>
            <ac:spMkLst>
              <pc:docMk/>
              <pc:sldMasterMk cId="2457110672" sldId="2147483709"/>
              <pc:sldLayoutMk cId="2214261507" sldId="2147483781"/>
              <ac:spMk id="11" creationId="{D1F96AC0-D13D-0E71-5754-A36D3204D2CE}"/>
            </ac:spMkLst>
          </pc:spChg>
          <pc:spChg chg="mod">
            <ac:chgData name="Falcão Lacerda, Rafael" userId="40181ff7-4694-4c53-a944-7b7d63582359" providerId="ADAL" clId="{3B4D5F63-EA56-4616-8A78-0C43AB7049E7}" dt="2025-12-08T00:26:32.724" v="3032"/>
            <ac:spMkLst>
              <pc:docMk/>
              <pc:sldMasterMk cId="2457110672" sldId="2147483709"/>
              <pc:sldLayoutMk cId="2214261507" sldId="2147483781"/>
              <ac:spMk id="12" creationId="{32746C65-211F-F944-7DC6-636860898795}"/>
            </ac:spMkLst>
          </pc:spChg>
          <pc:graphicFrameChg chg="add mod ord modVis">
            <ac:chgData name="Falcão Lacerda, Rafael" userId="40181ff7-4694-4c53-a944-7b7d63582359" providerId="ADAL" clId="{3B4D5F63-EA56-4616-8A78-0C43AB7049E7}" dt="2025-12-08T00:26:50.113" v="9501"/>
            <ac:graphicFrameMkLst>
              <pc:docMk/>
              <pc:sldMasterMk cId="2457110672" sldId="2147483709"/>
              <pc:sldLayoutMk cId="2214261507" sldId="2147483781"/>
              <ac:graphicFrameMk id="4" creationId="{9F79E078-C6FD-D4A1-93CC-75DA5BBE6AAD}"/>
            </ac:graphicFrameMkLst>
          </pc:graphicFrameChg>
        </pc:sldLayoutChg>
        <pc:sldLayoutChg chg="addSp delSp modSp mod">
          <pc:chgData name="Falcão Lacerda, Rafael" userId="40181ff7-4694-4c53-a944-7b7d63582359" providerId="ADAL" clId="{3B4D5F63-EA56-4616-8A78-0C43AB7049E7}" dt="2025-12-08T00:26:50.432" v="9581"/>
          <pc:sldLayoutMkLst>
            <pc:docMk/>
            <pc:sldMasterMk cId="2457110672" sldId="2147483709"/>
            <pc:sldLayoutMk cId="281682914" sldId="2147483782"/>
          </pc:sldLayoutMkLst>
          <pc:spChg chg="mod">
            <ac:chgData name="Falcão Lacerda, Rafael" userId="40181ff7-4694-4c53-a944-7b7d63582359" providerId="ADAL" clId="{3B4D5F63-EA56-4616-8A78-0C43AB7049E7}" dt="2025-12-08T00:26:33.025" v="3116"/>
            <ac:spMkLst>
              <pc:docMk/>
              <pc:sldMasterMk cId="2457110672" sldId="2147483709"/>
              <pc:sldLayoutMk cId="281682914" sldId="2147483782"/>
              <ac:spMk id="2" creationId="{76AA3A1C-64F6-5ED3-5870-9290D090DB50}"/>
            </ac:spMkLst>
          </pc:spChg>
          <pc:spChg chg="add del mod modVis">
            <ac:chgData name="Falcão Lacerda, Rafael" userId="40181ff7-4694-4c53-a944-7b7d63582359" providerId="ADAL" clId="{3B4D5F63-EA56-4616-8A78-0C43AB7049E7}" dt="2025-12-08T00:26:50.383" v="9567"/>
            <ac:spMkLst>
              <pc:docMk/>
              <pc:sldMasterMk cId="2457110672" sldId="2147483709"/>
              <pc:sldLayoutMk cId="281682914" sldId="2147483782"/>
              <ac:spMk id="3" creationId="{0692EC4B-CD6E-65D8-B9BD-A53FB9566192}"/>
            </ac:spMkLst>
          </pc:spChg>
          <pc:spChg chg="mod">
            <ac:chgData name="Falcão Lacerda, Rafael" userId="40181ff7-4694-4c53-a944-7b7d63582359" providerId="ADAL" clId="{3B4D5F63-EA56-4616-8A78-0C43AB7049E7}" dt="2025-12-08T00:26:44.013" v="6972" actId="948"/>
            <ac:spMkLst>
              <pc:docMk/>
              <pc:sldMasterMk cId="2457110672" sldId="2147483709"/>
              <pc:sldLayoutMk cId="281682914" sldId="2147483782"/>
              <ac:spMk id="4" creationId="{2E7AEC39-79BA-E7A3-BBD2-6D1623631EAD}"/>
            </ac:spMkLst>
          </pc:spChg>
          <pc:spChg chg="mod">
            <ac:chgData name="Falcão Lacerda, Rafael" userId="40181ff7-4694-4c53-a944-7b7d63582359" providerId="ADAL" clId="{3B4D5F63-EA56-4616-8A78-0C43AB7049E7}" dt="2025-12-08T00:26:33.025" v="3118"/>
            <ac:spMkLst>
              <pc:docMk/>
              <pc:sldMasterMk cId="2457110672" sldId="2147483709"/>
              <pc:sldLayoutMk cId="281682914" sldId="2147483782"/>
              <ac:spMk id="9" creationId="{5D9B6009-93F7-0EA3-7688-ED060527BD22}"/>
            </ac:spMkLst>
          </pc:spChg>
          <pc:spChg chg="mod">
            <ac:chgData name="Falcão Lacerda, Rafael" userId="40181ff7-4694-4c53-a944-7b7d63582359" providerId="ADAL" clId="{3B4D5F63-EA56-4616-8A78-0C43AB7049E7}" dt="2025-12-08T00:26:33.041" v="3122"/>
            <ac:spMkLst>
              <pc:docMk/>
              <pc:sldMasterMk cId="2457110672" sldId="2147483709"/>
              <pc:sldLayoutMk cId="281682914" sldId="2147483782"/>
              <ac:spMk id="12" creationId="{B0AA4D52-B7EF-3A7F-8F6B-EE17D2CD81D7}"/>
            </ac:spMkLst>
          </pc:spChg>
          <pc:spChg chg="mod">
            <ac:chgData name="Falcão Lacerda, Rafael" userId="40181ff7-4694-4c53-a944-7b7d63582359" providerId="ADAL" clId="{3B4D5F63-EA56-4616-8A78-0C43AB7049E7}" dt="2025-12-08T00:26:33.041" v="3120"/>
            <ac:spMkLst>
              <pc:docMk/>
              <pc:sldMasterMk cId="2457110672" sldId="2147483709"/>
              <pc:sldLayoutMk cId="281682914" sldId="2147483782"/>
              <ac:spMk id="14" creationId="{DD884840-889C-7E2B-A21E-B460E6632A5E}"/>
            </ac:spMkLst>
          </pc:spChg>
          <pc:graphicFrameChg chg="add mod ord modVis">
            <ac:chgData name="Falcão Lacerda, Rafael" userId="40181ff7-4694-4c53-a944-7b7d63582359" providerId="ADAL" clId="{3B4D5F63-EA56-4616-8A78-0C43AB7049E7}" dt="2025-12-08T00:26:50.432" v="9581"/>
            <ac:graphicFrameMkLst>
              <pc:docMk/>
              <pc:sldMasterMk cId="2457110672" sldId="2147483709"/>
              <pc:sldLayoutMk cId="281682914" sldId="2147483782"/>
              <ac:graphicFrameMk id="5" creationId="{53F50CA9-6D55-4491-4E93-5AF04F699028}"/>
            </ac:graphicFrameMkLst>
          </pc:graphicFrameChg>
        </pc:sldLayoutChg>
        <pc:sldLayoutChg chg="addSp delSp modSp mod">
          <pc:chgData name="Falcão Lacerda, Rafael" userId="40181ff7-4694-4c53-a944-7b7d63582359" providerId="ADAL" clId="{3B4D5F63-EA56-4616-8A78-0C43AB7049E7}" dt="2025-12-08T00:26:49.876" v="9437"/>
          <pc:sldLayoutMkLst>
            <pc:docMk/>
            <pc:sldMasterMk cId="2457110672" sldId="2147483709"/>
            <pc:sldLayoutMk cId="1646546609" sldId="2147483783"/>
          </pc:sldLayoutMkLst>
          <pc:spChg chg="add del mod modVis">
            <ac:chgData name="Falcão Lacerda, Rafael" userId="40181ff7-4694-4c53-a944-7b7d63582359" providerId="ADAL" clId="{3B4D5F63-EA56-4616-8A78-0C43AB7049E7}" dt="2025-12-08T00:26:49.825" v="9423"/>
            <ac:spMkLst>
              <pc:docMk/>
              <pc:sldMasterMk cId="2457110672" sldId="2147483709"/>
              <pc:sldLayoutMk cId="1646546609" sldId="2147483783"/>
              <ac:spMk id="2" creationId="{2EE795A9-03F3-DE78-FC04-F2A3D4467EF8}"/>
            </ac:spMkLst>
          </pc:spChg>
          <pc:spChg chg="mod">
            <ac:chgData name="Falcão Lacerda, Rafael" userId="40181ff7-4694-4c53-a944-7b7d63582359" providerId="ADAL" clId="{3B4D5F63-EA56-4616-8A78-0C43AB7049E7}" dt="2025-12-08T00:26:32.423" v="2962"/>
            <ac:spMkLst>
              <pc:docMk/>
              <pc:sldMasterMk cId="2457110672" sldId="2147483709"/>
              <pc:sldLayoutMk cId="1646546609" sldId="2147483783"/>
              <ac:spMk id="3" creationId="{4C9BBD74-54FD-481F-B3FD-0CE5318F281F}"/>
            </ac:spMkLst>
          </pc:spChg>
          <pc:spChg chg="mod">
            <ac:chgData name="Falcão Lacerda, Rafael" userId="40181ff7-4694-4c53-a944-7b7d63582359" providerId="ADAL" clId="{3B4D5F63-EA56-4616-8A78-0C43AB7049E7}" dt="2025-12-08T00:26:32.423" v="2964"/>
            <ac:spMkLst>
              <pc:docMk/>
              <pc:sldMasterMk cId="2457110672" sldId="2147483709"/>
              <pc:sldLayoutMk cId="1646546609" sldId="2147483783"/>
              <ac:spMk id="4" creationId="{02BA4C27-1C65-4465-A8B1-ACE92701B4D0}"/>
            </ac:spMkLst>
          </pc:spChg>
          <pc:spChg chg="mod">
            <ac:chgData name="Falcão Lacerda, Rafael" userId="40181ff7-4694-4c53-a944-7b7d63582359" providerId="ADAL" clId="{3B4D5F63-EA56-4616-8A78-0C43AB7049E7}" dt="2025-12-08T00:26:32.407" v="2958"/>
            <ac:spMkLst>
              <pc:docMk/>
              <pc:sldMasterMk cId="2457110672" sldId="2147483709"/>
              <pc:sldLayoutMk cId="1646546609" sldId="2147483783"/>
              <ac:spMk id="5" creationId="{829CD64B-978B-B166-4177-22D54438A49F}"/>
            </ac:spMkLst>
          </pc:spChg>
          <pc:spChg chg="mod">
            <ac:chgData name="Falcão Lacerda, Rafael" userId="40181ff7-4694-4c53-a944-7b7d63582359" providerId="ADAL" clId="{3B4D5F63-EA56-4616-8A78-0C43AB7049E7}" dt="2025-12-08T00:26:43.481" v="6792" actId="948"/>
            <ac:spMkLst>
              <pc:docMk/>
              <pc:sldMasterMk cId="2457110672" sldId="2147483709"/>
              <pc:sldLayoutMk cId="1646546609" sldId="2147483783"/>
              <ac:spMk id="6" creationId="{BE54C0EC-61DC-B59E-7818-7970359D572F}"/>
            </ac:spMkLst>
          </pc:spChg>
          <pc:spChg chg="mod">
            <ac:chgData name="Falcão Lacerda, Rafael" userId="40181ff7-4694-4c53-a944-7b7d63582359" providerId="ADAL" clId="{3B4D5F63-EA56-4616-8A78-0C43AB7049E7}" dt="2025-12-08T00:26:32.423" v="2960"/>
            <ac:spMkLst>
              <pc:docMk/>
              <pc:sldMasterMk cId="2457110672" sldId="2147483709"/>
              <pc:sldLayoutMk cId="1646546609" sldId="2147483783"/>
              <ac:spMk id="19" creationId="{72341109-26F6-4227-8890-EA8EB1C0EBBA}"/>
            </ac:spMkLst>
          </pc:spChg>
          <pc:spChg chg="mod">
            <ac:chgData name="Falcão Lacerda, Rafael" userId="40181ff7-4694-4c53-a944-7b7d63582359" providerId="ADAL" clId="{3B4D5F63-EA56-4616-8A78-0C43AB7049E7}" dt="2025-12-08T00:26:32.457" v="2968"/>
            <ac:spMkLst>
              <pc:docMk/>
              <pc:sldMasterMk cId="2457110672" sldId="2147483709"/>
              <pc:sldLayoutMk cId="1646546609" sldId="2147483783"/>
              <ac:spMk id="22" creationId="{65274935-A310-47A1-ACB7-150C9A4CCBD8}"/>
            </ac:spMkLst>
          </pc:spChg>
          <pc:spChg chg="mod">
            <ac:chgData name="Falcão Lacerda, Rafael" userId="40181ff7-4694-4c53-a944-7b7d63582359" providerId="ADAL" clId="{3B4D5F63-EA56-4616-8A78-0C43AB7049E7}" dt="2025-12-08T00:26:32.459" v="2970"/>
            <ac:spMkLst>
              <pc:docMk/>
              <pc:sldMasterMk cId="2457110672" sldId="2147483709"/>
              <pc:sldLayoutMk cId="1646546609" sldId="2147483783"/>
              <ac:spMk id="23" creationId="{DB26F5FE-8482-4C00-99C1-3FC3BEEE82C8}"/>
            </ac:spMkLst>
          </pc:spChg>
          <pc:spChg chg="mod">
            <ac:chgData name="Falcão Lacerda, Rafael" userId="40181ff7-4694-4c53-a944-7b7d63582359" providerId="ADAL" clId="{3B4D5F63-EA56-4616-8A78-0C43AB7049E7}" dt="2025-12-08T00:26:32.439" v="2966"/>
            <ac:spMkLst>
              <pc:docMk/>
              <pc:sldMasterMk cId="2457110672" sldId="2147483709"/>
              <pc:sldLayoutMk cId="1646546609" sldId="2147483783"/>
              <ac:spMk id="24" creationId="{6F91AD4F-1A63-495D-A741-37A4A9D585AA}"/>
            </ac:spMkLst>
          </pc:spChg>
          <pc:spChg chg="mod">
            <ac:chgData name="Falcão Lacerda, Rafael" userId="40181ff7-4694-4c53-a944-7b7d63582359" providerId="ADAL" clId="{3B4D5F63-EA56-4616-8A78-0C43AB7049E7}" dt="2025-12-08T00:26:32.470" v="2974"/>
            <ac:spMkLst>
              <pc:docMk/>
              <pc:sldMasterMk cId="2457110672" sldId="2147483709"/>
              <pc:sldLayoutMk cId="1646546609" sldId="2147483783"/>
              <ac:spMk id="25" creationId="{9B33E71D-D540-47A3-B3BA-2FFF7F53FF11}"/>
            </ac:spMkLst>
          </pc:spChg>
          <pc:spChg chg="mod">
            <ac:chgData name="Falcão Lacerda, Rafael" userId="40181ff7-4694-4c53-a944-7b7d63582359" providerId="ADAL" clId="{3B4D5F63-EA56-4616-8A78-0C43AB7049E7}" dt="2025-12-08T00:26:32.487" v="2976"/>
            <ac:spMkLst>
              <pc:docMk/>
              <pc:sldMasterMk cId="2457110672" sldId="2147483709"/>
              <pc:sldLayoutMk cId="1646546609" sldId="2147483783"/>
              <ac:spMk id="26" creationId="{CBA38EFA-DE92-462D-AAF3-DE465A478568}"/>
            </ac:spMkLst>
          </pc:spChg>
          <pc:spChg chg="mod">
            <ac:chgData name="Falcão Lacerda, Rafael" userId="40181ff7-4694-4c53-a944-7b7d63582359" providerId="ADAL" clId="{3B4D5F63-EA56-4616-8A78-0C43AB7049E7}" dt="2025-12-08T00:26:32.470" v="2972"/>
            <ac:spMkLst>
              <pc:docMk/>
              <pc:sldMasterMk cId="2457110672" sldId="2147483709"/>
              <pc:sldLayoutMk cId="1646546609" sldId="2147483783"/>
              <ac:spMk id="27" creationId="{93F1B026-22B9-4DC5-B7C8-C26593A206F4}"/>
            </ac:spMkLst>
          </pc:spChg>
          <pc:graphicFrameChg chg="add mod ord modVis">
            <ac:chgData name="Falcão Lacerda, Rafael" userId="40181ff7-4694-4c53-a944-7b7d63582359" providerId="ADAL" clId="{3B4D5F63-EA56-4616-8A78-0C43AB7049E7}" dt="2025-12-08T00:26:49.876" v="9437"/>
            <ac:graphicFrameMkLst>
              <pc:docMk/>
              <pc:sldMasterMk cId="2457110672" sldId="2147483709"/>
              <pc:sldLayoutMk cId="1646546609" sldId="2147483783"/>
              <ac:graphicFrameMk id="7" creationId="{08FC6F24-0297-D43D-F708-D69160FC6CF6}"/>
            </ac:graphicFrameMkLst>
          </pc:graphicFrameChg>
        </pc:sldLayoutChg>
        <pc:sldLayoutChg chg="addSp delSp modSp mod">
          <pc:chgData name="Falcão Lacerda, Rafael" userId="40181ff7-4694-4c53-a944-7b7d63582359" providerId="ADAL" clId="{3B4D5F63-EA56-4616-8A78-0C43AB7049E7}" dt="2025-12-08T00:26:50.068" v="9485"/>
          <pc:sldLayoutMkLst>
            <pc:docMk/>
            <pc:sldMasterMk cId="2457110672" sldId="2147483709"/>
            <pc:sldLayoutMk cId="179670474" sldId="2147483784"/>
          </pc:sldLayoutMkLst>
          <pc:spChg chg="add del mod modVis">
            <ac:chgData name="Falcão Lacerda, Rafael" userId="40181ff7-4694-4c53-a944-7b7d63582359" providerId="ADAL" clId="{3B4D5F63-EA56-4616-8A78-0C43AB7049E7}" dt="2025-12-08T00:26:49.990" v="9471"/>
            <ac:spMkLst>
              <pc:docMk/>
              <pc:sldMasterMk cId="2457110672" sldId="2147483709"/>
              <pc:sldLayoutMk cId="179670474" sldId="2147483784"/>
              <ac:spMk id="2" creationId="{1C518D92-8570-65A7-C6CB-AD8C82F41B75}"/>
            </ac:spMkLst>
          </pc:spChg>
          <pc:spChg chg="mod">
            <ac:chgData name="Falcão Lacerda, Rafael" userId="40181ff7-4694-4c53-a944-7b7d63582359" providerId="ADAL" clId="{3B4D5F63-EA56-4616-8A78-0C43AB7049E7}" dt="2025-12-08T00:26:32.596" v="3004"/>
            <ac:spMkLst>
              <pc:docMk/>
              <pc:sldMasterMk cId="2457110672" sldId="2147483709"/>
              <pc:sldLayoutMk cId="179670474" sldId="2147483784"/>
              <ac:spMk id="3" creationId="{4C9BBD74-54FD-481F-B3FD-0CE5318F281F}"/>
            </ac:spMkLst>
          </pc:spChg>
          <pc:spChg chg="mod">
            <ac:chgData name="Falcão Lacerda, Rafael" userId="40181ff7-4694-4c53-a944-7b7d63582359" providerId="ADAL" clId="{3B4D5F63-EA56-4616-8A78-0C43AB7049E7}" dt="2025-12-08T00:26:32.581" v="3000"/>
            <ac:spMkLst>
              <pc:docMk/>
              <pc:sldMasterMk cId="2457110672" sldId="2147483709"/>
              <pc:sldLayoutMk cId="179670474" sldId="2147483784"/>
              <ac:spMk id="5" creationId="{96979C23-8BE9-7323-535F-C9F3337F59ED}"/>
            </ac:spMkLst>
          </pc:spChg>
          <pc:spChg chg="mod">
            <ac:chgData name="Falcão Lacerda, Rafael" userId="40181ff7-4694-4c53-a944-7b7d63582359" providerId="ADAL" clId="{3B4D5F63-EA56-4616-8A78-0C43AB7049E7}" dt="2025-12-08T00:26:43.637" v="6852" actId="948"/>
            <ac:spMkLst>
              <pc:docMk/>
              <pc:sldMasterMk cId="2457110672" sldId="2147483709"/>
              <pc:sldLayoutMk cId="179670474" sldId="2147483784"/>
              <ac:spMk id="6" creationId="{ADE0ACE9-87AB-DC33-60CB-7857735C0CCC}"/>
            </ac:spMkLst>
          </pc:spChg>
          <pc:spChg chg="mod">
            <ac:chgData name="Falcão Lacerda, Rafael" userId="40181ff7-4694-4c53-a944-7b7d63582359" providerId="ADAL" clId="{3B4D5F63-EA56-4616-8A78-0C43AB7049E7}" dt="2025-12-08T00:26:32.621" v="3008"/>
            <ac:spMkLst>
              <pc:docMk/>
              <pc:sldMasterMk cId="2457110672" sldId="2147483709"/>
              <pc:sldLayoutMk cId="179670474" sldId="2147483784"/>
              <ac:spMk id="10" creationId="{7B5BFA1F-5247-B9BC-754B-6AAF3E525A0B}"/>
            </ac:spMkLst>
          </pc:spChg>
          <pc:spChg chg="mod">
            <ac:chgData name="Falcão Lacerda, Rafael" userId="40181ff7-4694-4c53-a944-7b7d63582359" providerId="ADAL" clId="{3B4D5F63-EA56-4616-8A78-0C43AB7049E7}" dt="2025-12-08T00:26:32.632" v="3010"/>
            <ac:spMkLst>
              <pc:docMk/>
              <pc:sldMasterMk cId="2457110672" sldId="2147483709"/>
              <pc:sldLayoutMk cId="179670474" sldId="2147483784"/>
              <ac:spMk id="11" creationId="{097F6A55-E927-3DDC-C6BC-9E4F7D33849E}"/>
            </ac:spMkLst>
          </pc:spChg>
          <pc:spChg chg="mod">
            <ac:chgData name="Falcão Lacerda, Rafael" userId="40181ff7-4694-4c53-a944-7b7d63582359" providerId="ADAL" clId="{3B4D5F63-EA56-4616-8A78-0C43AB7049E7}" dt="2025-12-08T00:26:32.639" v="3012"/>
            <ac:spMkLst>
              <pc:docMk/>
              <pc:sldMasterMk cId="2457110672" sldId="2147483709"/>
              <pc:sldLayoutMk cId="179670474" sldId="2147483784"/>
              <ac:spMk id="12" creationId="{E79F7D08-14C4-9387-451B-BF223111972A}"/>
            </ac:spMkLst>
          </pc:spChg>
          <pc:spChg chg="mod">
            <ac:chgData name="Falcão Lacerda, Rafael" userId="40181ff7-4694-4c53-a944-7b7d63582359" providerId="ADAL" clId="{3B4D5F63-EA56-4616-8A78-0C43AB7049E7}" dt="2025-12-08T00:26:32.612" v="3006"/>
            <ac:spMkLst>
              <pc:docMk/>
              <pc:sldMasterMk cId="2457110672" sldId="2147483709"/>
              <pc:sldLayoutMk cId="179670474" sldId="2147483784"/>
              <ac:spMk id="16" creationId="{3BDC2B1A-D3A0-C04B-AEDB-0389C637EF1A}"/>
            </ac:spMkLst>
          </pc:spChg>
          <pc:spChg chg="mod">
            <ac:chgData name="Falcão Lacerda, Rafael" userId="40181ff7-4694-4c53-a944-7b7d63582359" providerId="ADAL" clId="{3B4D5F63-EA56-4616-8A78-0C43AB7049E7}" dt="2025-12-08T00:26:32.596" v="3002"/>
            <ac:spMkLst>
              <pc:docMk/>
              <pc:sldMasterMk cId="2457110672" sldId="2147483709"/>
              <pc:sldLayoutMk cId="179670474" sldId="2147483784"/>
              <ac:spMk id="19" creationId="{72341109-26F6-4227-8890-EA8EB1C0EBBA}"/>
            </ac:spMkLst>
          </pc:spChg>
          <pc:spChg chg="mod">
            <ac:chgData name="Falcão Lacerda, Rafael" userId="40181ff7-4694-4c53-a944-7b7d63582359" providerId="ADAL" clId="{3B4D5F63-EA56-4616-8A78-0C43AB7049E7}" dt="2025-12-08T00:26:32.645" v="3014"/>
            <ac:spMkLst>
              <pc:docMk/>
              <pc:sldMasterMk cId="2457110672" sldId="2147483709"/>
              <pc:sldLayoutMk cId="179670474" sldId="2147483784"/>
              <ac:spMk id="20" creationId="{96A48BF3-8AA9-50DC-49B0-265A2B870BDA}"/>
            </ac:spMkLst>
          </pc:spChg>
          <pc:spChg chg="mod">
            <ac:chgData name="Falcão Lacerda, Rafael" userId="40181ff7-4694-4c53-a944-7b7d63582359" providerId="ADAL" clId="{3B4D5F63-EA56-4616-8A78-0C43AB7049E7}" dt="2025-12-08T00:26:32.645" v="3016"/>
            <ac:spMkLst>
              <pc:docMk/>
              <pc:sldMasterMk cId="2457110672" sldId="2147483709"/>
              <pc:sldLayoutMk cId="179670474" sldId="2147483784"/>
              <ac:spMk id="23" creationId="{6CA89A9C-8BF9-8CDF-3629-2C1B8ED659BD}"/>
            </ac:spMkLst>
          </pc:spChg>
          <pc:spChg chg="mod">
            <ac:chgData name="Falcão Lacerda, Rafael" userId="40181ff7-4694-4c53-a944-7b7d63582359" providerId="ADAL" clId="{3B4D5F63-EA56-4616-8A78-0C43AB7049E7}" dt="2025-12-08T00:26:32.661" v="3018"/>
            <ac:spMkLst>
              <pc:docMk/>
              <pc:sldMasterMk cId="2457110672" sldId="2147483709"/>
              <pc:sldLayoutMk cId="179670474" sldId="2147483784"/>
              <ac:spMk id="26" creationId="{AD7E4C39-2249-402B-D65E-2FB4E6A324A7}"/>
            </ac:spMkLst>
          </pc:spChg>
          <pc:spChg chg="mod">
            <ac:chgData name="Falcão Lacerda, Rafael" userId="40181ff7-4694-4c53-a944-7b7d63582359" providerId="ADAL" clId="{3B4D5F63-EA56-4616-8A78-0C43AB7049E7}" dt="2025-12-08T00:26:32.676" v="3020"/>
            <ac:spMkLst>
              <pc:docMk/>
              <pc:sldMasterMk cId="2457110672" sldId="2147483709"/>
              <pc:sldLayoutMk cId="179670474" sldId="2147483784"/>
              <ac:spMk id="34" creationId="{DC7DFE68-FFE1-E798-3629-CF0323B2195E}"/>
            </ac:spMkLst>
          </pc:spChg>
          <pc:spChg chg="mod">
            <ac:chgData name="Falcão Lacerda, Rafael" userId="40181ff7-4694-4c53-a944-7b7d63582359" providerId="ADAL" clId="{3B4D5F63-EA56-4616-8A78-0C43AB7049E7}" dt="2025-12-08T00:26:32.676" v="3022"/>
            <ac:spMkLst>
              <pc:docMk/>
              <pc:sldMasterMk cId="2457110672" sldId="2147483709"/>
              <pc:sldLayoutMk cId="179670474" sldId="2147483784"/>
              <ac:spMk id="35" creationId="{0A5C4BB7-F326-497E-84F9-02B889C225A4}"/>
            </ac:spMkLst>
          </pc:spChg>
          <pc:spChg chg="mod">
            <ac:chgData name="Falcão Lacerda, Rafael" userId="40181ff7-4694-4c53-a944-7b7d63582359" providerId="ADAL" clId="{3B4D5F63-EA56-4616-8A78-0C43AB7049E7}" dt="2025-12-08T00:26:32.692" v="3024"/>
            <ac:spMkLst>
              <pc:docMk/>
              <pc:sldMasterMk cId="2457110672" sldId="2147483709"/>
              <pc:sldLayoutMk cId="179670474" sldId="2147483784"/>
              <ac:spMk id="36" creationId="{D4259B04-F910-6FD9-9F42-BCED33ECAEA9}"/>
            </ac:spMkLst>
          </pc:spChg>
          <pc:graphicFrameChg chg="add mod ord modVis">
            <ac:chgData name="Falcão Lacerda, Rafael" userId="40181ff7-4694-4c53-a944-7b7d63582359" providerId="ADAL" clId="{3B4D5F63-EA56-4616-8A78-0C43AB7049E7}" dt="2025-12-08T00:26:50.068" v="9485"/>
            <ac:graphicFrameMkLst>
              <pc:docMk/>
              <pc:sldMasterMk cId="2457110672" sldId="2147483709"/>
              <pc:sldLayoutMk cId="179670474" sldId="2147483784"/>
              <ac:graphicFrameMk id="4" creationId="{5E87D112-00DD-0145-FABA-2C8D2AC6DB44}"/>
            </ac:graphicFrameMkLst>
          </pc:graphicFrameChg>
        </pc:sldLayoutChg>
        <pc:sldLayoutChg chg="addSp delSp modSp mod">
          <pc:chgData name="Falcão Lacerda, Rafael" userId="40181ff7-4694-4c53-a944-7b7d63582359" providerId="ADAL" clId="{3B4D5F63-EA56-4616-8A78-0C43AB7049E7}" dt="2025-12-08T00:26:50.794" v="9693"/>
          <pc:sldLayoutMkLst>
            <pc:docMk/>
            <pc:sldMasterMk cId="2457110672" sldId="2147483709"/>
            <pc:sldLayoutMk cId="2209298965" sldId="2147483786"/>
          </pc:sldLayoutMkLst>
          <pc:spChg chg="add del mod modVis">
            <ac:chgData name="Falcão Lacerda, Rafael" userId="40181ff7-4694-4c53-a944-7b7d63582359" providerId="ADAL" clId="{3B4D5F63-EA56-4616-8A78-0C43AB7049E7}" dt="2025-12-08T00:26:50.747" v="9679"/>
            <ac:spMkLst>
              <pc:docMk/>
              <pc:sldMasterMk cId="2457110672" sldId="2147483709"/>
              <pc:sldLayoutMk cId="2209298965" sldId="2147483786"/>
              <ac:spMk id="2" creationId="{36E4E2A6-057A-89D4-4FF2-37678B1CDEF9}"/>
            </ac:spMkLst>
          </pc:spChg>
          <pc:spChg chg="mod">
            <ac:chgData name="Falcão Lacerda, Rafael" userId="40181ff7-4694-4c53-a944-7b7d63582359" providerId="ADAL" clId="{3B4D5F63-EA56-4616-8A78-0C43AB7049E7}" dt="2025-12-08T00:26:33.563" v="3218"/>
            <ac:spMkLst>
              <pc:docMk/>
              <pc:sldMasterMk cId="2457110672" sldId="2147483709"/>
              <pc:sldLayoutMk cId="2209298965" sldId="2147483786"/>
              <ac:spMk id="3" creationId="{E190AA3D-F653-7DE3-E814-C735080B2FC6}"/>
            </ac:spMkLst>
          </pc:spChg>
          <pc:spChg chg="mod">
            <ac:chgData name="Falcão Lacerda, Rafael" userId="40181ff7-4694-4c53-a944-7b7d63582359" providerId="ADAL" clId="{3B4D5F63-EA56-4616-8A78-0C43AB7049E7}" dt="2025-12-08T00:26:33.563" v="3220"/>
            <ac:spMkLst>
              <pc:docMk/>
              <pc:sldMasterMk cId="2457110672" sldId="2147483709"/>
              <pc:sldLayoutMk cId="2209298965" sldId="2147483786"/>
              <ac:spMk id="4" creationId="{6845C65E-741B-B706-0B82-1C81A0F6B5D9}"/>
            </ac:spMkLst>
          </pc:spChg>
          <pc:spChg chg="mod">
            <ac:chgData name="Falcão Lacerda, Rafael" userId="40181ff7-4694-4c53-a944-7b7d63582359" providerId="ADAL" clId="{3B4D5F63-EA56-4616-8A78-0C43AB7049E7}" dt="2025-12-08T00:26:33.595" v="3226"/>
            <ac:spMkLst>
              <pc:docMk/>
              <pc:sldMasterMk cId="2457110672" sldId="2147483709"/>
              <pc:sldLayoutMk cId="2209298965" sldId="2147483786"/>
              <ac:spMk id="5" creationId="{61017757-DC7D-283B-40ED-71A3ADDFA6E7}"/>
            </ac:spMkLst>
          </pc:spChg>
          <pc:spChg chg="mod">
            <ac:chgData name="Falcão Lacerda, Rafael" userId="40181ff7-4694-4c53-a944-7b7d63582359" providerId="ADAL" clId="{3B4D5F63-EA56-4616-8A78-0C43AB7049E7}" dt="2025-12-08T00:26:33.579" v="3222"/>
            <ac:spMkLst>
              <pc:docMk/>
              <pc:sldMasterMk cId="2457110672" sldId="2147483709"/>
              <pc:sldLayoutMk cId="2209298965" sldId="2147483786"/>
              <ac:spMk id="6" creationId="{820C257B-A255-A185-7414-40904B81A8DC}"/>
            </ac:spMkLst>
          </pc:spChg>
          <pc:spChg chg="mod">
            <ac:chgData name="Falcão Lacerda, Rafael" userId="40181ff7-4694-4c53-a944-7b7d63582359" providerId="ADAL" clId="{3B4D5F63-EA56-4616-8A78-0C43AB7049E7}" dt="2025-12-08T00:26:33.579" v="3224"/>
            <ac:spMkLst>
              <pc:docMk/>
              <pc:sldMasterMk cId="2457110672" sldId="2147483709"/>
              <pc:sldLayoutMk cId="2209298965" sldId="2147483786"/>
              <ac:spMk id="7" creationId="{46CCAA45-3EAB-F22C-1634-630066DF8C20}"/>
            </ac:spMkLst>
          </pc:spChg>
          <pc:spChg chg="mod">
            <ac:chgData name="Falcão Lacerda, Rafael" userId="40181ff7-4694-4c53-a944-7b7d63582359" providerId="ADAL" clId="{3B4D5F63-EA56-4616-8A78-0C43AB7049E7}" dt="2025-12-08T00:26:44.418" v="7112" actId="948"/>
            <ac:spMkLst>
              <pc:docMk/>
              <pc:sldMasterMk cId="2457110672" sldId="2147483709"/>
              <pc:sldLayoutMk cId="2209298965" sldId="2147483786"/>
              <ac:spMk id="8" creationId="{31352EF7-C8C2-5E64-698B-A2C388CB7F7C}"/>
            </ac:spMkLst>
          </pc:spChg>
          <pc:spChg chg="mod">
            <ac:chgData name="Falcão Lacerda, Rafael" userId="40181ff7-4694-4c53-a944-7b7d63582359" providerId="ADAL" clId="{3B4D5F63-EA56-4616-8A78-0C43AB7049E7}" dt="2025-12-08T00:26:33.517" v="3210"/>
            <ac:spMkLst>
              <pc:docMk/>
              <pc:sldMasterMk cId="2457110672" sldId="2147483709"/>
              <pc:sldLayoutMk cId="2209298965" sldId="2147483786"/>
              <ac:spMk id="21" creationId="{D57647B7-79D1-0A4B-BE19-EB3D7E56204A}"/>
            </ac:spMkLst>
          </pc:spChg>
          <pc:spChg chg="mod">
            <ac:chgData name="Falcão Lacerda, Rafael" userId="40181ff7-4694-4c53-a944-7b7d63582359" providerId="ADAL" clId="{3B4D5F63-EA56-4616-8A78-0C43AB7049E7}" dt="2025-12-08T00:26:33.532" v="3212"/>
            <ac:spMkLst>
              <pc:docMk/>
              <pc:sldMasterMk cId="2457110672" sldId="2147483709"/>
              <pc:sldLayoutMk cId="2209298965" sldId="2147483786"/>
              <ac:spMk id="46" creationId="{25DB0B2A-9775-46B0-9A40-F75EBFA4B45C}"/>
            </ac:spMkLst>
          </pc:spChg>
          <pc:spChg chg="mod">
            <ac:chgData name="Falcão Lacerda, Rafael" userId="40181ff7-4694-4c53-a944-7b7d63582359" providerId="ADAL" clId="{3B4D5F63-EA56-4616-8A78-0C43AB7049E7}" dt="2025-12-08T00:26:33.532" v="3214"/>
            <ac:spMkLst>
              <pc:docMk/>
              <pc:sldMasterMk cId="2457110672" sldId="2147483709"/>
              <pc:sldLayoutMk cId="2209298965" sldId="2147483786"/>
              <ac:spMk id="47" creationId="{F83F6B5F-EAE7-44DA-BD77-6D66865CEB92}"/>
            </ac:spMkLst>
          </pc:spChg>
          <pc:spChg chg="mod">
            <ac:chgData name="Falcão Lacerda, Rafael" userId="40181ff7-4694-4c53-a944-7b7d63582359" providerId="ADAL" clId="{3B4D5F63-EA56-4616-8A78-0C43AB7049E7}" dt="2025-12-08T00:26:33.548" v="3216"/>
            <ac:spMkLst>
              <pc:docMk/>
              <pc:sldMasterMk cId="2457110672" sldId="2147483709"/>
              <pc:sldLayoutMk cId="2209298965" sldId="2147483786"/>
              <ac:spMk id="48" creationId="{AD8EF41C-E978-4139-80A4-73605C41EA35}"/>
            </ac:spMkLst>
          </pc:spChg>
          <pc:graphicFrameChg chg="add mod ord modVis">
            <ac:chgData name="Falcão Lacerda, Rafael" userId="40181ff7-4694-4c53-a944-7b7d63582359" providerId="ADAL" clId="{3B4D5F63-EA56-4616-8A78-0C43AB7049E7}" dt="2025-12-08T00:26:50.794" v="9693"/>
            <ac:graphicFrameMkLst>
              <pc:docMk/>
              <pc:sldMasterMk cId="2457110672" sldId="2147483709"/>
              <pc:sldLayoutMk cId="2209298965" sldId="2147483786"/>
              <ac:graphicFrameMk id="9" creationId="{8BC0A3C0-1220-6D10-BBF3-4C9642698305}"/>
            </ac:graphicFrameMkLst>
          </pc:graphicFrameChg>
        </pc:sldLayoutChg>
        <pc:sldLayoutChg chg="addSp delSp modSp mod">
          <pc:chgData name="Falcão Lacerda, Rafael" userId="40181ff7-4694-4c53-a944-7b7d63582359" providerId="ADAL" clId="{3B4D5F63-EA56-4616-8A78-0C43AB7049E7}" dt="2025-12-08T00:26:50.730" v="9677"/>
          <pc:sldLayoutMkLst>
            <pc:docMk/>
            <pc:sldMasterMk cId="2457110672" sldId="2147483709"/>
            <pc:sldLayoutMk cId="3070580610" sldId="2147483787"/>
          </pc:sldLayoutMkLst>
          <pc:spChg chg="add del mod modVis">
            <ac:chgData name="Falcão Lacerda, Rafael" userId="40181ff7-4694-4c53-a944-7b7d63582359" providerId="ADAL" clId="{3B4D5F63-EA56-4616-8A78-0C43AB7049E7}" dt="2025-12-08T00:26:50.697" v="9663"/>
            <ac:spMkLst>
              <pc:docMk/>
              <pc:sldMasterMk cId="2457110672" sldId="2147483709"/>
              <pc:sldLayoutMk cId="3070580610" sldId="2147483787"/>
              <ac:spMk id="2" creationId="{F97C5648-3861-7D3B-70D5-3918A9322A61}"/>
            </ac:spMkLst>
          </pc:spChg>
          <pc:spChg chg="mod">
            <ac:chgData name="Falcão Lacerda, Rafael" userId="40181ff7-4694-4c53-a944-7b7d63582359" providerId="ADAL" clId="{3B4D5F63-EA56-4616-8A78-0C43AB7049E7}" dt="2025-12-08T00:26:33.342" v="3182"/>
            <ac:spMkLst>
              <pc:docMk/>
              <pc:sldMasterMk cId="2457110672" sldId="2147483709"/>
              <pc:sldLayoutMk cId="3070580610" sldId="2147483787"/>
              <ac:spMk id="3" creationId="{BE8934D7-8F0E-DAC2-009E-72AA89D1034C}"/>
            </ac:spMkLst>
          </pc:spChg>
          <pc:spChg chg="mod">
            <ac:chgData name="Falcão Lacerda, Rafael" userId="40181ff7-4694-4c53-a944-7b7d63582359" providerId="ADAL" clId="{3B4D5F63-EA56-4616-8A78-0C43AB7049E7}" dt="2025-12-08T00:26:33.358" v="3184"/>
            <ac:spMkLst>
              <pc:docMk/>
              <pc:sldMasterMk cId="2457110672" sldId="2147483709"/>
              <pc:sldLayoutMk cId="3070580610" sldId="2147483787"/>
              <ac:spMk id="4" creationId="{66FFCC06-23AF-63BD-C570-7D17CA07D430}"/>
            </ac:spMkLst>
          </pc:spChg>
          <pc:spChg chg="mod">
            <ac:chgData name="Falcão Lacerda, Rafael" userId="40181ff7-4694-4c53-a944-7b7d63582359" providerId="ADAL" clId="{3B4D5F63-EA56-4616-8A78-0C43AB7049E7}" dt="2025-12-08T00:26:33.374" v="3186"/>
            <ac:spMkLst>
              <pc:docMk/>
              <pc:sldMasterMk cId="2457110672" sldId="2147483709"/>
              <pc:sldLayoutMk cId="3070580610" sldId="2147483787"/>
              <ac:spMk id="6" creationId="{12A42FC0-DC57-2DAF-9A2D-A7CC2A4D2438}"/>
            </ac:spMkLst>
          </pc:spChg>
          <pc:spChg chg="mod">
            <ac:chgData name="Falcão Lacerda, Rafael" userId="40181ff7-4694-4c53-a944-7b7d63582359" providerId="ADAL" clId="{3B4D5F63-EA56-4616-8A78-0C43AB7049E7}" dt="2025-12-08T00:26:33.391" v="3188"/>
            <ac:spMkLst>
              <pc:docMk/>
              <pc:sldMasterMk cId="2457110672" sldId="2147483709"/>
              <pc:sldLayoutMk cId="3070580610" sldId="2147483787"/>
              <ac:spMk id="7" creationId="{75D1459B-043F-093D-F414-47A4829412AC}"/>
            </ac:spMkLst>
          </pc:spChg>
          <pc:spChg chg="mod">
            <ac:chgData name="Falcão Lacerda, Rafael" userId="40181ff7-4694-4c53-a944-7b7d63582359" providerId="ADAL" clId="{3B4D5F63-EA56-4616-8A78-0C43AB7049E7}" dt="2025-12-08T00:26:33.406" v="3190"/>
            <ac:spMkLst>
              <pc:docMk/>
              <pc:sldMasterMk cId="2457110672" sldId="2147483709"/>
              <pc:sldLayoutMk cId="3070580610" sldId="2147483787"/>
              <ac:spMk id="8" creationId="{F83C65DB-7D3F-C47F-0688-6ED36B4BC359}"/>
            </ac:spMkLst>
          </pc:spChg>
          <pc:spChg chg="mod">
            <ac:chgData name="Falcão Lacerda, Rafael" userId="40181ff7-4694-4c53-a944-7b7d63582359" providerId="ADAL" clId="{3B4D5F63-EA56-4616-8A78-0C43AB7049E7}" dt="2025-12-08T00:26:33.433" v="3192"/>
            <ac:spMkLst>
              <pc:docMk/>
              <pc:sldMasterMk cId="2457110672" sldId="2147483709"/>
              <pc:sldLayoutMk cId="3070580610" sldId="2147483787"/>
              <ac:spMk id="9" creationId="{4C9ABC01-5EC3-7241-7C4A-88F421331E70}"/>
            </ac:spMkLst>
          </pc:spChg>
          <pc:spChg chg="mod">
            <ac:chgData name="Falcão Lacerda, Rafael" userId="40181ff7-4694-4c53-a944-7b7d63582359" providerId="ADAL" clId="{3B4D5F63-EA56-4616-8A78-0C43AB7049E7}" dt="2025-12-08T00:26:33.489" v="3206"/>
            <ac:spMkLst>
              <pc:docMk/>
              <pc:sldMasterMk cId="2457110672" sldId="2147483709"/>
              <pc:sldLayoutMk cId="3070580610" sldId="2147483787"/>
              <ac:spMk id="11" creationId="{B67959CF-959A-6AC4-94D1-25F08AB1C4FC}"/>
            </ac:spMkLst>
          </pc:spChg>
          <pc:spChg chg="mod">
            <ac:chgData name="Falcão Lacerda, Rafael" userId="40181ff7-4694-4c53-a944-7b7d63582359" providerId="ADAL" clId="{3B4D5F63-EA56-4616-8A78-0C43AB7049E7}" dt="2025-12-08T00:26:44.357" v="7092" actId="948"/>
            <ac:spMkLst>
              <pc:docMk/>
              <pc:sldMasterMk cId="2457110672" sldId="2147483709"/>
              <pc:sldLayoutMk cId="3070580610" sldId="2147483787"/>
              <ac:spMk id="12" creationId="{BC12817E-BFFB-996F-0414-D71850F8BB8D}"/>
            </ac:spMkLst>
          </pc:spChg>
          <pc:spChg chg="mod">
            <ac:chgData name="Falcão Lacerda, Rafael" userId="40181ff7-4694-4c53-a944-7b7d63582359" providerId="ADAL" clId="{3B4D5F63-EA56-4616-8A78-0C43AB7049E7}" dt="2025-12-08T00:26:33.437" v="3194"/>
            <ac:spMkLst>
              <pc:docMk/>
              <pc:sldMasterMk cId="2457110672" sldId="2147483709"/>
              <pc:sldLayoutMk cId="3070580610" sldId="2147483787"/>
              <ac:spMk id="28" creationId="{44690F9A-3FD8-58C2-C4B6-728AA0AC2DB6}"/>
            </ac:spMkLst>
          </pc:spChg>
          <pc:spChg chg="mod">
            <ac:chgData name="Falcão Lacerda, Rafael" userId="40181ff7-4694-4c53-a944-7b7d63582359" providerId="ADAL" clId="{3B4D5F63-EA56-4616-8A78-0C43AB7049E7}" dt="2025-12-08T00:26:33.437" v="3196"/>
            <ac:spMkLst>
              <pc:docMk/>
              <pc:sldMasterMk cId="2457110672" sldId="2147483709"/>
              <pc:sldLayoutMk cId="3070580610" sldId="2147483787"/>
              <ac:spMk id="30" creationId="{8B4CF385-9FC6-70A9-2E90-C43EAE77F58C}"/>
            </ac:spMkLst>
          </pc:spChg>
          <pc:spChg chg="mod">
            <ac:chgData name="Falcão Lacerda, Rafael" userId="40181ff7-4694-4c53-a944-7b7d63582359" providerId="ADAL" clId="{3B4D5F63-EA56-4616-8A78-0C43AB7049E7}" dt="2025-12-08T00:26:33.452" v="3198"/>
            <ac:spMkLst>
              <pc:docMk/>
              <pc:sldMasterMk cId="2457110672" sldId="2147483709"/>
              <pc:sldLayoutMk cId="3070580610" sldId="2147483787"/>
              <ac:spMk id="32" creationId="{A8CE1B5A-4E28-77C8-EB90-DDA864C98EE4}"/>
            </ac:spMkLst>
          </pc:spChg>
          <pc:spChg chg="mod">
            <ac:chgData name="Falcão Lacerda, Rafael" userId="40181ff7-4694-4c53-a944-7b7d63582359" providerId="ADAL" clId="{3B4D5F63-EA56-4616-8A78-0C43AB7049E7}" dt="2025-12-08T00:26:33.469" v="3200"/>
            <ac:spMkLst>
              <pc:docMk/>
              <pc:sldMasterMk cId="2457110672" sldId="2147483709"/>
              <pc:sldLayoutMk cId="3070580610" sldId="2147483787"/>
              <ac:spMk id="33" creationId="{D17BC01F-7509-B7D1-2FF2-419E3035A67D}"/>
            </ac:spMkLst>
          </pc:spChg>
          <pc:spChg chg="mod">
            <ac:chgData name="Falcão Lacerda, Rafael" userId="40181ff7-4694-4c53-a944-7b7d63582359" providerId="ADAL" clId="{3B4D5F63-EA56-4616-8A78-0C43AB7049E7}" dt="2025-12-08T00:26:33.469" v="3202"/>
            <ac:spMkLst>
              <pc:docMk/>
              <pc:sldMasterMk cId="2457110672" sldId="2147483709"/>
              <pc:sldLayoutMk cId="3070580610" sldId="2147483787"/>
              <ac:spMk id="34" creationId="{B5E87864-3492-16F6-7D53-F48ECFF71B6B}"/>
            </ac:spMkLst>
          </pc:spChg>
          <pc:spChg chg="mod">
            <ac:chgData name="Falcão Lacerda, Rafael" userId="40181ff7-4694-4c53-a944-7b7d63582359" providerId="ADAL" clId="{3B4D5F63-EA56-4616-8A78-0C43AB7049E7}" dt="2025-12-08T00:26:33.484" v="3204"/>
            <ac:spMkLst>
              <pc:docMk/>
              <pc:sldMasterMk cId="2457110672" sldId="2147483709"/>
              <pc:sldLayoutMk cId="3070580610" sldId="2147483787"/>
              <ac:spMk id="35" creationId="{0882B210-0FE9-9013-3A4F-EBDFFF0F91F2}"/>
            </ac:spMkLst>
          </pc:spChg>
          <pc:graphicFrameChg chg="add mod ord modVis">
            <ac:chgData name="Falcão Lacerda, Rafael" userId="40181ff7-4694-4c53-a944-7b7d63582359" providerId="ADAL" clId="{3B4D5F63-EA56-4616-8A78-0C43AB7049E7}" dt="2025-12-08T00:26:50.730" v="9677"/>
            <ac:graphicFrameMkLst>
              <pc:docMk/>
              <pc:sldMasterMk cId="2457110672" sldId="2147483709"/>
              <pc:sldLayoutMk cId="3070580610" sldId="2147483787"/>
              <ac:graphicFrameMk id="5" creationId="{4097C173-A36A-98BE-9675-70DD094DCC65}"/>
            </ac:graphicFrameMkLst>
          </pc:graphicFrameChg>
        </pc:sldLayoutChg>
        <pc:sldLayoutChg chg="addSp delSp modSp mod">
          <pc:chgData name="Falcão Lacerda, Rafael" userId="40181ff7-4694-4c53-a944-7b7d63582359" providerId="ADAL" clId="{3B4D5F63-EA56-4616-8A78-0C43AB7049E7}" dt="2025-12-08T12:49:16.386" v="29915" actId="478"/>
          <pc:sldLayoutMkLst>
            <pc:docMk/>
            <pc:sldMasterMk cId="2457110672" sldId="2147483709"/>
            <pc:sldLayoutMk cId="323986878" sldId="2147483788"/>
          </pc:sldLayoutMkLst>
          <pc:spChg chg="add del mod modVis">
            <ac:chgData name="Falcão Lacerda, Rafael" userId="40181ff7-4694-4c53-a944-7b7d63582359" providerId="ADAL" clId="{3B4D5F63-EA56-4616-8A78-0C43AB7049E7}" dt="2025-12-08T00:26:50.991" v="9727"/>
            <ac:spMkLst>
              <pc:docMk/>
              <pc:sldMasterMk cId="2457110672" sldId="2147483709"/>
              <pc:sldLayoutMk cId="323986878" sldId="2147483788"/>
              <ac:spMk id="2" creationId="{4620A294-10DA-9C9E-E539-1760A97AF013}"/>
            </ac:spMkLst>
          </pc:spChg>
          <pc:spChg chg="del mod">
            <ac:chgData name="Falcão Lacerda, Rafael" userId="40181ff7-4694-4c53-a944-7b7d63582359" providerId="ADAL" clId="{3B4D5F63-EA56-4616-8A78-0C43AB7049E7}" dt="2025-12-08T12:49:16.386" v="29915" actId="478"/>
            <ac:spMkLst>
              <pc:docMk/>
              <pc:sldMasterMk cId="2457110672" sldId="2147483709"/>
              <pc:sldLayoutMk cId="323986878" sldId="2147483788"/>
              <ac:spMk id="32" creationId="{B49891DC-D80E-4D1B-961E-1B567E0E4535}"/>
            </ac:spMkLst>
          </pc:spChg>
          <pc:spChg chg="mod">
            <ac:chgData name="Falcão Lacerda, Rafael" userId="40181ff7-4694-4c53-a944-7b7d63582359" providerId="ADAL" clId="{3B4D5F63-EA56-4616-8A78-0C43AB7049E7}" dt="2025-12-08T00:26:33.705" v="3250"/>
            <ac:spMkLst>
              <pc:docMk/>
              <pc:sldMasterMk cId="2457110672" sldId="2147483709"/>
              <pc:sldLayoutMk cId="323986878" sldId="2147483788"/>
              <ac:spMk id="49" creationId="{C79C29FA-AFA2-CB0C-7716-CE3754DCAD25}"/>
            </ac:spMkLst>
          </pc:spChg>
          <pc:spChg chg="mod">
            <ac:chgData name="Falcão Lacerda, Rafael" userId="40181ff7-4694-4c53-a944-7b7d63582359" providerId="ADAL" clId="{3B4D5F63-EA56-4616-8A78-0C43AB7049E7}" dt="2025-12-08T00:26:44.591" v="7172" actId="948"/>
            <ac:spMkLst>
              <pc:docMk/>
              <pc:sldMasterMk cId="2457110672" sldId="2147483709"/>
              <pc:sldLayoutMk cId="323986878" sldId="2147483788"/>
              <ac:spMk id="50" creationId="{D9DE4A47-B387-28A0-0CCF-3D113159BC44}"/>
            </ac:spMkLst>
          </pc:spChg>
          <pc:spChg chg="mod">
            <ac:chgData name="Falcão Lacerda, Rafael" userId="40181ff7-4694-4c53-a944-7b7d63582359" providerId="ADAL" clId="{3B4D5F63-EA56-4616-8A78-0C43AB7049E7}" dt="2025-12-08T00:26:33.721" v="3254"/>
            <ac:spMkLst>
              <pc:docMk/>
              <pc:sldMasterMk cId="2457110672" sldId="2147483709"/>
              <pc:sldLayoutMk cId="323986878" sldId="2147483788"/>
              <ac:spMk id="63" creationId="{B6B30F3E-6876-0883-BD26-A4FC5D74BFEB}"/>
            </ac:spMkLst>
          </pc:spChg>
          <pc:spChg chg="mod">
            <ac:chgData name="Falcão Lacerda, Rafael" userId="40181ff7-4694-4c53-a944-7b7d63582359" providerId="ADAL" clId="{3B4D5F63-EA56-4616-8A78-0C43AB7049E7}" dt="2025-12-08T00:26:33.737" v="3256"/>
            <ac:spMkLst>
              <pc:docMk/>
              <pc:sldMasterMk cId="2457110672" sldId="2147483709"/>
              <pc:sldLayoutMk cId="323986878" sldId="2147483788"/>
              <ac:spMk id="64" creationId="{68CBCB53-EDC2-430A-6091-471E4A3C0E69}"/>
            </ac:spMkLst>
          </pc:spChg>
          <pc:spChg chg="mod">
            <ac:chgData name="Falcão Lacerda, Rafael" userId="40181ff7-4694-4c53-a944-7b7d63582359" providerId="ADAL" clId="{3B4D5F63-EA56-4616-8A78-0C43AB7049E7}" dt="2025-12-08T00:26:33.753" v="3258"/>
            <ac:spMkLst>
              <pc:docMk/>
              <pc:sldMasterMk cId="2457110672" sldId="2147483709"/>
              <pc:sldLayoutMk cId="323986878" sldId="2147483788"/>
              <ac:spMk id="65" creationId="{637BE686-D971-81F4-FECC-526CEF4F381E}"/>
            </ac:spMkLst>
          </pc:spChg>
          <pc:spChg chg="mod">
            <ac:chgData name="Falcão Lacerda, Rafael" userId="40181ff7-4694-4c53-a944-7b7d63582359" providerId="ADAL" clId="{3B4D5F63-EA56-4616-8A78-0C43AB7049E7}" dt="2025-12-08T00:26:33.769" v="3260"/>
            <ac:spMkLst>
              <pc:docMk/>
              <pc:sldMasterMk cId="2457110672" sldId="2147483709"/>
              <pc:sldLayoutMk cId="323986878" sldId="2147483788"/>
              <ac:spMk id="66" creationId="{BA07AFEE-DC74-E7A8-BDBA-BFFE9BF24CD9}"/>
            </ac:spMkLst>
          </pc:spChg>
          <pc:spChg chg="mod">
            <ac:chgData name="Falcão Lacerda, Rafael" userId="40181ff7-4694-4c53-a944-7b7d63582359" providerId="ADAL" clId="{3B4D5F63-EA56-4616-8A78-0C43AB7049E7}" dt="2025-12-08T00:26:33.785" v="3262"/>
            <ac:spMkLst>
              <pc:docMk/>
              <pc:sldMasterMk cId="2457110672" sldId="2147483709"/>
              <pc:sldLayoutMk cId="323986878" sldId="2147483788"/>
              <ac:spMk id="67" creationId="{90E75D7F-D480-7A96-4F8E-3631E15DA2AD}"/>
            </ac:spMkLst>
          </pc:spChg>
          <pc:spChg chg="mod">
            <ac:chgData name="Falcão Lacerda, Rafael" userId="40181ff7-4694-4c53-a944-7b7d63582359" providerId="ADAL" clId="{3B4D5F63-EA56-4616-8A78-0C43AB7049E7}" dt="2025-12-08T00:26:33.789" v="3264"/>
            <ac:spMkLst>
              <pc:docMk/>
              <pc:sldMasterMk cId="2457110672" sldId="2147483709"/>
              <pc:sldLayoutMk cId="323986878" sldId="2147483788"/>
              <ac:spMk id="68" creationId="{183F93F6-A09B-A2EF-64C2-4902846E2410}"/>
            </ac:spMkLst>
          </pc:spChg>
          <pc:spChg chg="mod">
            <ac:chgData name="Falcão Lacerda, Rafael" userId="40181ff7-4694-4c53-a944-7b7d63582359" providerId="ADAL" clId="{3B4D5F63-EA56-4616-8A78-0C43AB7049E7}" dt="2025-12-08T00:26:33.801" v="3266"/>
            <ac:spMkLst>
              <pc:docMk/>
              <pc:sldMasterMk cId="2457110672" sldId="2147483709"/>
              <pc:sldLayoutMk cId="323986878" sldId="2147483788"/>
              <ac:spMk id="69" creationId="{678182CD-97A5-B632-A606-E290F2E8F003}"/>
            </ac:spMkLst>
          </pc:spChg>
          <pc:spChg chg="mod">
            <ac:chgData name="Falcão Lacerda, Rafael" userId="40181ff7-4694-4c53-a944-7b7d63582359" providerId="ADAL" clId="{3B4D5F63-EA56-4616-8A78-0C43AB7049E7}" dt="2025-12-08T00:26:33.801" v="3268"/>
            <ac:spMkLst>
              <pc:docMk/>
              <pc:sldMasterMk cId="2457110672" sldId="2147483709"/>
              <pc:sldLayoutMk cId="323986878" sldId="2147483788"/>
              <ac:spMk id="70" creationId="{BC20362B-D8E4-FBCA-BA42-83663531AA4B}"/>
            </ac:spMkLst>
          </pc:spChg>
          <pc:spChg chg="mod">
            <ac:chgData name="Falcão Lacerda, Rafael" userId="40181ff7-4694-4c53-a944-7b7d63582359" providerId="ADAL" clId="{3B4D5F63-EA56-4616-8A78-0C43AB7049E7}" dt="2025-12-08T00:26:33.816" v="3270"/>
            <ac:spMkLst>
              <pc:docMk/>
              <pc:sldMasterMk cId="2457110672" sldId="2147483709"/>
              <pc:sldLayoutMk cId="323986878" sldId="2147483788"/>
              <ac:spMk id="71" creationId="{27B74B01-5E96-C593-2AE8-1AC067D6CF5C}"/>
            </ac:spMkLst>
          </pc:spChg>
          <pc:spChg chg="mod">
            <ac:chgData name="Falcão Lacerda, Rafael" userId="40181ff7-4694-4c53-a944-7b7d63582359" providerId="ADAL" clId="{3B4D5F63-EA56-4616-8A78-0C43AB7049E7}" dt="2025-12-08T00:26:33.816" v="3272"/>
            <ac:spMkLst>
              <pc:docMk/>
              <pc:sldMasterMk cId="2457110672" sldId="2147483709"/>
              <pc:sldLayoutMk cId="323986878" sldId="2147483788"/>
              <ac:spMk id="72" creationId="{77DA96FA-342F-3709-1656-B7FC6C905DFA}"/>
            </ac:spMkLst>
          </pc:spChg>
          <pc:spChg chg="mod">
            <ac:chgData name="Falcão Lacerda, Rafael" userId="40181ff7-4694-4c53-a944-7b7d63582359" providerId="ADAL" clId="{3B4D5F63-EA56-4616-8A78-0C43AB7049E7}" dt="2025-12-08T00:26:33.816" v="3274"/>
            <ac:spMkLst>
              <pc:docMk/>
              <pc:sldMasterMk cId="2457110672" sldId="2147483709"/>
              <pc:sldLayoutMk cId="323986878" sldId="2147483788"/>
              <ac:spMk id="73" creationId="{DED6B8B6-1CF0-A57B-C39A-E87D9D3570EB}"/>
            </ac:spMkLst>
          </pc:spChg>
          <pc:spChg chg="mod">
            <ac:chgData name="Falcão Lacerda, Rafael" userId="40181ff7-4694-4c53-a944-7b7d63582359" providerId="ADAL" clId="{3B4D5F63-EA56-4616-8A78-0C43AB7049E7}" dt="2025-12-08T00:26:33.832" v="3276"/>
            <ac:spMkLst>
              <pc:docMk/>
              <pc:sldMasterMk cId="2457110672" sldId="2147483709"/>
              <pc:sldLayoutMk cId="323986878" sldId="2147483788"/>
              <ac:spMk id="74" creationId="{0A4ACC4B-F1AD-98A5-3F4F-0528E81C50E6}"/>
            </ac:spMkLst>
          </pc:spChg>
          <pc:graphicFrameChg chg="add mod ord modVis">
            <ac:chgData name="Falcão Lacerda, Rafael" userId="40181ff7-4694-4c53-a944-7b7d63582359" providerId="ADAL" clId="{3B4D5F63-EA56-4616-8A78-0C43AB7049E7}" dt="2025-12-08T00:26:51.090" v="9741"/>
            <ac:graphicFrameMkLst>
              <pc:docMk/>
              <pc:sldMasterMk cId="2457110672" sldId="2147483709"/>
              <pc:sldLayoutMk cId="323986878" sldId="2147483788"/>
              <ac:graphicFrameMk id="3" creationId="{5D8ACE96-0D0C-458A-6BAC-48A6257EA58E}"/>
            </ac:graphicFrameMkLst>
          </pc:graphicFrameChg>
        </pc:sldLayoutChg>
        <pc:sldLayoutChg chg="addSp delSp modSp mod">
          <pc:chgData name="Falcão Lacerda, Rafael" userId="40181ff7-4694-4c53-a944-7b7d63582359" providerId="ADAL" clId="{3B4D5F63-EA56-4616-8A78-0C43AB7049E7}" dt="2025-12-08T00:26:51.297" v="9789"/>
          <pc:sldLayoutMkLst>
            <pc:docMk/>
            <pc:sldMasterMk cId="2457110672" sldId="2147483709"/>
            <pc:sldLayoutMk cId="3646049986" sldId="2147483790"/>
          </pc:sldLayoutMkLst>
          <pc:spChg chg="add del mod modVis">
            <ac:chgData name="Falcão Lacerda, Rafael" userId="40181ff7-4694-4c53-a944-7b7d63582359" providerId="ADAL" clId="{3B4D5F63-EA56-4616-8A78-0C43AB7049E7}" dt="2025-12-08T00:26:51.233" v="9775"/>
            <ac:spMkLst>
              <pc:docMk/>
              <pc:sldMasterMk cId="2457110672" sldId="2147483709"/>
              <pc:sldLayoutMk cId="3646049986" sldId="2147483790"/>
              <ac:spMk id="2" creationId="{06227A19-4B08-DB9B-DD62-07877FCB01FF}"/>
            </ac:spMkLst>
          </pc:spChg>
          <pc:spChg chg="mod">
            <ac:chgData name="Falcão Lacerda, Rafael" userId="40181ff7-4694-4c53-a944-7b7d63582359" providerId="ADAL" clId="{3B4D5F63-EA56-4616-8A78-0C43AB7049E7}" dt="2025-12-08T00:26:34.060" v="3322"/>
            <ac:spMkLst>
              <pc:docMk/>
              <pc:sldMasterMk cId="2457110672" sldId="2147483709"/>
              <pc:sldLayoutMk cId="3646049986" sldId="2147483790"/>
              <ac:spMk id="3" creationId="{77AA6D93-92FF-400D-8AF3-C5AC33611540}"/>
            </ac:spMkLst>
          </pc:spChg>
          <pc:spChg chg="mod">
            <ac:chgData name="Falcão Lacerda, Rafael" userId="40181ff7-4694-4c53-a944-7b7d63582359" providerId="ADAL" clId="{3B4D5F63-EA56-4616-8A78-0C43AB7049E7}" dt="2025-12-08T00:26:44.762" v="7232" actId="948"/>
            <ac:spMkLst>
              <pc:docMk/>
              <pc:sldMasterMk cId="2457110672" sldId="2147483709"/>
              <pc:sldLayoutMk cId="3646049986" sldId="2147483790"/>
              <ac:spMk id="7" creationId="{A5DA1A25-51CF-5AD1-5E56-0DCBF1E1C695}"/>
            </ac:spMkLst>
          </pc:spChg>
          <pc:spChg chg="mod">
            <ac:chgData name="Falcão Lacerda, Rafael" userId="40181ff7-4694-4c53-a944-7b7d63582359" providerId="ADAL" clId="{3B4D5F63-EA56-4616-8A78-0C43AB7049E7}" dt="2025-12-08T00:26:34.038" v="3320"/>
            <ac:spMkLst>
              <pc:docMk/>
              <pc:sldMasterMk cId="2457110672" sldId="2147483709"/>
              <pc:sldLayoutMk cId="3646049986" sldId="2147483790"/>
              <ac:spMk id="8" creationId="{4796047A-AB81-403A-B649-52C6F7827ECF}"/>
            </ac:spMkLst>
          </pc:spChg>
          <pc:spChg chg="mod">
            <ac:chgData name="Falcão Lacerda, Rafael" userId="40181ff7-4694-4c53-a944-7b7d63582359" providerId="ADAL" clId="{3B4D5F63-EA56-4616-8A78-0C43AB7049E7}" dt="2025-12-08T00:26:34.070" v="3326" actId="947"/>
            <ac:spMkLst>
              <pc:docMk/>
              <pc:sldMasterMk cId="2457110672" sldId="2147483709"/>
              <pc:sldLayoutMk cId="3646049986" sldId="2147483790"/>
              <ac:spMk id="9" creationId="{5932412D-AD03-BACB-C691-EC79CDF8A06A}"/>
            </ac:spMkLst>
          </pc:spChg>
          <pc:graphicFrameChg chg="add mod ord modVis">
            <ac:chgData name="Falcão Lacerda, Rafael" userId="40181ff7-4694-4c53-a944-7b7d63582359" providerId="ADAL" clId="{3B4D5F63-EA56-4616-8A78-0C43AB7049E7}" dt="2025-12-08T00:26:51.297" v="9789"/>
            <ac:graphicFrameMkLst>
              <pc:docMk/>
              <pc:sldMasterMk cId="2457110672" sldId="2147483709"/>
              <pc:sldLayoutMk cId="3646049986" sldId="2147483790"/>
              <ac:graphicFrameMk id="4" creationId="{466D0C00-033B-BAB2-6902-C0C41F06C369}"/>
            </ac:graphicFrameMkLst>
          </pc:graphicFrameChg>
        </pc:sldLayoutChg>
        <pc:sldLayoutChg chg="addSp delSp modSp mod">
          <pc:chgData name="Falcão Lacerda, Rafael" userId="40181ff7-4694-4c53-a944-7b7d63582359" providerId="ADAL" clId="{3B4D5F63-EA56-4616-8A78-0C43AB7049E7}" dt="2025-12-08T12:48:57.816" v="29912" actId="478"/>
          <pc:sldLayoutMkLst>
            <pc:docMk/>
            <pc:sldMasterMk cId="2457110672" sldId="2147483709"/>
            <pc:sldLayoutMk cId="200149637" sldId="2147483791"/>
          </pc:sldLayoutMkLst>
          <pc:spChg chg="add del mod modVis">
            <ac:chgData name="Falcão Lacerda, Rafael" userId="40181ff7-4694-4c53-a944-7b7d63582359" providerId="ADAL" clId="{3B4D5F63-EA56-4616-8A78-0C43AB7049E7}" dt="2025-12-08T00:26:51.316" v="9791"/>
            <ac:spMkLst>
              <pc:docMk/>
              <pc:sldMasterMk cId="2457110672" sldId="2147483709"/>
              <pc:sldLayoutMk cId="200149637" sldId="2147483791"/>
              <ac:spMk id="2" creationId="{00794B51-2E3E-E3CC-C9CB-DEF6DF3814A0}"/>
            </ac:spMkLst>
          </pc:spChg>
          <pc:spChg chg="del mod">
            <ac:chgData name="Falcão Lacerda, Rafael" userId="40181ff7-4694-4c53-a944-7b7d63582359" providerId="ADAL" clId="{3B4D5F63-EA56-4616-8A78-0C43AB7049E7}" dt="2025-12-08T12:48:55.179" v="29911" actId="478"/>
            <ac:spMkLst>
              <pc:docMk/>
              <pc:sldMasterMk cId="2457110672" sldId="2147483709"/>
              <pc:sldLayoutMk cId="200149637" sldId="2147483791"/>
              <ac:spMk id="3" creationId="{717D1E3E-BD53-CBF3-62AF-19504EE818A5}"/>
            </ac:spMkLst>
          </pc:spChg>
          <pc:spChg chg="mod">
            <ac:chgData name="Falcão Lacerda, Rafael" userId="40181ff7-4694-4c53-a944-7b7d63582359" providerId="ADAL" clId="{3B4D5F63-EA56-4616-8A78-0C43AB7049E7}" dt="2025-12-08T00:26:44.824" v="7252" actId="948"/>
            <ac:spMkLst>
              <pc:docMk/>
              <pc:sldMasterMk cId="2457110672" sldId="2147483709"/>
              <pc:sldLayoutMk cId="200149637" sldId="2147483791"/>
              <ac:spMk id="4" creationId="{0C6C9FFF-540B-B570-4E7C-61946F9149B2}"/>
            </ac:spMkLst>
          </pc:spChg>
          <pc:spChg chg="del mod">
            <ac:chgData name="Falcão Lacerda, Rafael" userId="40181ff7-4694-4c53-a944-7b7d63582359" providerId="ADAL" clId="{3B4D5F63-EA56-4616-8A78-0C43AB7049E7}" dt="2025-12-08T12:48:57.816" v="29912" actId="478"/>
            <ac:spMkLst>
              <pc:docMk/>
              <pc:sldMasterMk cId="2457110672" sldId="2147483709"/>
              <pc:sldLayoutMk cId="200149637" sldId="2147483791"/>
              <ac:spMk id="5" creationId="{2474523B-1F34-A604-B640-C5B887005C9D}"/>
            </ac:spMkLst>
          </pc:spChg>
          <pc:spChg chg="mod">
            <ac:chgData name="Falcão Lacerda, Rafael" userId="40181ff7-4694-4c53-a944-7b7d63582359" providerId="ADAL" clId="{3B4D5F63-EA56-4616-8A78-0C43AB7049E7}" dt="2025-12-08T00:26:34.117" v="3332"/>
            <ac:spMkLst>
              <pc:docMk/>
              <pc:sldMasterMk cId="2457110672" sldId="2147483709"/>
              <pc:sldLayoutMk cId="200149637" sldId="2147483791"/>
              <ac:spMk id="6" creationId="{45230204-CC18-5C95-0BFC-9C8E11430BCA}"/>
            </ac:spMkLst>
          </pc:spChg>
          <pc:spChg chg="mod">
            <ac:chgData name="Falcão Lacerda, Rafael" userId="40181ff7-4694-4c53-a944-7b7d63582359" providerId="ADAL" clId="{3B4D5F63-EA56-4616-8A78-0C43AB7049E7}" dt="2025-12-08T00:26:34.149" v="3338" actId="947"/>
            <ac:spMkLst>
              <pc:docMk/>
              <pc:sldMasterMk cId="2457110672" sldId="2147483709"/>
              <pc:sldLayoutMk cId="200149637" sldId="2147483791"/>
              <ac:spMk id="7" creationId="{28236719-F299-27AE-8104-D07B5280084D}"/>
            </ac:spMkLst>
          </pc:spChg>
          <pc:spChg chg="mod">
            <ac:chgData name="Falcão Lacerda, Rafael" userId="40181ff7-4694-4c53-a944-7b7d63582359" providerId="ADAL" clId="{3B4D5F63-EA56-4616-8A78-0C43AB7049E7}" dt="2025-12-08T00:26:34.102" v="3330"/>
            <ac:spMkLst>
              <pc:docMk/>
              <pc:sldMasterMk cId="2457110672" sldId="2147483709"/>
              <pc:sldLayoutMk cId="200149637" sldId="2147483791"/>
              <ac:spMk id="38" creationId="{92A5DC07-3811-41E7-B3BC-1DF4ED905C75}"/>
            </ac:spMkLst>
          </pc:spChg>
          <pc:graphicFrameChg chg="add mod ord modVis">
            <ac:chgData name="Falcão Lacerda, Rafael" userId="40181ff7-4694-4c53-a944-7b7d63582359" providerId="ADAL" clId="{3B4D5F63-EA56-4616-8A78-0C43AB7049E7}" dt="2025-12-08T00:26:51.354" v="9805"/>
            <ac:graphicFrameMkLst>
              <pc:docMk/>
              <pc:sldMasterMk cId="2457110672" sldId="2147483709"/>
              <pc:sldLayoutMk cId="200149637" sldId="2147483791"/>
              <ac:graphicFrameMk id="8" creationId="{8D0D16CE-087C-E8F9-93F2-9906A8486C5A}"/>
            </ac:graphicFrameMkLst>
          </pc:graphicFrameChg>
        </pc:sldLayoutChg>
        <pc:sldLayoutChg chg="addSp delSp modSp mod">
          <pc:chgData name="Falcão Lacerda, Rafael" userId="40181ff7-4694-4c53-a944-7b7d63582359" providerId="ADAL" clId="{3B4D5F63-EA56-4616-8A78-0C43AB7049E7}" dt="2025-12-08T00:26:50.532" v="9613"/>
          <pc:sldLayoutMkLst>
            <pc:docMk/>
            <pc:sldMasterMk cId="2457110672" sldId="2147483709"/>
            <pc:sldLayoutMk cId="7420386" sldId="2147483792"/>
          </pc:sldLayoutMkLst>
          <pc:spChg chg="mod">
            <ac:chgData name="Falcão Lacerda, Rafael" userId="40181ff7-4694-4c53-a944-7b7d63582359" providerId="ADAL" clId="{3B4D5F63-EA56-4616-8A78-0C43AB7049E7}" dt="2025-12-08T00:26:44.138" v="7012" actId="948"/>
            <ac:spMkLst>
              <pc:docMk/>
              <pc:sldMasterMk cId="2457110672" sldId="2147483709"/>
              <pc:sldLayoutMk cId="7420386" sldId="2147483792"/>
              <ac:spMk id="2" creationId="{32394B85-B39D-4BE7-A334-787162CB4A41}"/>
            </ac:spMkLst>
          </pc:spChg>
          <pc:spChg chg="mod">
            <ac:chgData name="Falcão Lacerda, Rafael" userId="40181ff7-4694-4c53-a944-7b7d63582359" providerId="ADAL" clId="{3B4D5F63-EA56-4616-8A78-0C43AB7049E7}" dt="2025-12-08T00:26:33.105" v="3136"/>
            <ac:spMkLst>
              <pc:docMk/>
              <pc:sldMasterMk cId="2457110672" sldId="2147483709"/>
              <pc:sldLayoutMk cId="7420386" sldId="2147483792"/>
              <ac:spMk id="3" creationId="{65F763E4-6449-FB61-1EC3-49C208D39CBF}"/>
            </ac:spMkLst>
          </pc:spChg>
          <pc:spChg chg="add del mod modVis">
            <ac:chgData name="Falcão Lacerda, Rafael" userId="40181ff7-4694-4c53-a944-7b7d63582359" providerId="ADAL" clId="{3B4D5F63-EA56-4616-8A78-0C43AB7049E7}" dt="2025-12-08T00:26:50.479" v="9599"/>
            <ac:spMkLst>
              <pc:docMk/>
              <pc:sldMasterMk cId="2457110672" sldId="2147483709"/>
              <pc:sldLayoutMk cId="7420386" sldId="2147483792"/>
              <ac:spMk id="4" creationId="{ABBD91CA-9697-423F-1EA2-2C03923F03C4}"/>
            </ac:spMkLst>
          </pc:spChg>
          <pc:graphicFrameChg chg="add mod ord modVis">
            <ac:chgData name="Falcão Lacerda, Rafael" userId="40181ff7-4694-4c53-a944-7b7d63582359" providerId="ADAL" clId="{3B4D5F63-EA56-4616-8A78-0C43AB7049E7}" dt="2025-12-08T00:26:50.532" v="9613"/>
            <ac:graphicFrameMkLst>
              <pc:docMk/>
              <pc:sldMasterMk cId="2457110672" sldId="2147483709"/>
              <pc:sldLayoutMk cId="7420386" sldId="2147483792"/>
              <ac:graphicFrameMk id="5" creationId="{0E25699E-FDF9-8442-D96C-58A474D723FD}"/>
            </ac:graphicFrameMkLst>
          </pc:graphicFrameChg>
        </pc:sldLayoutChg>
        <pc:sldLayoutChg chg="addSp delSp modSp mod">
          <pc:chgData name="Falcão Lacerda, Rafael" userId="40181ff7-4694-4c53-a944-7b7d63582359" providerId="ADAL" clId="{3B4D5F63-EA56-4616-8A78-0C43AB7049E7}" dt="2025-12-08T12:51:46.719" v="29945" actId="478"/>
          <pc:sldLayoutMkLst>
            <pc:docMk/>
            <pc:sldMasterMk cId="2457110672" sldId="2147483709"/>
            <pc:sldLayoutMk cId="1025997231" sldId="2147483793"/>
          </pc:sldLayoutMkLst>
          <pc:spChg chg="del mod">
            <ac:chgData name="Falcão Lacerda, Rafael" userId="40181ff7-4694-4c53-a944-7b7d63582359" providerId="ADAL" clId="{3B4D5F63-EA56-4616-8A78-0C43AB7049E7}" dt="2025-12-08T12:51:46.719" v="29945" actId="478"/>
            <ac:spMkLst>
              <pc:docMk/>
              <pc:sldMasterMk cId="2457110672" sldId="2147483709"/>
              <pc:sldLayoutMk cId="1025997231" sldId="2147483793"/>
              <ac:spMk id="3" creationId="{8D5BD53D-6FAE-CF38-36EC-5B6A69250BA2}"/>
            </ac:spMkLst>
          </pc:spChg>
          <pc:spChg chg="mod">
            <ac:chgData name="Falcão Lacerda, Rafael" userId="40181ff7-4694-4c53-a944-7b7d63582359" providerId="ADAL" clId="{3B4D5F63-EA56-4616-8A78-0C43AB7049E7}" dt="2025-12-08T00:26:33.168" v="3154" actId="947"/>
            <ac:spMkLst>
              <pc:docMk/>
              <pc:sldMasterMk cId="2457110672" sldId="2147483709"/>
              <pc:sldLayoutMk cId="1025997231" sldId="2147483793"/>
              <ac:spMk id="4" creationId="{60F9A526-39EE-8272-4753-D784C27C5191}"/>
            </ac:spMkLst>
          </pc:spChg>
          <pc:spChg chg="add del mod modVis">
            <ac:chgData name="Falcão Lacerda, Rafael" userId="40181ff7-4694-4c53-a944-7b7d63582359" providerId="ADAL" clId="{3B4D5F63-EA56-4616-8A78-0C43AB7049E7}" dt="2025-12-08T00:26:50.579" v="9631"/>
            <ac:spMkLst>
              <pc:docMk/>
              <pc:sldMasterMk cId="2457110672" sldId="2147483709"/>
              <pc:sldLayoutMk cId="1025997231" sldId="2147483793"/>
              <ac:spMk id="5" creationId="{99AC3CD9-984B-BC70-DA9E-D673302F8401}"/>
            </ac:spMkLst>
          </pc:spChg>
          <pc:spChg chg="del mod">
            <ac:chgData name="Falcão Lacerda, Rafael" userId="40181ff7-4694-4c53-a944-7b7d63582359" providerId="ADAL" clId="{3B4D5F63-EA56-4616-8A78-0C43AB7049E7}" dt="2025-12-08T12:51:41.935" v="29944" actId="478"/>
            <ac:spMkLst>
              <pc:docMk/>
              <pc:sldMasterMk cId="2457110672" sldId="2147483709"/>
              <pc:sldLayoutMk cId="1025997231" sldId="2147483793"/>
              <ac:spMk id="9" creationId="{8DE35BA1-021B-C8B8-EEDE-464FB3F9F466}"/>
            </ac:spMkLst>
          </pc:spChg>
          <pc:spChg chg="mod">
            <ac:chgData name="Falcão Lacerda, Rafael" userId="40181ff7-4694-4c53-a944-7b7d63582359" providerId="ADAL" clId="{3B4D5F63-EA56-4616-8A78-0C43AB7049E7}" dt="2025-12-08T00:26:33.152" v="3150"/>
            <ac:spMkLst>
              <pc:docMk/>
              <pc:sldMasterMk cId="2457110672" sldId="2147483709"/>
              <pc:sldLayoutMk cId="1025997231" sldId="2147483793"/>
              <ac:spMk id="10" creationId="{9AA3B26C-CA7F-B4DF-EE34-75C3462C65F7}"/>
            </ac:spMkLst>
          </pc:spChg>
          <pc:spChg chg="mod">
            <ac:chgData name="Falcão Lacerda, Rafael" userId="40181ff7-4694-4c53-a944-7b7d63582359" providerId="ADAL" clId="{3B4D5F63-EA56-4616-8A78-0C43AB7049E7}" dt="2025-12-08T00:26:44.231" v="7052" actId="948"/>
            <ac:spMkLst>
              <pc:docMk/>
              <pc:sldMasterMk cId="2457110672" sldId="2147483709"/>
              <pc:sldLayoutMk cId="1025997231" sldId="2147483793"/>
              <ac:spMk id="11" creationId="{5761EBD1-EAAC-E1FA-6310-1DCDC89C84B6}"/>
            </ac:spMkLst>
          </pc:spChg>
          <pc:graphicFrameChg chg="add mod ord modVis">
            <ac:chgData name="Falcão Lacerda, Rafael" userId="40181ff7-4694-4c53-a944-7b7d63582359" providerId="ADAL" clId="{3B4D5F63-EA56-4616-8A78-0C43AB7049E7}" dt="2025-12-08T00:26:50.637" v="9645"/>
            <ac:graphicFrameMkLst>
              <pc:docMk/>
              <pc:sldMasterMk cId="2457110672" sldId="2147483709"/>
              <pc:sldLayoutMk cId="1025997231" sldId="2147483793"/>
              <ac:graphicFrameMk id="6" creationId="{705D48CE-018D-D883-95B7-BA140B6FEF59}"/>
            </ac:graphicFrameMkLst>
          </pc:graphicFrameChg>
        </pc:sldLayoutChg>
        <pc:sldLayoutChg chg="addSp delSp modSp mod">
          <pc:chgData name="Falcão Lacerda, Rafael" userId="40181ff7-4694-4c53-a944-7b7d63582359" providerId="ADAL" clId="{3B4D5F63-EA56-4616-8A78-0C43AB7049E7}" dt="2025-12-08T12:48:27.463" v="29904" actId="478"/>
          <pc:sldLayoutMkLst>
            <pc:docMk/>
            <pc:sldMasterMk cId="2457110672" sldId="2147483709"/>
            <pc:sldLayoutMk cId="2179190088" sldId="2147483794"/>
          </pc:sldLayoutMkLst>
          <pc:spChg chg="del mod">
            <ac:chgData name="Falcão Lacerda, Rafael" userId="40181ff7-4694-4c53-a944-7b7d63582359" providerId="ADAL" clId="{3B4D5F63-EA56-4616-8A78-0C43AB7049E7}" dt="2025-12-08T12:48:27.463" v="29904" actId="478"/>
            <ac:spMkLst>
              <pc:docMk/>
              <pc:sldMasterMk cId="2457110672" sldId="2147483709"/>
              <pc:sldLayoutMk cId="2179190088" sldId="2147483794"/>
              <ac:spMk id="2" creationId="{B51A4FC9-6DF5-ABE3-94E1-8598B7A527EA}"/>
            </ac:spMkLst>
          </pc:spChg>
          <pc:spChg chg="mod">
            <ac:chgData name="Falcão Lacerda, Rafael" userId="40181ff7-4694-4c53-a944-7b7d63582359" providerId="ADAL" clId="{3B4D5F63-EA56-4616-8A78-0C43AB7049E7}" dt="2025-12-08T00:26:34.893" v="3490"/>
            <ac:spMkLst>
              <pc:docMk/>
              <pc:sldMasterMk cId="2457110672" sldId="2147483709"/>
              <pc:sldLayoutMk cId="2179190088" sldId="2147483794"/>
              <ac:spMk id="3" creationId="{EF1A1C24-C0B7-DF19-B492-C0ED29CE9AF6}"/>
            </ac:spMkLst>
          </pc:spChg>
          <pc:spChg chg="mod">
            <ac:chgData name="Falcão Lacerda, Rafael" userId="40181ff7-4694-4c53-a944-7b7d63582359" providerId="ADAL" clId="{3B4D5F63-EA56-4616-8A78-0C43AB7049E7}" dt="2025-12-08T00:26:34.911" v="3492" actId="947"/>
            <ac:spMkLst>
              <pc:docMk/>
              <pc:sldMasterMk cId="2457110672" sldId="2147483709"/>
              <pc:sldLayoutMk cId="2179190088" sldId="2147483794"/>
              <ac:spMk id="4" creationId="{5F2E67CA-5DA7-3CD1-C175-808A139DD240}"/>
            </ac:spMkLst>
          </pc:spChg>
          <pc:spChg chg="mod">
            <ac:chgData name="Falcão Lacerda, Rafael" userId="40181ff7-4694-4c53-a944-7b7d63582359" providerId="ADAL" clId="{3B4D5F63-EA56-4616-8A78-0C43AB7049E7}" dt="2025-12-08T00:26:34.925" v="3496" actId="947"/>
            <ac:spMkLst>
              <pc:docMk/>
              <pc:sldMasterMk cId="2457110672" sldId="2147483709"/>
              <pc:sldLayoutMk cId="2179190088" sldId="2147483794"/>
              <ac:spMk id="5" creationId="{C826E34F-821D-D174-AEA1-2830AED1A7A3}"/>
            </ac:spMkLst>
          </pc:spChg>
          <pc:spChg chg="add del mod modVis">
            <ac:chgData name="Falcão Lacerda, Rafael" userId="40181ff7-4694-4c53-a944-7b7d63582359" providerId="ADAL" clId="{3B4D5F63-EA56-4616-8A78-0C43AB7049E7}" dt="2025-12-08T00:26:51.596" v="9871"/>
            <ac:spMkLst>
              <pc:docMk/>
              <pc:sldMasterMk cId="2457110672" sldId="2147483709"/>
              <pc:sldLayoutMk cId="2179190088" sldId="2147483794"/>
              <ac:spMk id="6" creationId="{E609CDAB-6A5F-7B97-3767-95F9BE181F22}"/>
            </ac:spMkLst>
          </pc:spChg>
          <pc:spChg chg="mod">
            <ac:chgData name="Falcão Lacerda, Rafael" userId="40181ff7-4694-4c53-a944-7b7d63582359" providerId="ADAL" clId="{3B4D5F63-EA56-4616-8A78-0C43AB7049E7}" dt="2025-12-08T00:26:34.878" v="3488"/>
            <ac:spMkLst>
              <pc:docMk/>
              <pc:sldMasterMk cId="2457110672" sldId="2147483709"/>
              <pc:sldLayoutMk cId="2179190088" sldId="2147483794"/>
              <ac:spMk id="7" creationId="{23FAE69D-63C7-3796-16D2-0EA82AB27669}"/>
            </ac:spMkLst>
          </pc:spChg>
          <pc:spChg chg="mod">
            <ac:chgData name="Falcão Lacerda, Rafael" userId="40181ff7-4694-4c53-a944-7b7d63582359" providerId="ADAL" clId="{3B4D5F63-EA56-4616-8A78-0C43AB7049E7}" dt="2025-12-08T00:26:45.095" v="7352" actId="948"/>
            <ac:spMkLst>
              <pc:docMk/>
              <pc:sldMasterMk cId="2457110672" sldId="2147483709"/>
              <pc:sldLayoutMk cId="2179190088" sldId="2147483794"/>
              <ac:spMk id="8" creationId="{DD3BC9E6-13A7-8817-A32A-4CC03E8733D9}"/>
            </ac:spMkLst>
          </pc:spChg>
          <pc:spChg chg="mod">
            <ac:chgData name="Falcão Lacerda, Rafael" userId="40181ff7-4694-4c53-a944-7b7d63582359" providerId="ADAL" clId="{3B4D5F63-EA56-4616-8A78-0C43AB7049E7}" dt="2025-12-08T00:26:34.863" v="3484"/>
            <ac:spMkLst>
              <pc:docMk/>
              <pc:sldMasterMk cId="2457110672" sldId="2147483709"/>
              <pc:sldLayoutMk cId="2179190088" sldId="2147483794"/>
              <ac:spMk id="9" creationId="{F970BA5E-9C63-BA7D-B45C-5186452F2409}"/>
            </ac:spMkLst>
          </pc:spChg>
          <pc:spChg chg="mod">
            <ac:chgData name="Falcão Lacerda, Rafael" userId="40181ff7-4694-4c53-a944-7b7d63582359" providerId="ADAL" clId="{3B4D5F63-EA56-4616-8A78-0C43AB7049E7}" dt="2025-12-08T00:26:34.846" v="3480"/>
            <ac:spMkLst>
              <pc:docMk/>
              <pc:sldMasterMk cId="2457110672" sldId="2147483709"/>
              <pc:sldLayoutMk cId="2179190088" sldId="2147483794"/>
              <ac:spMk id="11" creationId="{9A7B63BD-36F9-7F57-E2CF-44D615E0F874}"/>
            </ac:spMkLst>
          </pc:spChg>
          <pc:spChg chg="mod">
            <ac:chgData name="Falcão Lacerda, Rafael" userId="40181ff7-4694-4c53-a944-7b7d63582359" providerId="ADAL" clId="{3B4D5F63-EA56-4616-8A78-0C43AB7049E7}" dt="2025-12-08T00:26:34.814" v="3476"/>
            <ac:spMkLst>
              <pc:docMk/>
              <pc:sldMasterMk cId="2457110672" sldId="2147483709"/>
              <pc:sldLayoutMk cId="2179190088" sldId="2147483794"/>
              <ac:spMk id="12" creationId="{8DC27019-ACF1-C483-EFEB-3CC77DD9EFCA}"/>
            </ac:spMkLst>
          </pc:spChg>
          <pc:spChg chg="del mod">
            <ac:chgData name="Falcão Lacerda, Rafael" userId="40181ff7-4694-4c53-a944-7b7d63582359" providerId="ADAL" clId="{3B4D5F63-EA56-4616-8A78-0C43AB7049E7}" dt="2025-12-08T12:48:24.426" v="29903" actId="478"/>
            <ac:spMkLst>
              <pc:docMk/>
              <pc:sldMasterMk cId="2457110672" sldId="2147483709"/>
              <pc:sldLayoutMk cId="2179190088" sldId="2147483794"/>
              <ac:spMk id="13" creationId="{8F51FE85-6E94-3AD8-FB82-A8BAB773D784}"/>
            </ac:spMkLst>
          </pc:spChg>
          <pc:spChg chg="mod">
            <ac:chgData name="Falcão Lacerda, Rafael" userId="40181ff7-4694-4c53-a944-7b7d63582359" providerId="ADAL" clId="{3B4D5F63-EA56-4616-8A78-0C43AB7049E7}" dt="2025-12-08T00:26:34.831" v="3478"/>
            <ac:spMkLst>
              <pc:docMk/>
              <pc:sldMasterMk cId="2457110672" sldId="2147483709"/>
              <pc:sldLayoutMk cId="2179190088" sldId="2147483794"/>
              <ac:spMk id="46" creationId="{FFC38A35-5CA3-4459-9AC5-201C71534956}"/>
            </ac:spMkLst>
          </pc:spChg>
          <pc:spChg chg="mod">
            <ac:chgData name="Falcão Lacerda, Rafael" userId="40181ff7-4694-4c53-a944-7b7d63582359" providerId="ADAL" clId="{3B4D5F63-EA56-4616-8A78-0C43AB7049E7}" dt="2025-12-08T00:26:34.846" v="3482"/>
            <ac:spMkLst>
              <pc:docMk/>
              <pc:sldMasterMk cId="2457110672" sldId="2147483709"/>
              <pc:sldLayoutMk cId="2179190088" sldId="2147483794"/>
              <ac:spMk id="48" creationId="{84A1985F-A4F6-4997-A4BD-E305CB1A47A6}"/>
            </ac:spMkLst>
          </pc:spChg>
          <pc:spChg chg="mod">
            <ac:chgData name="Falcão Lacerda, Rafael" userId="40181ff7-4694-4c53-a944-7b7d63582359" providerId="ADAL" clId="{3B4D5F63-EA56-4616-8A78-0C43AB7049E7}" dt="2025-12-08T00:26:34.878" v="3486"/>
            <ac:spMkLst>
              <pc:docMk/>
              <pc:sldMasterMk cId="2457110672" sldId="2147483709"/>
              <pc:sldLayoutMk cId="2179190088" sldId="2147483794"/>
              <ac:spMk id="50" creationId="{E5121ACC-7E33-431F-A8A1-419F515D4061}"/>
            </ac:spMkLst>
          </pc:spChg>
          <pc:graphicFrameChg chg="add mod ord modVis">
            <ac:chgData name="Falcão Lacerda, Rafael" userId="40181ff7-4694-4c53-a944-7b7d63582359" providerId="ADAL" clId="{3B4D5F63-EA56-4616-8A78-0C43AB7049E7}" dt="2025-12-08T00:26:51.666" v="9885"/>
            <ac:graphicFrameMkLst>
              <pc:docMk/>
              <pc:sldMasterMk cId="2457110672" sldId="2147483709"/>
              <pc:sldLayoutMk cId="2179190088" sldId="2147483794"/>
              <ac:graphicFrameMk id="10" creationId="{47C9BD93-1C99-B629-4F1E-A6FC7571B3AA}"/>
            </ac:graphicFrameMkLst>
          </pc:graphicFrameChg>
        </pc:sldLayoutChg>
        <pc:sldLayoutChg chg="addSp delSp modSp mod">
          <pc:chgData name="Falcão Lacerda, Rafael" userId="40181ff7-4694-4c53-a944-7b7d63582359" providerId="ADAL" clId="{3B4D5F63-EA56-4616-8A78-0C43AB7049E7}" dt="2025-12-08T12:48:40.694" v="29908" actId="478"/>
          <pc:sldLayoutMkLst>
            <pc:docMk/>
            <pc:sldMasterMk cId="2457110672" sldId="2147483709"/>
            <pc:sldLayoutMk cId="2505579052" sldId="2147483795"/>
          </pc:sldLayoutMkLst>
          <pc:spChg chg="del mod">
            <ac:chgData name="Falcão Lacerda, Rafael" userId="40181ff7-4694-4c53-a944-7b7d63582359" providerId="ADAL" clId="{3B4D5F63-EA56-4616-8A78-0C43AB7049E7}" dt="2025-12-08T12:48:40.694" v="29908" actId="478"/>
            <ac:spMkLst>
              <pc:docMk/>
              <pc:sldMasterMk cId="2457110672" sldId="2147483709"/>
              <pc:sldLayoutMk cId="2505579052" sldId="2147483795"/>
              <ac:spMk id="2" creationId="{281AFB62-DF00-C781-B194-BA35B5F26EDD}"/>
            </ac:spMkLst>
          </pc:spChg>
          <pc:spChg chg="mod">
            <ac:chgData name="Falcão Lacerda, Rafael" userId="40181ff7-4694-4c53-a944-7b7d63582359" providerId="ADAL" clId="{3B4D5F63-EA56-4616-8A78-0C43AB7049E7}" dt="2025-12-08T00:26:44.981" v="7312" actId="948"/>
            <ac:spMkLst>
              <pc:docMk/>
              <pc:sldMasterMk cId="2457110672" sldId="2147483709"/>
              <pc:sldLayoutMk cId="2505579052" sldId="2147483795"/>
              <ac:spMk id="3" creationId="{5BB918B6-32FF-4857-A645-C1032AFAEF62}"/>
            </ac:spMkLst>
          </pc:spChg>
          <pc:spChg chg="mod">
            <ac:chgData name="Falcão Lacerda, Rafael" userId="40181ff7-4694-4c53-a944-7b7d63582359" providerId="ADAL" clId="{3B4D5F63-EA56-4616-8A78-0C43AB7049E7}" dt="2025-12-08T00:26:34.592" v="3426"/>
            <ac:spMkLst>
              <pc:docMk/>
              <pc:sldMasterMk cId="2457110672" sldId="2147483709"/>
              <pc:sldLayoutMk cId="2505579052" sldId="2147483795"/>
              <ac:spMk id="4" creationId="{C15EB609-6106-F616-161A-9233408C6233}"/>
            </ac:spMkLst>
          </pc:spChg>
          <pc:spChg chg="mod">
            <ac:chgData name="Falcão Lacerda, Rafael" userId="40181ff7-4694-4c53-a944-7b7d63582359" providerId="ADAL" clId="{3B4D5F63-EA56-4616-8A78-0C43AB7049E7}" dt="2025-12-08T00:26:34.640" v="3440" actId="947"/>
            <ac:spMkLst>
              <pc:docMk/>
              <pc:sldMasterMk cId="2457110672" sldId="2147483709"/>
              <pc:sldLayoutMk cId="2505579052" sldId="2147483795"/>
              <ac:spMk id="5" creationId="{5A95B4E2-055A-BEE2-36E8-45DD70D13404}"/>
            </ac:spMkLst>
          </pc:spChg>
          <pc:spChg chg="add del mod modVis">
            <ac:chgData name="Falcão Lacerda, Rafael" userId="40181ff7-4694-4c53-a944-7b7d63582359" providerId="ADAL" clId="{3B4D5F63-EA56-4616-8A78-0C43AB7049E7}" dt="2025-12-08T00:26:51.471" v="9839"/>
            <ac:spMkLst>
              <pc:docMk/>
              <pc:sldMasterMk cId="2457110672" sldId="2147483709"/>
              <pc:sldLayoutMk cId="2505579052" sldId="2147483795"/>
              <ac:spMk id="6" creationId="{43FABF2C-10CB-4D5E-8633-30ED78029E33}"/>
            </ac:spMkLst>
          </pc:spChg>
          <pc:spChg chg="mod">
            <ac:chgData name="Falcão Lacerda, Rafael" userId="40181ff7-4694-4c53-a944-7b7d63582359" providerId="ADAL" clId="{3B4D5F63-EA56-4616-8A78-0C43AB7049E7}" dt="2025-12-08T00:26:34.577" v="3422"/>
            <ac:spMkLst>
              <pc:docMk/>
              <pc:sldMasterMk cId="2457110672" sldId="2147483709"/>
              <pc:sldLayoutMk cId="2505579052" sldId="2147483795"/>
              <ac:spMk id="7" creationId="{177CEAEA-C612-CFB5-8548-FA7A606FA780}"/>
            </ac:spMkLst>
          </pc:spChg>
          <pc:spChg chg="mod">
            <ac:chgData name="Falcão Lacerda, Rafael" userId="40181ff7-4694-4c53-a944-7b7d63582359" providerId="ADAL" clId="{3B4D5F63-EA56-4616-8A78-0C43AB7049E7}" dt="2025-12-08T00:26:34.546" v="3418" actId="947"/>
            <ac:spMkLst>
              <pc:docMk/>
              <pc:sldMasterMk cId="2457110672" sldId="2147483709"/>
              <pc:sldLayoutMk cId="2505579052" sldId="2147483795"/>
              <ac:spMk id="8" creationId="{3D16F949-3472-4EBC-9DC1-05EC807C9FC0}"/>
            </ac:spMkLst>
          </pc:spChg>
          <pc:spChg chg="mod">
            <ac:chgData name="Falcão Lacerda, Rafael" userId="40181ff7-4694-4c53-a944-7b7d63582359" providerId="ADAL" clId="{3B4D5F63-EA56-4616-8A78-0C43AB7049E7}" dt="2025-12-08T00:26:34.624" v="3432"/>
            <ac:spMkLst>
              <pc:docMk/>
              <pc:sldMasterMk cId="2457110672" sldId="2147483709"/>
              <pc:sldLayoutMk cId="2505579052" sldId="2147483795"/>
              <ac:spMk id="9" creationId="{8DB439E6-E715-1347-EEE3-DF2D5F246A0B}"/>
            </ac:spMkLst>
          </pc:spChg>
          <pc:spChg chg="mod">
            <ac:chgData name="Falcão Lacerda, Rafael" userId="40181ff7-4694-4c53-a944-7b7d63582359" providerId="ADAL" clId="{3B4D5F63-EA56-4616-8A78-0C43AB7049E7}" dt="2025-12-08T00:26:34.514" v="3414"/>
            <ac:spMkLst>
              <pc:docMk/>
              <pc:sldMasterMk cId="2457110672" sldId="2147483709"/>
              <pc:sldLayoutMk cId="2505579052" sldId="2147483795"/>
              <ac:spMk id="10" creationId="{0E13751C-7DFF-BC74-C2E3-F873D7210D7F}"/>
            </ac:spMkLst>
          </pc:spChg>
          <pc:spChg chg="mod">
            <ac:chgData name="Falcão Lacerda, Rafael" userId="40181ff7-4694-4c53-a944-7b7d63582359" providerId="ADAL" clId="{3B4D5F63-EA56-4616-8A78-0C43AB7049E7}" dt="2025-12-08T00:26:34.624" v="3434" actId="947"/>
            <ac:spMkLst>
              <pc:docMk/>
              <pc:sldMasterMk cId="2457110672" sldId="2147483709"/>
              <pc:sldLayoutMk cId="2505579052" sldId="2147483795"/>
              <ac:spMk id="18" creationId="{F77F3A03-358C-60D3-DCF9-8A5F831189BE}"/>
            </ac:spMkLst>
          </pc:spChg>
          <pc:spChg chg="mod">
            <ac:chgData name="Falcão Lacerda, Rafael" userId="40181ff7-4694-4c53-a944-7b7d63582359" providerId="ADAL" clId="{3B4D5F63-EA56-4616-8A78-0C43AB7049E7}" dt="2025-12-08T00:26:34.530" v="3416"/>
            <ac:spMkLst>
              <pc:docMk/>
              <pc:sldMasterMk cId="2457110672" sldId="2147483709"/>
              <pc:sldLayoutMk cId="2505579052" sldId="2147483795"/>
              <ac:spMk id="21" creationId="{4CA191CE-F49B-4889-A102-DDD1279F3FB2}"/>
            </ac:spMkLst>
          </pc:spChg>
          <pc:spChg chg="del mod">
            <ac:chgData name="Falcão Lacerda, Rafael" userId="40181ff7-4694-4c53-a944-7b7d63582359" providerId="ADAL" clId="{3B4D5F63-EA56-4616-8A78-0C43AB7049E7}" dt="2025-12-08T12:48:37.696" v="29907" actId="478"/>
            <ac:spMkLst>
              <pc:docMk/>
              <pc:sldMasterMk cId="2457110672" sldId="2147483709"/>
              <pc:sldLayoutMk cId="2505579052" sldId="2147483795"/>
              <ac:spMk id="22" creationId="{DBC74FCB-98B7-4709-AC5F-5575E6BA21E2}"/>
            </ac:spMkLst>
          </pc:spChg>
          <pc:spChg chg="mod">
            <ac:chgData name="Falcão Lacerda, Rafael" userId="40181ff7-4694-4c53-a944-7b7d63582359" providerId="ADAL" clId="{3B4D5F63-EA56-4616-8A78-0C43AB7049E7}" dt="2025-12-08T00:26:34.608" v="3430"/>
            <ac:spMkLst>
              <pc:docMk/>
              <pc:sldMasterMk cId="2457110672" sldId="2147483709"/>
              <pc:sldLayoutMk cId="2505579052" sldId="2147483795"/>
              <ac:spMk id="24" creationId="{86209476-BF69-4014-99E6-B53C87141B48}"/>
            </ac:spMkLst>
          </pc:spChg>
          <pc:spChg chg="mod">
            <ac:chgData name="Falcão Lacerda, Rafael" userId="40181ff7-4694-4c53-a944-7b7d63582359" providerId="ADAL" clId="{3B4D5F63-EA56-4616-8A78-0C43AB7049E7}" dt="2025-12-08T00:26:34.592" v="3428" actId="947"/>
            <ac:spMkLst>
              <pc:docMk/>
              <pc:sldMasterMk cId="2457110672" sldId="2147483709"/>
              <pc:sldLayoutMk cId="2505579052" sldId="2147483795"/>
              <ac:spMk id="29" creationId="{F2E53630-789F-425F-8AB1-96EFF4EA1E46}"/>
            </ac:spMkLst>
          </pc:spChg>
          <pc:spChg chg="mod">
            <ac:chgData name="Falcão Lacerda, Rafael" userId="40181ff7-4694-4c53-a944-7b7d63582359" providerId="ADAL" clId="{3B4D5F63-EA56-4616-8A78-0C43AB7049E7}" dt="2025-12-08T00:26:34.498" v="3410"/>
            <ac:spMkLst>
              <pc:docMk/>
              <pc:sldMasterMk cId="2457110672" sldId="2147483709"/>
              <pc:sldLayoutMk cId="2505579052" sldId="2147483795"/>
              <ac:spMk id="38" creationId="{92A5DC07-3811-41E7-B3BC-1DF4ED905C75}"/>
            </ac:spMkLst>
          </pc:spChg>
          <pc:spChg chg="mod">
            <ac:chgData name="Falcão Lacerda, Rafael" userId="40181ff7-4694-4c53-a944-7b7d63582359" providerId="ADAL" clId="{3B4D5F63-EA56-4616-8A78-0C43AB7049E7}" dt="2025-12-08T00:26:34.514" v="3412"/>
            <ac:spMkLst>
              <pc:docMk/>
              <pc:sldMasterMk cId="2457110672" sldId="2147483709"/>
              <pc:sldLayoutMk cId="2505579052" sldId="2147483795"/>
              <ac:spMk id="46" creationId="{FFC38A35-5CA3-4459-9AC5-201C71534956}"/>
            </ac:spMkLst>
          </pc:spChg>
          <pc:spChg chg="mod">
            <ac:chgData name="Falcão Lacerda, Rafael" userId="40181ff7-4694-4c53-a944-7b7d63582359" providerId="ADAL" clId="{3B4D5F63-EA56-4616-8A78-0C43AB7049E7}" dt="2025-12-08T00:26:34.561" v="3420"/>
            <ac:spMkLst>
              <pc:docMk/>
              <pc:sldMasterMk cId="2457110672" sldId="2147483709"/>
              <pc:sldLayoutMk cId="2505579052" sldId="2147483795"/>
              <ac:spMk id="48" creationId="{84A1985F-A4F6-4997-A4BD-E305CB1A47A6}"/>
            </ac:spMkLst>
          </pc:spChg>
          <pc:spChg chg="mod">
            <ac:chgData name="Falcão Lacerda, Rafael" userId="40181ff7-4694-4c53-a944-7b7d63582359" providerId="ADAL" clId="{3B4D5F63-EA56-4616-8A78-0C43AB7049E7}" dt="2025-12-08T00:26:34.592" v="3424"/>
            <ac:spMkLst>
              <pc:docMk/>
              <pc:sldMasterMk cId="2457110672" sldId="2147483709"/>
              <pc:sldLayoutMk cId="2505579052" sldId="2147483795"/>
              <ac:spMk id="50" creationId="{E5121ACC-7E33-431F-A8A1-419F515D4061}"/>
            </ac:spMkLst>
          </pc:spChg>
          <pc:graphicFrameChg chg="add mod ord modVis">
            <ac:chgData name="Falcão Lacerda, Rafael" userId="40181ff7-4694-4c53-a944-7b7d63582359" providerId="ADAL" clId="{3B4D5F63-EA56-4616-8A78-0C43AB7049E7}" dt="2025-12-08T00:26:51.537" v="9853"/>
            <ac:graphicFrameMkLst>
              <pc:docMk/>
              <pc:sldMasterMk cId="2457110672" sldId="2147483709"/>
              <pc:sldLayoutMk cId="2505579052" sldId="2147483795"/>
              <ac:graphicFrameMk id="11" creationId="{E451440E-6B02-EBD5-ECAF-48146C7AB857}"/>
            </ac:graphicFrameMkLst>
          </pc:graphicFrameChg>
        </pc:sldLayoutChg>
        <pc:sldLayoutChg chg="addSp delSp modSp mod">
          <pc:chgData name="Falcão Lacerda, Rafael" userId="40181ff7-4694-4c53-a944-7b7d63582359" providerId="ADAL" clId="{3B4D5F63-EA56-4616-8A78-0C43AB7049E7}" dt="2025-12-08T00:26:48.825" v="9149"/>
          <pc:sldLayoutMkLst>
            <pc:docMk/>
            <pc:sldMasterMk cId="2457110672" sldId="2147483709"/>
            <pc:sldLayoutMk cId="1339097195" sldId="2147483799"/>
          </pc:sldLayoutMkLst>
          <pc:spChg chg="add del mod modVis">
            <ac:chgData name="Falcão Lacerda, Rafael" userId="40181ff7-4694-4c53-a944-7b7d63582359" providerId="ADAL" clId="{3B4D5F63-EA56-4616-8A78-0C43AB7049E7}" dt="2025-12-08T00:26:48.778" v="9135"/>
            <ac:spMkLst>
              <pc:docMk/>
              <pc:sldMasterMk cId="2457110672" sldId="2147483709"/>
              <pc:sldLayoutMk cId="1339097195" sldId="2147483799"/>
              <ac:spMk id="2" creationId="{B19F116C-F04C-92C1-AA8D-A81AFE34D65F}"/>
            </ac:spMkLst>
          </pc:spChg>
          <pc:spChg chg="mod">
            <ac:chgData name="Falcão Lacerda, Rafael" userId="40181ff7-4694-4c53-a944-7b7d63582359" providerId="ADAL" clId="{3B4D5F63-EA56-4616-8A78-0C43AB7049E7}" dt="2025-12-08T00:26:30.619" v="2618"/>
            <ac:spMkLst>
              <pc:docMk/>
              <pc:sldMasterMk cId="2457110672" sldId="2147483709"/>
              <pc:sldLayoutMk cId="1339097195" sldId="2147483799"/>
              <ac:spMk id="8" creationId="{15D79A3D-AC3D-4EB4-AFB4-D6CEFA4231AA}"/>
            </ac:spMkLst>
          </pc:spChg>
          <pc:spChg chg="mod">
            <ac:chgData name="Falcão Lacerda, Rafael" userId="40181ff7-4694-4c53-a944-7b7d63582359" providerId="ADAL" clId="{3B4D5F63-EA56-4616-8A78-0C43AB7049E7}" dt="2025-12-08T00:26:42.507" v="6432" actId="948"/>
            <ac:spMkLst>
              <pc:docMk/>
              <pc:sldMasterMk cId="2457110672" sldId="2147483709"/>
              <pc:sldLayoutMk cId="1339097195" sldId="2147483799"/>
              <ac:spMk id="10" creationId="{FA4FF600-954F-A932-EB0A-7C9AF337B5D8}"/>
            </ac:spMkLst>
          </pc:spChg>
          <pc:spChg chg="mod">
            <ac:chgData name="Falcão Lacerda, Rafael" userId="40181ff7-4694-4c53-a944-7b7d63582359" providerId="ADAL" clId="{3B4D5F63-EA56-4616-8A78-0C43AB7049E7}" dt="2025-12-08T00:26:30.635" v="2622"/>
            <ac:spMkLst>
              <pc:docMk/>
              <pc:sldMasterMk cId="2457110672" sldId="2147483709"/>
              <pc:sldLayoutMk cId="1339097195" sldId="2147483799"/>
              <ac:spMk id="18" creationId="{257C0C72-781A-F24F-B1F2-0A290409F1F6}"/>
            </ac:spMkLst>
          </pc:spChg>
          <pc:spChg chg="mod">
            <ac:chgData name="Falcão Lacerda, Rafael" userId="40181ff7-4694-4c53-a944-7b7d63582359" providerId="ADAL" clId="{3B4D5F63-EA56-4616-8A78-0C43AB7049E7}" dt="2025-12-08T00:26:30.619" v="2620"/>
            <ac:spMkLst>
              <pc:docMk/>
              <pc:sldMasterMk cId="2457110672" sldId="2147483709"/>
              <pc:sldLayoutMk cId="1339097195" sldId="2147483799"/>
              <ac:spMk id="29" creationId="{2F4C171E-3D12-FC48-87BB-B5005B4EE338}"/>
            </ac:spMkLst>
          </pc:spChg>
          <pc:spChg chg="mod">
            <ac:chgData name="Falcão Lacerda, Rafael" userId="40181ff7-4694-4c53-a944-7b7d63582359" providerId="ADAL" clId="{3B4D5F63-EA56-4616-8A78-0C43AB7049E7}" dt="2025-12-08T00:26:30.635" v="2624"/>
            <ac:spMkLst>
              <pc:docMk/>
              <pc:sldMasterMk cId="2457110672" sldId="2147483709"/>
              <pc:sldLayoutMk cId="1339097195" sldId="2147483799"/>
              <ac:spMk id="30" creationId="{E8AE9E02-9423-4748-8AD7-2BBB3B94A799}"/>
            </ac:spMkLst>
          </pc:spChg>
          <pc:spChg chg="mod">
            <ac:chgData name="Falcão Lacerda, Rafael" userId="40181ff7-4694-4c53-a944-7b7d63582359" providerId="ADAL" clId="{3B4D5F63-EA56-4616-8A78-0C43AB7049E7}" dt="2025-12-08T00:26:30.666" v="2628"/>
            <ac:spMkLst>
              <pc:docMk/>
              <pc:sldMasterMk cId="2457110672" sldId="2147483709"/>
              <pc:sldLayoutMk cId="1339097195" sldId="2147483799"/>
              <ac:spMk id="31" creationId="{7C692F47-FBF4-5842-A0CA-4B8B48DE4638}"/>
            </ac:spMkLst>
          </pc:spChg>
          <pc:spChg chg="mod">
            <ac:chgData name="Falcão Lacerda, Rafael" userId="40181ff7-4694-4c53-a944-7b7d63582359" providerId="ADAL" clId="{3B4D5F63-EA56-4616-8A78-0C43AB7049E7}" dt="2025-12-08T00:26:30.685" v="2632"/>
            <ac:spMkLst>
              <pc:docMk/>
              <pc:sldMasterMk cId="2457110672" sldId="2147483709"/>
              <pc:sldLayoutMk cId="1339097195" sldId="2147483799"/>
              <ac:spMk id="32" creationId="{BDE48124-A481-074B-9AD4-22EC49D172D0}"/>
            </ac:spMkLst>
          </pc:spChg>
          <pc:spChg chg="mod">
            <ac:chgData name="Falcão Lacerda, Rafael" userId="40181ff7-4694-4c53-a944-7b7d63582359" providerId="ADAL" clId="{3B4D5F63-EA56-4616-8A78-0C43AB7049E7}" dt="2025-12-08T00:26:30.714" v="2636"/>
            <ac:spMkLst>
              <pc:docMk/>
              <pc:sldMasterMk cId="2457110672" sldId="2147483709"/>
              <pc:sldLayoutMk cId="1339097195" sldId="2147483799"/>
              <ac:spMk id="33" creationId="{98E2B4B4-ED02-4945-B581-1A8D48D031AA}"/>
            </ac:spMkLst>
          </pc:spChg>
          <pc:spChg chg="mod">
            <ac:chgData name="Falcão Lacerda, Rafael" userId="40181ff7-4694-4c53-a944-7b7d63582359" providerId="ADAL" clId="{3B4D5F63-EA56-4616-8A78-0C43AB7049E7}" dt="2025-12-08T00:26:30.746" v="2640"/>
            <ac:spMkLst>
              <pc:docMk/>
              <pc:sldMasterMk cId="2457110672" sldId="2147483709"/>
              <pc:sldLayoutMk cId="1339097195" sldId="2147483799"/>
              <ac:spMk id="34" creationId="{B70B7DFE-5DE8-0F42-BF3C-DA43110C0D0E}"/>
            </ac:spMkLst>
          </pc:spChg>
          <pc:spChg chg="mod">
            <ac:chgData name="Falcão Lacerda, Rafael" userId="40181ff7-4694-4c53-a944-7b7d63582359" providerId="ADAL" clId="{3B4D5F63-EA56-4616-8A78-0C43AB7049E7}" dt="2025-12-08T00:26:30.778" v="2644"/>
            <ac:spMkLst>
              <pc:docMk/>
              <pc:sldMasterMk cId="2457110672" sldId="2147483709"/>
              <pc:sldLayoutMk cId="1339097195" sldId="2147483799"/>
              <ac:spMk id="35" creationId="{D63FCDAD-F7F9-774F-8EC9-A0777820ED0F}"/>
            </ac:spMkLst>
          </pc:spChg>
          <pc:spChg chg="mod">
            <ac:chgData name="Falcão Lacerda, Rafael" userId="40181ff7-4694-4c53-a944-7b7d63582359" providerId="ADAL" clId="{3B4D5F63-EA56-4616-8A78-0C43AB7049E7}" dt="2025-12-08T00:26:30.794" v="2648"/>
            <ac:spMkLst>
              <pc:docMk/>
              <pc:sldMasterMk cId="2457110672" sldId="2147483709"/>
              <pc:sldLayoutMk cId="1339097195" sldId="2147483799"/>
              <ac:spMk id="36" creationId="{AE66CCF5-C5F4-5645-A851-E4A7D572FDA7}"/>
            </ac:spMkLst>
          </pc:spChg>
          <pc:spChg chg="mod">
            <ac:chgData name="Falcão Lacerda, Rafael" userId="40181ff7-4694-4c53-a944-7b7d63582359" providerId="ADAL" clId="{3B4D5F63-EA56-4616-8A78-0C43AB7049E7}" dt="2025-12-08T00:26:30.650" v="2626"/>
            <ac:spMkLst>
              <pc:docMk/>
              <pc:sldMasterMk cId="2457110672" sldId="2147483709"/>
              <pc:sldLayoutMk cId="1339097195" sldId="2147483799"/>
              <ac:spMk id="57" creationId="{A5D4C4AC-7870-A641-AF65-6F3ECB9DA9CA}"/>
            </ac:spMkLst>
          </pc:spChg>
          <pc:spChg chg="mod">
            <ac:chgData name="Falcão Lacerda, Rafael" userId="40181ff7-4694-4c53-a944-7b7d63582359" providerId="ADAL" clId="{3B4D5F63-EA56-4616-8A78-0C43AB7049E7}" dt="2025-12-08T00:26:30.685" v="2630"/>
            <ac:spMkLst>
              <pc:docMk/>
              <pc:sldMasterMk cId="2457110672" sldId="2147483709"/>
              <pc:sldLayoutMk cId="1339097195" sldId="2147483799"/>
              <ac:spMk id="59" creationId="{9F332AA7-2896-E24E-B21D-90FED54D4335}"/>
            </ac:spMkLst>
          </pc:spChg>
          <pc:spChg chg="mod">
            <ac:chgData name="Falcão Lacerda, Rafael" userId="40181ff7-4694-4c53-a944-7b7d63582359" providerId="ADAL" clId="{3B4D5F63-EA56-4616-8A78-0C43AB7049E7}" dt="2025-12-08T00:26:30.714" v="2634"/>
            <ac:spMkLst>
              <pc:docMk/>
              <pc:sldMasterMk cId="2457110672" sldId="2147483709"/>
              <pc:sldLayoutMk cId="1339097195" sldId="2147483799"/>
              <ac:spMk id="61" creationId="{25D7BCB2-FC6B-2A46-AC11-482A4F731116}"/>
            </ac:spMkLst>
          </pc:spChg>
          <pc:spChg chg="mod">
            <ac:chgData name="Falcão Lacerda, Rafael" userId="40181ff7-4694-4c53-a944-7b7d63582359" providerId="ADAL" clId="{3B4D5F63-EA56-4616-8A78-0C43AB7049E7}" dt="2025-12-08T00:26:30.730" v="2638"/>
            <ac:spMkLst>
              <pc:docMk/>
              <pc:sldMasterMk cId="2457110672" sldId="2147483709"/>
              <pc:sldLayoutMk cId="1339097195" sldId="2147483799"/>
              <ac:spMk id="63" creationId="{FD74906C-72A4-CF4A-A4F6-B28AE864B9B7}"/>
            </ac:spMkLst>
          </pc:spChg>
          <pc:spChg chg="mod">
            <ac:chgData name="Falcão Lacerda, Rafael" userId="40181ff7-4694-4c53-a944-7b7d63582359" providerId="ADAL" clId="{3B4D5F63-EA56-4616-8A78-0C43AB7049E7}" dt="2025-12-08T00:26:30.762" v="2642"/>
            <ac:spMkLst>
              <pc:docMk/>
              <pc:sldMasterMk cId="2457110672" sldId="2147483709"/>
              <pc:sldLayoutMk cId="1339097195" sldId="2147483799"/>
              <ac:spMk id="65" creationId="{F28AA3EC-0083-2742-A4D0-0B32569FD766}"/>
            </ac:spMkLst>
          </pc:spChg>
          <pc:spChg chg="mod">
            <ac:chgData name="Falcão Lacerda, Rafael" userId="40181ff7-4694-4c53-a944-7b7d63582359" providerId="ADAL" clId="{3B4D5F63-EA56-4616-8A78-0C43AB7049E7}" dt="2025-12-08T00:26:30.794" v="2646"/>
            <ac:spMkLst>
              <pc:docMk/>
              <pc:sldMasterMk cId="2457110672" sldId="2147483709"/>
              <pc:sldLayoutMk cId="1339097195" sldId="2147483799"/>
              <ac:spMk id="67" creationId="{D46DA866-B19E-684E-8A23-EEA295487841}"/>
            </ac:spMkLst>
          </pc:spChg>
          <pc:spChg chg="mod">
            <ac:chgData name="Falcão Lacerda, Rafael" userId="40181ff7-4694-4c53-a944-7b7d63582359" providerId="ADAL" clId="{3B4D5F63-EA56-4616-8A78-0C43AB7049E7}" dt="2025-12-08T00:26:30.812" v="2650"/>
            <ac:spMkLst>
              <pc:docMk/>
              <pc:sldMasterMk cId="2457110672" sldId="2147483709"/>
              <pc:sldLayoutMk cId="1339097195" sldId="2147483799"/>
              <ac:spMk id="69" creationId="{A4A135E2-DF01-5543-BA57-DFBCCC446A3A}"/>
            </ac:spMkLst>
          </pc:spChg>
          <pc:spChg chg="mod">
            <ac:chgData name="Falcão Lacerda, Rafael" userId="40181ff7-4694-4c53-a944-7b7d63582359" providerId="ADAL" clId="{3B4D5F63-EA56-4616-8A78-0C43AB7049E7}" dt="2025-12-08T00:26:30.843" v="2654"/>
            <ac:spMkLst>
              <pc:docMk/>
              <pc:sldMasterMk cId="2457110672" sldId="2147483709"/>
              <pc:sldLayoutMk cId="1339097195" sldId="2147483799"/>
              <ac:spMk id="86" creationId="{C10680BC-1106-B24D-A63E-02912A27325E}"/>
            </ac:spMkLst>
          </pc:spChg>
          <pc:spChg chg="mod">
            <ac:chgData name="Falcão Lacerda, Rafael" userId="40181ff7-4694-4c53-a944-7b7d63582359" providerId="ADAL" clId="{3B4D5F63-EA56-4616-8A78-0C43AB7049E7}" dt="2025-12-08T00:26:30.875" v="2658"/>
            <ac:spMkLst>
              <pc:docMk/>
              <pc:sldMasterMk cId="2457110672" sldId="2147483709"/>
              <pc:sldLayoutMk cId="1339097195" sldId="2147483799"/>
              <ac:spMk id="87" creationId="{194D437D-E8B7-694E-B60A-5A3D6E811713}"/>
            </ac:spMkLst>
          </pc:spChg>
          <pc:spChg chg="mod">
            <ac:chgData name="Falcão Lacerda, Rafael" userId="40181ff7-4694-4c53-a944-7b7d63582359" providerId="ADAL" clId="{3B4D5F63-EA56-4616-8A78-0C43AB7049E7}" dt="2025-12-08T00:26:30.905" v="2662"/>
            <ac:spMkLst>
              <pc:docMk/>
              <pc:sldMasterMk cId="2457110672" sldId="2147483709"/>
              <pc:sldLayoutMk cId="1339097195" sldId="2147483799"/>
              <ac:spMk id="88" creationId="{D743CFF4-B173-B648-86A6-5021F5FB8C07}"/>
            </ac:spMkLst>
          </pc:spChg>
          <pc:spChg chg="mod">
            <ac:chgData name="Falcão Lacerda, Rafael" userId="40181ff7-4694-4c53-a944-7b7d63582359" providerId="ADAL" clId="{3B4D5F63-EA56-4616-8A78-0C43AB7049E7}" dt="2025-12-08T00:26:30.922" v="2666"/>
            <ac:spMkLst>
              <pc:docMk/>
              <pc:sldMasterMk cId="2457110672" sldId="2147483709"/>
              <pc:sldLayoutMk cId="1339097195" sldId="2147483799"/>
              <ac:spMk id="89" creationId="{67B9EDF9-023B-A84C-B540-ABBA3E3BA5C0}"/>
            </ac:spMkLst>
          </pc:spChg>
          <pc:spChg chg="mod">
            <ac:chgData name="Falcão Lacerda, Rafael" userId="40181ff7-4694-4c53-a944-7b7d63582359" providerId="ADAL" clId="{3B4D5F63-EA56-4616-8A78-0C43AB7049E7}" dt="2025-12-08T00:26:30.953" v="2670"/>
            <ac:spMkLst>
              <pc:docMk/>
              <pc:sldMasterMk cId="2457110672" sldId="2147483709"/>
              <pc:sldLayoutMk cId="1339097195" sldId="2147483799"/>
              <ac:spMk id="90" creationId="{EA82EDEB-3F03-7A48-BC36-8C7437083F46}"/>
            </ac:spMkLst>
          </pc:spChg>
          <pc:spChg chg="mod">
            <ac:chgData name="Falcão Lacerda, Rafael" userId="40181ff7-4694-4c53-a944-7b7d63582359" providerId="ADAL" clId="{3B4D5F63-EA56-4616-8A78-0C43AB7049E7}" dt="2025-12-08T00:26:30.970" v="2674"/>
            <ac:spMkLst>
              <pc:docMk/>
              <pc:sldMasterMk cId="2457110672" sldId="2147483709"/>
              <pc:sldLayoutMk cId="1339097195" sldId="2147483799"/>
              <ac:spMk id="91" creationId="{8D7A3AD2-4413-D941-B944-D1D235AC6689}"/>
            </ac:spMkLst>
          </pc:spChg>
          <pc:spChg chg="mod">
            <ac:chgData name="Falcão Lacerda, Rafael" userId="40181ff7-4694-4c53-a944-7b7d63582359" providerId="ADAL" clId="{3B4D5F63-EA56-4616-8A78-0C43AB7049E7}" dt="2025-12-08T00:26:31.001" v="2678"/>
            <ac:spMkLst>
              <pc:docMk/>
              <pc:sldMasterMk cId="2457110672" sldId="2147483709"/>
              <pc:sldLayoutMk cId="1339097195" sldId="2147483799"/>
              <ac:spMk id="92" creationId="{F5014509-24B5-6040-8686-31A95601E0B3}"/>
            </ac:spMkLst>
          </pc:spChg>
          <pc:spChg chg="mod">
            <ac:chgData name="Falcão Lacerda, Rafael" userId="40181ff7-4694-4c53-a944-7b7d63582359" providerId="ADAL" clId="{3B4D5F63-EA56-4616-8A78-0C43AB7049E7}" dt="2025-12-08T00:26:31.017" v="2682"/>
            <ac:spMkLst>
              <pc:docMk/>
              <pc:sldMasterMk cId="2457110672" sldId="2147483709"/>
              <pc:sldLayoutMk cId="1339097195" sldId="2147483799"/>
              <ac:spMk id="93" creationId="{02B9D5CB-DA36-724C-A996-6331344816A3}"/>
            </ac:spMkLst>
          </pc:spChg>
          <pc:spChg chg="mod">
            <ac:chgData name="Falcão Lacerda, Rafael" userId="40181ff7-4694-4c53-a944-7b7d63582359" providerId="ADAL" clId="{3B4D5F63-EA56-4616-8A78-0C43AB7049E7}" dt="2025-12-08T00:26:30.826" v="2652"/>
            <ac:spMkLst>
              <pc:docMk/>
              <pc:sldMasterMk cId="2457110672" sldId="2147483709"/>
              <pc:sldLayoutMk cId="1339097195" sldId="2147483799"/>
              <ac:spMk id="94" creationId="{ED51288A-4DF8-0D4F-8BBC-90AE60B66177}"/>
            </ac:spMkLst>
          </pc:spChg>
          <pc:spChg chg="mod">
            <ac:chgData name="Falcão Lacerda, Rafael" userId="40181ff7-4694-4c53-a944-7b7d63582359" providerId="ADAL" clId="{3B4D5F63-EA56-4616-8A78-0C43AB7049E7}" dt="2025-12-08T00:26:30.858" v="2656"/>
            <ac:spMkLst>
              <pc:docMk/>
              <pc:sldMasterMk cId="2457110672" sldId="2147483709"/>
              <pc:sldLayoutMk cId="1339097195" sldId="2147483799"/>
              <ac:spMk id="95" creationId="{B55123CE-2705-2A4C-88D5-5BEECF04606C}"/>
            </ac:spMkLst>
          </pc:spChg>
          <pc:spChg chg="mod">
            <ac:chgData name="Falcão Lacerda, Rafael" userId="40181ff7-4694-4c53-a944-7b7d63582359" providerId="ADAL" clId="{3B4D5F63-EA56-4616-8A78-0C43AB7049E7}" dt="2025-12-08T00:26:30.890" v="2660"/>
            <ac:spMkLst>
              <pc:docMk/>
              <pc:sldMasterMk cId="2457110672" sldId="2147483709"/>
              <pc:sldLayoutMk cId="1339097195" sldId="2147483799"/>
              <ac:spMk id="96" creationId="{95340386-A048-C64F-B858-E874FB9006DC}"/>
            </ac:spMkLst>
          </pc:spChg>
          <pc:spChg chg="mod">
            <ac:chgData name="Falcão Lacerda, Rafael" userId="40181ff7-4694-4c53-a944-7b7d63582359" providerId="ADAL" clId="{3B4D5F63-EA56-4616-8A78-0C43AB7049E7}" dt="2025-12-08T00:26:30.905" v="2664"/>
            <ac:spMkLst>
              <pc:docMk/>
              <pc:sldMasterMk cId="2457110672" sldId="2147483709"/>
              <pc:sldLayoutMk cId="1339097195" sldId="2147483799"/>
              <ac:spMk id="97" creationId="{389D3522-38D0-6A46-B023-28998ECDD0FA}"/>
            </ac:spMkLst>
          </pc:spChg>
          <pc:spChg chg="mod">
            <ac:chgData name="Falcão Lacerda, Rafael" userId="40181ff7-4694-4c53-a944-7b7d63582359" providerId="ADAL" clId="{3B4D5F63-EA56-4616-8A78-0C43AB7049E7}" dt="2025-12-08T00:26:30.937" v="2668"/>
            <ac:spMkLst>
              <pc:docMk/>
              <pc:sldMasterMk cId="2457110672" sldId="2147483709"/>
              <pc:sldLayoutMk cId="1339097195" sldId="2147483799"/>
              <ac:spMk id="98" creationId="{DFF1DA35-A5DD-8E48-B33F-D2FC79AD9AF0}"/>
            </ac:spMkLst>
          </pc:spChg>
          <pc:spChg chg="mod">
            <ac:chgData name="Falcão Lacerda, Rafael" userId="40181ff7-4694-4c53-a944-7b7d63582359" providerId="ADAL" clId="{3B4D5F63-EA56-4616-8A78-0C43AB7049E7}" dt="2025-12-08T00:26:30.953" v="2672"/>
            <ac:spMkLst>
              <pc:docMk/>
              <pc:sldMasterMk cId="2457110672" sldId="2147483709"/>
              <pc:sldLayoutMk cId="1339097195" sldId="2147483799"/>
              <ac:spMk id="99" creationId="{2DD1FA43-908E-6A4A-8D78-19F781C138B2}"/>
            </ac:spMkLst>
          </pc:spChg>
          <pc:spChg chg="mod">
            <ac:chgData name="Falcão Lacerda, Rafael" userId="40181ff7-4694-4c53-a944-7b7d63582359" providerId="ADAL" clId="{3B4D5F63-EA56-4616-8A78-0C43AB7049E7}" dt="2025-12-08T00:26:30.986" v="2676"/>
            <ac:spMkLst>
              <pc:docMk/>
              <pc:sldMasterMk cId="2457110672" sldId="2147483709"/>
              <pc:sldLayoutMk cId="1339097195" sldId="2147483799"/>
              <ac:spMk id="100" creationId="{B42DF6FB-CEA5-344B-B42D-A5B8AF0712F6}"/>
            </ac:spMkLst>
          </pc:spChg>
          <pc:spChg chg="mod">
            <ac:chgData name="Falcão Lacerda, Rafael" userId="40181ff7-4694-4c53-a944-7b7d63582359" providerId="ADAL" clId="{3B4D5F63-EA56-4616-8A78-0C43AB7049E7}" dt="2025-12-08T00:26:31.001" v="2680"/>
            <ac:spMkLst>
              <pc:docMk/>
              <pc:sldMasterMk cId="2457110672" sldId="2147483709"/>
              <pc:sldLayoutMk cId="1339097195" sldId="2147483799"/>
              <ac:spMk id="101" creationId="{DD7618EA-1B4E-9D4F-BE9D-ED39BC26377B}"/>
            </ac:spMkLst>
          </pc:spChg>
          <pc:graphicFrameChg chg="add mod ord modVis">
            <ac:chgData name="Falcão Lacerda, Rafael" userId="40181ff7-4694-4c53-a944-7b7d63582359" providerId="ADAL" clId="{3B4D5F63-EA56-4616-8A78-0C43AB7049E7}" dt="2025-12-08T00:26:48.825" v="9149"/>
            <ac:graphicFrameMkLst>
              <pc:docMk/>
              <pc:sldMasterMk cId="2457110672" sldId="2147483709"/>
              <pc:sldLayoutMk cId="1339097195" sldId="2147483799"/>
              <ac:graphicFrameMk id="3" creationId="{E65711C1-C5A3-D27D-24DB-A8CBBD060630}"/>
            </ac:graphicFrameMkLst>
          </pc:graphicFrameChg>
        </pc:sldLayoutChg>
        <pc:sldLayoutChg chg="addSp delSp modSp mod">
          <pc:chgData name="Falcão Lacerda, Rafael" userId="40181ff7-4694-4c53-a944-7b7d63582359" providerId="ADAL" clId="{3B4D5F63-EA56-4616-8A78-0C43AB7049E7}" dt="2025-12-08T12:48:07.507" v="29898" actId="478"/>
          <pc:sldLayoutMkLst>
            <pc:docMk/>
            <pc:sldMasterMk cId="2457110672" sldId="2147483709"/>
            <pc:sldLayoutMk cId="428193222" sldId="2147483833"/>
          </pc:sldLayoutMkLst>
          <pc:spChg chg="add del mod modVis">
            <ac:chgData name="Falcão Lacerda, Rafael" userId="40181ff7-4694-4c53-a944-7b7d63582359" providerId="ADAL" clId="{3B4D5F63-EA56-4616-8A78-0C43AB7049E7}" dt="2025-12-08T00:26:51.908" v="9949"/>
            <ac:spMkLst>
              <pc:docMk/>
              <pc:sldMasterMk cId="2457110672" sldId="2147483709"/>
              <pc:sldLayoutMk cId="428193222" sldId="2147483833"/>
              <ac:spMk id="3" creationId="{4C30EC83-9414-0691-1EF8-A4B9962AE9C0}"/>
            </ac:spMkLst>
          </pc:spChg>
          <pc:spChg chg="add del mod">
            <ac:chgData name="Falcão Lacerda, Rafael" userId="40181ff7-4694-4c53-a944-7b7d63582359" providerId="ADAL" clId="{3B4D5F63-EA56-4616-8A78-0C43AB7049E7}" dt="2025-12-08T12:48:07.507" v="29898" actId="478"/>
            <ac:spMkLst>
              <pc:docMk/>
              <pc:sldMasterMk cId="2457110672" sldId="2147483709"/>
              <pc:sldLayoutMk cId="428193222" sldId="2147483833"/>
              <ac:spMk id="4" creationId="{5D5952F7-6C63-8F87-4E22-999BB41F26C3}"/>
            </ac:spMkLst>
          </pc:spChg>
          <pc:spChg chg="mod">
            <ac:chgData name="Falcão Lacerda, Rafael" userId="40181ff7-4694-4c53-a944-7b7d63582359" providerId="ADAL" clId="{3B4D5F63-EA56-4616-8A78-0C43AB7049E7}" dt="2025-12-08T00:26:45.335" v="7433" actId="948"/>
            <ac:spMkLst>
              <pc:docMk/>
              <pc:sldMasterMk cId="2457110672" sldId="2147483709"/>
              <pc:sldLayoutMk cId="428193222" sldId="2147483833"/>
              <ac:spMk id="6" creationId="{9406901E-2FDA-B887-CCF5-FADFC0C3B943}"/>
            </ac:spMkLst>
          </pc:spChg>
          <pc:spChg chg="mod">
            <ac:chgData name="Falcão Lacerda, Rafael" userId="40181ff7-4694-4c53-a944-7b7d63582359" providerId="ADAL" clId="{3B4D5F63-EA56-4616-8A78-0C43AB7049E7}" dt="2025-12-08T00:26:35.257" v="3568" actId="947"/>
            <ac:spMkLst>
              <pc:docMk/>
              <pc:sldMasterMk cId="2457110672" sldId="2147483709"/>
              <pc:sldLayoutMk cId="428193222" sldId="2147483833"/>
              <ac:spMk id="7" creationId="{540D3C9F-6433-4B02-3A65-24CE972551FF}"/>
            </ac:spMkLst>
          </pc:spChg>
          <pc:graphicFrameChg chg="add mod ord modVis">
            <ac:chgData name="Falcão Lacerda, Rafael" userId="40181ff7-4694-4c53-a944-7b7d63582359" providerId="ADAL" clId="{3B4D5F63-EA56-4616-8A78-0C43AB7049E7}" dt="2025-12-08T00:26:51.949" v="9963"/>
            <ac:graphicFrameMkLst>
              <pc:docMk/>
              <pc:sldMasterMk cId="2457110672" sldId="2147483709"/>
              <pc:sldLayoutMk cId="428193222" sldId="2147483833"/>
              <ac:graphicFrameMk id="5" creationId="{26D216A8-16CF-A49A-FECB-0284EAFBD328}"/>
            </ac:graphicFrameMkLst>
          </pc:graphicFrameChg>
          <pc:picChg chg="del">
            <ac:chgData name="Falcão Lacerda, Rafael" userId="40181ff7-4694-4c53-a944-7b7d63582359" providerId="ADAL" clId="{3B4D5F63-EA56-4616-8A78-0C43AB7049E7}" dt="2025-12-08T12:47:55.552" v="29893" actId="478"/>
            <ac:picMkLst>
              <pc:docMk/>
              <pc:sldMasterMk cId="2457110672" sldId="2147483709"/>
              <pc:sldLayoutMk cId="428193222" sldId="2147483833"/>
              <ac:picMk id="2" creationId="{64951822-2C90-C040-C685-A9310D236165}"/>
            </ac:picMkLst>
          </pc:picChg>
        </pc:sldLayoutChg>
        <pc:sldLayoutChg chg="addSp delSp modSp mod">
          <pc:chgData name="Falcão Lacerda, Rafael" userId="40181ff7-4694-4c53-a944-7b7d63582359" providerId="ADAL" clId="{3B4D5F63-EA56-4616-8A78-0C43AB7049E7}" dt="2025-12-08T00:26:49.451" v="9325"/>
          <pc:sldLayoutMkLst>
            <pc:docMk/>
            <pc:sldMasterMk cId="2457110672" sldId="2147483709"/>
            <pc:sldLayoutMk cId="1474107741" sldId="2147483837"/>
          </pc:sldLayoutMkLst>
          <pc:spChg chg="add del mod modVis">
            <ac:chgData name="Falcão Lacerda, Rafael" userId="40181ff7-4694-4c53-a944-7b7d63582359" providerId="ADAL" clId="{3B4D5F63-EA56-4616-8A78-0C43AB7049E7}" dt="2025-12-08T00:26:49.410" v="9311"/>
            <ac:spMkLst>
              <pc:docMk/>
              <pc:sldMasterMk cId="2457110672" sldId="2147483709"/>
              <pc:sldLayoutMk cId="1474107741" sldId="2147483837"/>
              <ac:spMk id="2" creationId="{D487BC58-EB84-2C90-1501-F82DB38956D7}"/>
            </ac:spMkLst>
          </pc:spChg>
          <pc:spChg chg="mod">
            <ac:chgData name="Falcão Lacerda, Rafael" userId="40181ff7-4694-4c53-a944-7b7d63582359" providerId="ADAL" clId="{3B4D5F63-EA56-4616-8A78-0C43AB7049E7}" dt="2025-12-08T00:26:43.156" v="6652" actId="948"/>
            <ac:spMkLst>
              <pc:docMk/>
              <pc:sldMasterMk cId="2457110672" sldId="2147483709"/>
              <pc:sldLayoutMk cId="1474107741" sldId="2147483837"/>
              <ac:spMk id="4" creationId="{48701463-9442-1142-516A-46496479961A}"/>
            </ac:spMkLst>
          </pc:spChg>
          <pc:spChg chg="mod">
            <ac:chgData name="Falcão Lacerda, Rafael" userId="40181ff7-4694-4c53-a944-7b7d63582359" providerId="ADAL" clId="{3B4D5F63-EA56-4616-8A78-0C43AB7049E7}" dt="2025-12-08T00:26:32.011" v="2864"/>
            <ac:spMkLst>
              <pc:docMk/>
              <pc:sldMasterMk cId="2457110672" sldId="2147483709"/>
              <pc:sldLayoutMk cId="1474107741" sldId="2147483837"/>
              <ac:spMk id="7" creationId="{9917C584-C28F-B584-7B0F-55FA025AE20A}"/>
            </ac:spMkLst>
          </pc:spChg>
          <pc:spChg chg="mod">
            <ac:chgData name="Falcão Lacerda, Rafael" userId="40181ff7-4694-4c53-a944-7b7d63582359" providerId="ADAL" clId="{3B4D5F63-EA56-4616-8A78-0C43AB7049E7}" dt="2025-12-08T00:26:32.011" v="2866"/>
            <ac:spMkLst>
              <pc:docMk/>
              <pc:sldMasterMk cId="2457110672" sldId="2147483709"/>
              <pc:sldLayoutMk cId="1474107741" sldId="2147483837"/>
              <ac:spMk id="8" creationId="{6042C45C-90BD-45D8-3274-EC8F9C34884E}"/>
            </ac:spMkLst>
          </pc:spChg>
          <pc:graphicFrameChg chg="add mod ord modVis">
            <ac:chgData name="Falcão Lacerda, Rafael" userId="40181ff7-4694-4c53-a944-7b7d63582359" providerId="ADAL" clId="{3B4D5F63-EA56-4616-8A78-0C43AB7049E7}" dt="2025-12-08T00:26:49.451" v="9325"/>
            <ac:graphicFrameMkLst>
              <pc:docMk/>
              <pc:sldMasterMk cId="2457110672" sldId="2147483709"/>
              <pc:sldLayoutMk cId="1474107741" sldId="2147483837"/>
              <ac:graphicFrameMk id="3" creationId="{224E82D1-22F0-37D9-305E-7B5F9A82AE53}"/>
            </ac:graphicFrameMkLst>
          </pc:graphicFrameChg>
        </pc:sldLayoutChg>
        <pc:sldLayoutChg chg="addSp delSp modSp mod">
          <pc:chgData name="Falcão Lacerda, Rafael" userId="40181ff7-4694-4c53-a944-7b7d63582359" providerId="ADAL" clId="{3B4D5F63-EA56-4616-8A78-0C43AB7049E7}" dt="2025-12-08T12:48:14.420" v="29900" actId="478"/>
          <pc:sldLayoutMkLst>
            <pc:docMk/>
            <pc:sldMasterMk cId="2457110672" sldId="2147483709"/>
            <pc:sldLayoutMk cId="2340687954" sldId="2147483838"/>
          </pc:sldLayoutMkLst>
          <pc:spChg chg="del mod">
            <ac:chgData name="Falcão Lacerda, Rafael" userId="40181ff7-4694-4c53-a944-7b7d63582359" providerId="ADAL" clId="{3B4D5F63-EA56-4616-8A78-0C43AB7049E7}" dt="2025-12-08T12:48:14.420" v="29900" actId="478"/>
            <ac:spMkLst>
              <pc:docMk/>
              <pc:sldMasterMk cId="2457110672" sldId="2147483709"/>
              <pc:sldLayoutMk cId="2340687954" sldId="2147483838"/>
              <ac:spMk id="2" creationId="{8F090878-FDCB-E32E-7E4D-4A1D113FA508}"/>
            </ac:spMkLst>
          </pc:spChg>
          <pc:spChg chg="mod">
            <ac:chgData name="Falcão Lacerda, Rafael" userId="40181ff7-4694-4c53-a944-7b7d63582359" providerId="ADAL" clId="{3B4D5F63-EA56-4616-8A78-0C43AB7049E7}" dt="2025-12-08T00:26:35.211" v="3558" actId="947"/>
            <ac:spMkLst>
              <pc:docMk/>
              <pc:sldMasterMk cId="2457110672" sldId="2147483709"/>
              <pc:sldLayoutMk cId="2340687954" sldId="2147483838"/>
              <ac:spMk id="4" creationId="{6DD78C6E-A2CA-C7D3-D53E-97A08AAAEAD8}"/>
            </ac:spMkLst>
          </pc:spChg>
          <pc:spChg chg="mod">
            <ac:chgData name="Falcão Lacerda, Rafael" userId="40181ff7-4694-4c53-a944-7b7d63582359" providerId="ADAL" clId="{3B4D5F63-EA56-4616-8A78-0C43AB7049E7}" dt="2025-12-08T00:26:45.324" v="7432" actId="948"/>
            <ac:spMkLst>
              <pc:docMk/>
              <pc:sldMasterMk cId="2457110672" sldId="2147483709"/>
              <pc:sldLayoutMk cId="2340687954" sldId="2147483838"/>
              <ac:spMk id="8" creationId="{4772D35A-1963-BF72-AA80-2201D2B0173F}"/>
            </ac:spMkLst>
          </pc:spChg>
          <pc:spChg chg="del mod">
            <ac:chgData name="Falcão Lacerda, Rafael" userId="40181ff7-4694-4c53-a944-7b7d63582359" providerId="ADAL" clId="{3B4D5F63-EA56-4616-8A78-0C43AB7049E7}" dt="2025-12-08T12:48:12.038" v="29899" actId="478"/>
            <ac:spMkLst>
              <pc:docMk/>
              <pc:sldMasterMk cId="2457110672" sldId="2147483709"/>
              <pc:sldLayoutMk cId="2340687954" sldId="2147483838"/>
              <ac:spMk id="10" creationId="{79093C77-020A-31D2-4F4F-DA77DEFA8E84}"/>
            </ac:spMkLst>
          </pc:spChg>
          <pc:graphicFrameChg chg="add mod ord modVis">
            <ac:chgData name="Falcão Lacerda, Rafael" userId="40181ff7-4694-4c53-a944-7b7d63582359" providerId="ADAL" clId="{3B4D5F63-EA56-4616-8A78-0C43AB7049E7}" dt="2025-12-08T00:26:51.894" v="9947"/>
            <ac:graphicFrameMkLst>
              <pc:docMk/>
              <pc:sldMasterMk cId="2457110672" sldId="2147483709"/>
              <pc:sldLayoutMk cId="2340687954" sldId="2147483838"/>
              <ac:graphicFrameMk id="3" creationId="{81178445-30AF-4A1A-2112-87CFE67F7EF4}"/>
            </ac:graphicFrameMkLst>
          </pc:graphicFrameChg>
          <pc:picChg chg="add del">
            <ac:chgData name="Falcão Lacerda, Rafael" userId="40181ff7-4694-4c53-a944-7b7d63582359" providerId="ADAL" clId="{3B4D5F63-EA56-4616-8A78-0C43AB7049E7}" dt="2025-12-08T12:48:03.860" v="29896" actId="478"/>
            <ac:picMkLst>
              <pc:docMk/>
              <pc:sldMasterMk cId="2457110672" sldId="2147483709"/>
              <pc:sldLayoutMk cId="2340687954" sldId="2147483838"/>
              <ac:picMk id="9" creationId="{1E54F49D-2B2F-7CDD-DC94-B6FF9A694BDA}"/>
            </ac:picMkLst>
          </pc:picChg>
        </pc:sldLayoutChg>
        <pc:sldLayoutChg chg="addSp delSp modSp mod">
          <pc:chgData name="Falcão Lacerda, Rafael" userId="40181ff7-4694-4c53-a944-7b7d63582359" providerId="ADAL" clId="{3B4D5F63-EA56-4616-8A78-0C43AB7049E7}" dt="2025-12-08T12:51:55.149" v="29948" actId="478"/>
          <pc:sldLayoutMkLst>
            <pc:docMk/>
            <pc:sldMasterMk cId="2457110672" sldId="2147483709"/>
            <pc:sldLayoutMk cId="3006501426" sldId="2147483845"/>
          </pc:sldLayoutMkLst>
          <pc:spChg chg="mod">
            <ac:chgData name="Falcão Lacerda, Rafael" userId="40181ff7-4694-4c53-a944-7b7d63582359" providerId="ADAL" clId="{3B4D5F63-EA56-4616-8A78-0C43AB7049E7}" dt="2025-12-08T00:26:44.637" v="7192" actId="948"/>
            <ac:spMkLst>
              <pc:docMk/>
              <pc:sldMasterMk cId="2457110672" sldId="2147483709"/>
              <pc:sldLayoutMk cId="3006501426" sldId="2147483845"/>
              <ac:spMk id="2" creationId="{97274A5B-9D05-0703-63C7-382088724F28}"/>
            </ac:spMkLst>
          </pc:spChg>
          <pc:spChg chg="add del mod modVis">
            <ac:chgData name="Falcão Lacerda, Rafael" userId="40181ff7-4694-4c53-a944-7b7d63582359" providerId="ADAL" clId="{3B4D5F63-EA56-4616-8A78-0C43AB7049E7}" dt="2025-12-08T00:26:51.109" v="9743"/>
            <ac:spMkLst>
              <pc:docMk/>
              <pc:sldMasterMk cId="2457110672" sldId="2147483709"/>
              <pc:sldLayoutMk cId="3006501426" sldId="2147483845"/>
              <ac:spMk id="3" creationId="{48D5E47B-9F92-9CA9-6D66-43126896D3E5}"/>
            </ac:spMkLst>
          </pc:spChg>
          <pc:spChg chg="del mod">
            <ac:chgData name="Falcão Lacerda, Rafael" userId="40181ff7-4694-4c53-a944-7b7d63582359" providerId="ADAL" clId="{3B4D5F63-EA56-4616-8A78-0C43AB7049E7}" dt="2025-12-08T12:51:55.149" v="29948" actId="478"/>
            <ac:spMkLst>
              <pc:docMk/>
              <pc:sldMasterMk cId="2457110672" sldId="2147483709"/>
              <pc:sldLayoutMk cId="3006501426" sldId="2147483845"/>
              <ac:spMk id="5" creationId="{B9538720-5D87-005C-9D54-D7F07F69BE61}"/>
            </ac:spMkLst>
          </pc:spChg>
          <pc:spChg chg="mod">
            <ac:chgData name="Falcão Lacerda, Rafael" userId="40181ff7-4694-4c53-a944-7b7d63582359" providerId="ADAL" clId="{3B4D5F63-EA56-4616-8A78-0C43AB7049E7}" dt="2025-12-08T00:26:33.848" v="3280" actId="947"/>
            <ac:spMkLst>
              <pc:docMk/>
              <pc:sldMasterMk cId="2457110672" sldId="2147483709"/>
              <pc:sldLayoutMk cId="3006501426" sldId="2147483845"/>
              <ac:spMk id="8" creationId="{4FE121F1-B169-11A8-1F63-C705FECD0AAA}"/>
            </ac:spMkLst>
          </pc:spChg>
          <pc:graphicFrameChg chg="add mod ord modVis">
            <ac:chgData name="Falcão Lacerda, Rafael" userId="40181ff7-4694-4c53-a944-7b7d63582359" providerId="ADAL" clId="{3B4D5F63-EA56-4616-8A78-0C43AB7049E7}" dt="2025-12-08T00:26:51.169" v="9757"/>
            <ac:graphicFrameMkLst>
              <pc:docMk/>
              <pc:sldMasterMk cId="2457110672" sldId="2147483709"/>
              <pc:sldLayoutMk cId="3006501426" sldId="2147483845"/>
              <ac:graphicFrameMk id="4" creationId="{E94D7E0B-1DBA-14B7-1371-09827E44E95D}"/>
            </ac:graphicFrameMkLst>
          </pc:graphicFrameChg>
        </pc:sldLayoutChg>
        <pc:sldLayoutChg chg="addSp delSp modSp mod">
          <pc:chgData name="Falcão Lacerda, Rafael" userId="40181ff7-4694-4c53-a944-7b7d63582359" providerId="ADAL" clId="{3B4D5F63-EA56-4616-8A78-0C43AB7049E7}" dt="2025-12-08T00:26:49.714" v="9389"/>
          <pc:sldLayoutMkLst>
            <pc:docMk/>
            <pc:sldMasterMk cId="2457110672" sldId="2147483709"/>
            <pc:sldLayoutMk cId="2766784152" sldId="2147483849"/>
          </pc:sldLayoutMkLst>
          <pc:spChg chg="add del mod modVis">
            <ac:chgData name="Falcão Lacerda, Rafael" userId="40181ff7-4694-4c53-a944-7b7d63582359" providerId="ADAL" clId="{3B4D5F63-EA56-4616-8A78-0C43AB7049E7}" dt="2025-12-08T00:26:49.673" v="9375"/>
            <ac:spMkLst>
              <pc:docMk/>
              <pc:sldMasterMk cId="2457110672" sldId="2147483709"/>
              <pc:sldLayoutMk cId="2766784152" sldId="2147483849"/>
              <ac:spMk id="2" creationId="{CA9FC616-E053-85EA-0BFF-236ACA4155FF}"/>
            </ac:spMkLst>
          </pc:spChg>
          <pc:spChg chg="mod">
            <ac:chgData name="Falcão Lacerda, Rafael" userId="40181ff7-4694-4c53-a944-7b7d63582359" providerId="ADAL" clId="{3B4D5F63-EA56-4616-8A78-0C43AB7049E7}" dt="2025-12-08T00:26:43.342" v="6732" actId="948"/>
            <ac:spMkLst>
              <pc:docMk/>
              <pc:sldMasterMk cId="2457110672" sldId="2147483709"/>
              <pc:sldLayoutMk cId="2766784152" sldId="2147483849"/>
              <ac:spMk id="3" creationId="{AE215616-27C6-76EE-5488-166BFD01211E}"/>
            </ac:spMkLst>
          </pc:spChg>
          <pc:graphicFrameChg chg="add mod ord modVis">
            <ac:chgData name="Falcão Lacerda, Rafael" userId="40181ff7-4694-4c53-a944-7b7d63582359" providerId="ADAL" clId="{3B4D5F63-EA56-4616-8A78-0C43AB7049E7}" dt="2025-12-08T00:26:49.714" v="9389"/>
            <ac:graphicFrameMkLst>
              <pc:docMk/>
              <pc:sldMasterMk cId="2457110672" sldId="2147483709"/>
              <pc:sldLayoutMk cId="2766784152" sldId="2147483849"/>
              <ac:graphicFrameMk id="4" creationId="{9B2EEB4C-F9A2-3C72-8CEC-B3EC3F482DAF}"/>
            </ac:graphicFrameMkLst>
          </pc:graphicFrameChg>
        </pc:sldLayoutChg>
        <pc:sldLayoutChg chg="addSp delSp modSp mod">
          <pc:chgData name="Falcão Lacerda, Rafael" userId="40181ff7-4694-4c53-a944-7b7d63582359" providerId="ADAL" clId="{3B4D5F63-EA56-4616-8A78-0C43AB7049E7}" dt="2025-12-08T12:51:35.837" v="29943" actId="478"/>
          <pc:sldLayoutMkLst>
            <pc:docMk/>
            <pc:sldMasterMk cId="2457110672" sldId="2147483709"/>
            <pc:sldLayoutMk cId="1157513013" sldId="2147483851"/>
          </pc:sldLayoutMkLst>
          <pc:spChg chg="mod">
            <ac:chgData name="Falcão Lacerda, Rafael" userId="40181ff7-4694-4c53-a944-7b7d63582359" providerId="ADAL" clId="{3B4D5F63-EA56-4616-8A78-0C43AB7049E7}" dt="2025-12-08T00:26:44.185" v="7032" actId="948"/>
            <ac:spMkLst>
              <pc:docMk/>
              <pc:sldMasterMk cId="2457110672" sldId="2147483709"/>
              <pc:sldLayoutMk cId="1157513013" sldId="2147483851"/>
              <ac:spMk id="2" creationId="{0B7292A3-796A-5092-2636-A42C4142BA0C}"/>
            </ac:spMkLst>
          </pc:spChg>
          <pc:spChg chg="del mod">
            <ac:chgData name="Falcão Lacerda, Rafael" userId="40181ff7-4694-4c53-a944-7b7d63582359" providerId="ADAL" clId="{3B4D5F63-EA56-4616-8A78-0C43AB7049E7}" dt="2025-12-08T12:51:35.837" v="29943" actId="478"/>
            <ac:spMkLst>
              <pc:docMk/>
              <pc:sldMasterMk cId="2457110672" sldId="2147483709"/>
              <pc:sldLayoutMk cId="1157513013" sldId="2147483851"/>
              <ac:spMk id="3" creationId="{9A332159-0514-2C2D-4B40-662BCE968BE7}"/>
            </ac:spMkLst>
          </pc:spChg>
          <pc:spChg chg="mod">
            <ac:chgData name="Falcão Lacerda, Rafael" userId="40181ff7-4694-4c53-a944-7b7d63582359" providerId="ADAL" clId="{3B4D5F63-EA56-4616-8A78-0C43AB7049E7}" dt="2025-12-08T00:26:33.137" v="3144" actId="947"/>
            <ac:spMkLst>
              <pc:docMk/>
              <pc:sldMasterMk cId="2457110672" sldId="2147483709"/>
              <pc:sldLayoutMk cId="1157513013" sldId="2147483851"/>
              <ac:spMk id="5" creationId="{2250694F-F294-16BF-824E-C65B31D78242}"/>
            </ac:spMkLst>
          </pc:spChg>
          <pc:spChg chg="add del mod modVis">
            <ac:chgData name="Falcão Lacerda, Rafael" userId="40181ff7-4694-4c53-a944-7b7d63582359" providerId="ADAL" clId="{3B4D5F63-EA56-4616-8A78-0C43AB7049E7}" dt="2025-12-08T00:26:50.532" v="9615"/>
            <ac:spMkLst>
              <pc:docMk/>
              <pc:sldMasterMk cId="2457110672" sldId="2147483709"/>
              <pc:sldLayoutMk cId="1157513013" sldId="2147483851"/>
              <ac:spMk id="6" creationId="{9896DB0D-07B9-32BF-0BCB-F715A314857A}"/>
            </ac:spMkLst>
          </pc:spChg>
          <pc:spChg chg="del mod">
            <ac:chgData name="Falcão Lacerda, Rafael" userId="40181ff7-4694-4c53-a944-7b7d63582359" providerId="ADAL" clId="{3B4D5F63-EA56-4616-8A78-0C43AB7049E7}" dt="2025-12-08T12:51:33.027" v="29942" actId="478"/>
            <ac:spMkLst>
              <pc:docMk/>
              <pc:sldMasterMk cId="2457110672" sldId="2147483709"/>
              <pc:sldLayoutMk cId="1157513013" sldId="2147483851"/>
              <ac:spMk id="9" creationId="{8DE35BA1-021B-C8B8-EEDE-464FB3F9F466}"/>
            </ac:spMkLst>
          </pc:spChg>
          <pc:spChg chg="mod">
            <ac:chgData name="Falcão Lacerda, Rafael" userId="40181ff7-4694-4c53-a944-7b7d63582359" providerId="ADAL" clId="{3B4D5F63-EA56-4616-8A78-0C43AB7049E7}" dt="2025-12-08T00:26:33.105" v="3138"/>
            <ac:spMkLst>
              <pc:docMk/>
              <pc:sldMasterMk cId="2457110672" sldId="2147483709"/>
              <pc:sldLayoutMk cId="1157513013" sldId="2147483851"/>
              <ac:spMk id="11" creationId="{C176B75E-8527-3123-1BF5-5C5B849F38C1}"/>
            </ac:spMkLst>
          </pc:spChg>
          <pc:graphicFrameChg chg="add mod ord modVis">
            <ac:chgData name="Falcão Lacerda, Rafael" userId="40181ff7-4694-4c53-a944-7b7d63582359" providerId="ADAL" clId="{3B4D5F63-EA56-4616-8A78-0C43AB7049E7}" dt="2025-12-08T00:26:50.563" v="9629"/>
            <ac:graphicFrameMkLst>
              <pc:docMk/>
              <pc:sldMasterMk cId="2457110672" sldId="2147483709"/>
              <pc:sldLayoutMk cId="1157513013" sldId="2147483851"/>
              <ac:graphicFrameMk id="7" creationId="{0E2AF165-AF3A-CDD4-D31D-7F538D372D48}"/>
            </ac:graphicFrameMkLst>
          </pc:graphicFrameChg>
        </pc:sldLayoutChg>
        <pc:sldLayoutChg chg="addSp delSp modSp del mod">
          <pc:chgData name="Falcão Lacerda, Rafael" userId="40181ff7-4694-4c53-a944-7b7d63582359" providerId="ADAL" clId="{3B4D5F63-EA56-4616-8A78-0C43AB7049E7}" dt="2025-12-08T00:36:59.770" v="11865" actId="47"/>
          <pc:sldLayoutMkLst>
            <pc:docMk/>
            <pc:sldMasterMk cId="2457110672" sldId="2147483709"/>
            <pc:sldLayoutMk cId="3117556804" sldId="2147483854"/>
          </pc:sldLayoutMkLst>
          <pc:spChg chg="add del mod modVis">
            <ac:chgData name="Falcão Lacerda, Rafael" userId="40181ff7-4694-4c53-a944-7b7d63582359" providerId="ADAL" clId="{3B4D5F63-EA56-4616-8A78-0C43AB7049E7}" dt="2025-12-08T00:26:51.169" v="9759"/>
            <ac:spMkLst>
              <pc:docMk/>
              <pc:sldMasterMk cId="2457110672" sldId="2147483709"/>
              <pc:sldLayoutMk cId="3117556804" sldId="2147483854"/>
              <ac:spMk id="2" creationId="{4EE5BB14-266C-10A0-2846-D6CA3E1EE9A2}"/>
            </ac:spMkLst>
          </pc:spChg>
          <pc:spChg chg="mod">
            <ac:chgData name="Falcão Lacerda, Rafael" userId="40181ff7-4694-4c53-a944-7b7d63582359" providerId="ADAL" clId="{3B4D5F63-EA56-4616-8A78-0C43AB7049E7}" dt="2025-12-08T00:26:33.873" v="3284"/>
            <ac:spMkLst>
              <pc:docMk/>
              <pc:sldMasterMk cId="2457110672" sldId="2147483709"/>
              <pc:sldLayoutMk cId="3117556804" sldId="2147483854"/>
              <ac:spMk id="4" creationId="{76371931-42F0-694A-9918-74F36725749C}"/>
            </ac:spMkLst>
          </pc:spChg>
          <pc:spChg chg="mod">
            <ac:chgData name="Falcão Lacerda, Rafael" userId="40181ff7-4694-4c53-a944-7b7d63582359" providerId="ADAL" clId="{3B4D5F63-EA56-4616-8A78-0C43AB7049E7}" dt="2025-12-08T00:26:33.889" v="3286"/>
            <ac:spMkLst>
              <pc:docMk/>
              <pc:sldMasterMk cId="2457110672" sldId="2147483709"/>
              <pc:sldLayoutMk cId="3117556804" sldId="2147483854"/>
              <ac:spMk id="10" creationId="{67B8B3ED-3C30-8209-EC37-30BECCCAC6DF}"/>
            </ac:spMkLst>
          </pc:spChg>
          <pc:spChg chg="mod">
            <ac:chgData name="Falcão Lacerda, Rafael" userId="40181ff7-4694-4c53-a944-7b7d63582359" providerId="ADAL" clId="{3B4D5F63-EA56-4616-8A78-0C43AB7049E7}" dt="2025-12-08T00:26:33.896" v="3288"/>
            <ac:spMkLst>
              <pc:docMk/>
              <pc:sldMasterMk cId="2457110672" sldId="2147483709"/>
              <pc:sldLayoutMk cId="3117556804" sldId="2147483854"/>
              <ac:spMk id="11" creationId="{DC7F0577-7039-34CE-9E81-1E1B5179E19A}"/>
            </ac:spMkLst>
          </pc:spChg>
          <pc:spChg chg="mod">
            <ac:chgData name="Falcão Lacerda, Rafael" userId="40181ff7-4694-4c53-a944-7b7d63582359" providerId="ADAL" clId="{3B4D5F63-EA56-4616-8A78-0C43AB7049E7}" dt="2025-12-08T00:26:33.912" v="3290"/>
            <ac:spMkLst>
              <pc:docMk/>
              <pc:sldMasterMk cId="2457110672" sldId="2147483709"/>
              <pc:sldLayoutMk cId="3117556804" sldId="2147483854"/>
              <ac:spMk id="12" creationId="{389183D5-43A1-CED9-DE7A-152AD40F1DB9}"/>
            </ac:spMkLst>
          </pc:spChg>
          <pc:spChg chg="mod">
            <ac:chgData name="Falcão Lacerda, Rafael" userId="40181ff7-4694-4c53-a944-7b7d63582359" providerId="ADAL" clId="{3B4D5F63-EA56-4616-8A78-0C43AB7049E7}" dt="2025-12-08T00:26:33.927" v="3292"/>
            <ac:spMkLst>
              <pc:docMk/>
              <pc:sldMasterMk cId="2457110672" sldId="2147483709"/>
              <pc:sldLayoutMk cId="3117556804" sldId="2147483854"/>
              <ac:spMk id="15" creationId="{5DC001A2-2BC9-E92E-1900-07D1D55C8448}"/>
            </ac:spMkLst>
          </pc:spChg>
          <pc:spChg chg="mod">
            <ac:chgData name="Falcão Lacerda, Rafael" userId="40181ff7-4694-4c53-a944-7b7d63582359" providerId="ADAL" clId="{3B4D5F63-EA56-4616-8A78-0C43AB7049E7}" dt="2025-12-08T00:26:33.927" v="3294"/>
            <ac:spMkLst>
              <pc:docMk/>
              <pc:sldMasterMk cId="2457110672" sldId="2147483709"/>
              <pc:sldLayoutMk cId="3117556804" sldId="2147483854"/>
              <ac:spMk id="16" creationId="{0D6DEAA1-1809-9174-41B2-A167C7EF0B6D}"/>
            </ac:spMkLst>
          </pc:spChg>
          <pc:spChg chg="mod">
            <ac:chgData name="Falcão Lacerda, Rafael" userId="40181ff7-4694-4c53-a944-7b7d63582359" providerId="ADAL" clId="{3B4D5F63-EA56-4616-8A78-0C43AB7049E7}" dt="2025-12-08T00:26:33.927" v="3296"/>
            <ac:spMkLst>
              <pc:docMk/>
              <pc:sldMasterMk cId="2457110672" sldId="2147483709"/>
              <pc:sldLayoutMk cId="3117556804" sldId="2147483854"/>
              <ac:spMk id="17" creationId="{EEA45CAC-A034-EBF8-A42A-D240A01CA2B6}"/>
            </ac:spMkLst>
          </pc:spChg>
          <pc:spChg chg="mod">
            <ac:chgData name="Falcão Lacerda, Rafael" userId="40181ff7-4694-4c53-a944-7b7d63582359" providerId="ADAL" clId="{3B4D5F63-EA56-4616-8A78-0C43AB7049E7}" dt="2025-12-08T00:26:33.943" v="3298"/>
            <ac:spMkLst>
              <pc:docMk/>
              <pc:sldMasterMk cId="2457110672" sldId="2147483709"/>
              <pc:sldLayoutMk cId="3117556804" sldId="2147483854"/>
              <ac:spMk id="18" creationId="{94B252BC-9982-2E12-F243-0ED078DBC2F2}"/>
            </ac:spMkLst>
          </pc:spChg>
          <pc:spChg chg="mod">
            <ac:chgData name="Falcão Lacerda, Rafael" userId="40181ff7-4694-4c53-a944-7b7d63582359" providerId="ADAL" clId="{3B4D5F63-EA56-4616-8A78-0C43AB7049E7}" dt="2025-12-08T00:26:33.943" v="3300"/>
            <ac:spMkLst>
              <pc:docMk/>
              <pc:sldMasterMk cId="2457110672" sldId="2147483709"/>
              <pc:sldLayoutMk cId="3117556804" sldId="2147483854"/>
              <ac:spMk id="19" creationId="{DC6F0EDA-C6BC-1437-B68C-8779352D0B2E}"/>
            </ac:spMkLst>
          </pc:spChg>
          <pc:spChg chg="mod">
            <ac:chgData name="Falcão Lacerda, Rafael" userId="40181ff7-4694-4c53-a944-7b7d63582359" providerId="ADAL" clId="{3B4D5F63-EA56-4616-8A78-0C43AB7049E7}" dt="2025-12-08T00:26:44.707" v="7212" actId="948"/>
            <ac:spMkLst>
              <pc:docMk/>
              <pc:sldMasterMk cId="2457110672" sldId="2147483709"/>
              <pc:sldLayoutMk cId="3117556804" sldId="2147483854"/>
              <ac:spMk id="29" creationId="{B87DF950-8C59-5635-493B-47BF5B6B028D}"/>
            </ac:spMkLst>
          </pc:spChg>
          <pc:spChg chg="mod">
            <ac:chgData name="Falcão Lacerda, Rafael" userId="40181ff7-4694-4c53-a944-7b7d63582359" providerId="ADAL" clId="{3B4D5F63-EA56-4616-8A78-0C43AB7049E7}" dt="2025-12-08T00:26:33.959" v="3304"/>
            <ac:spMkLst>
              <pc:docMk/>
              <pc:sldMasterMk cId="2457110672" sldId="2147483709"/>
              <pc:sldLayoutMk cId="3117556804" sldId="2147483854"/>
              <ac:spMk id="36" creationId="{A515A847-B8F1-0835-FEF9-D0644A3666A3}"/>
            </ac:spMkLst>
          </pc:spChg>
          <pc:spChg chg="mod">
            <ac:chgData name="Falcão Lacerda, Rafael" userId="40181ff7-4694-4c53-a944-7b7d63582359" providerId="ADAL" clId="{3B4D5F63-EA56-4616-8A78-0C43AB7049E7}" dt="2025-12-08T00:26:33.975" v="3306"/>
            <ac:spMkLst>
              <pc:docMk/>
              <pc:sldMasterMk cId="2457110672" sldId="2147483709"/>
              <pc:sldLayoutMk cId="3117556804" sldId="2147483854"/>
              <ac:spMk id="37" creationId="{AFFDAEDA-7A67-EFF8-97FE-53895BDD7346}"/>
            </ac:spMkLst>
          </pc:spChg>
          <pc:spChg chg="mod">
            <ac:chgData name="Falcão Lacerda, Rafael" userId="40181ff7-4694-4c53-a944-7b7d63582359" providerId="ADAL" clId="{3B4D5F63-EA56-4616-8A78-0C43AB7049E7}" dt="2025-12-08T00:26:33.991" v="3308"/>
            <ac:spMkLst>
              <pc:docMk/>
              <pc:sldMasterMk cId="2457110672" sldId="2147483709"/>
              <pc:sldLayoutMk cId="3117556804" sldId="2147483854"/>
              <ac:spMk id="38" creationId="{CDEC200D-4F91-75FF-B3FC-CC83B1D2B426}"/>
            </ac:spMkLst>
          </pc:spChg>
          <pc:spChg chg="mod">
            <ac:chgData name="Falcão Lacerda, Rafael" userId="40181ff7-4694-4c53-a944-7b7d63582359" providerId="ADAL" clId="{3B4D5F63-EA56-4616-8A78-0C43AB7049E7}" dt="2025-12-08T00:26:34.006" v="3310"/>
            <ac:spMkLst>
              <pc:docMk/>
              <pc:sldMasterMk cId="2457110672" sldId="2147483709"/>
              <pc:sldLayoutMk cId="3117556804" sldId="2147483854"/>
              <ac:spMk id="39" creationId="{0C873EF1-166E-2DEB-DEA4-F4E92E72812A}"/>
            </ac:spMkLst>
          </pc:spChg>
          <pc:spChg chg="mod">
            <ac:chgData name="Falcão Lacerda, Rafael" userId="40181ff7-4694-4c53-a944-7b7d63582359" providerId="ADAL" clId="{3B4D5F63-EA56-4616-8A78-0C43AB7049E7}" dt="2025-12-08T00:26:34.006" v="3312"/>
            <ac:spMkLst>
              <pc:docMk/>
              <pc:sldMasterMk cId="2457110672" sldId="2147483709"/>
              <pc:sldLayoutMk cId="3117556804" sldId="2147483854"/>
              <ac:spMk id="40" creationId="{EE6421DF-C4CF-347F-3F9F-B7C15DD342DB}"/>
            </ac:spMkLst>
          </pc:spChg>
          <pc:spChg chg="mod">
            <ac:chgData name="Falcão Lacerda, Rafael" userId="40181ff7-4694-4c53-a944-7b7d63582359" providerId="ADAL" clId="{3B4D5F63-EA56-4616-8A78-0C43AB7049E7}" dt="2025-12-08T00:26:34.006" v="3314"/>
            <ac:spMkLst>
              <pc:docMk/>
              <pc:sldMasterMk cId="2457110672" sldId="2147483709"/>
              <pc:sldLayoutMk cId="3117556804" sldId="2147483854"/>
              <ac:spMk id="41" creationId="{33C744BB-1061-9BD7-2063-D4FC3BA87A04}"/>
            </ac:spMkLst>
          </pc:spChg>
          <pc:spChg chg="mod">
            <ac:chgData name="Falcão Lacerda, Rafael" userId="40181ff7-4694-4c53-a944-7b7d63582359" providerId="ADAL" clId="{3B4D5F63-EA56-4616-8A78-0C43AB7049E7}" dt="2025-12-08T00:26:34.023" v="3316"/>
            <ac:spMkLst>
              <pc:docMk/>
              <pc:sldMasterMk cId="2457110672" sldId="2147483709"/>
              <pc:sldLayoutMk cId="3117556804" sldId="2147483854"/>
              <ac:spMk id="42" creationId="{FB23E977-71EF-1003-3CEF-A8A4D0D7990C}"/>
            </ac:spMkLst>
          </pc:spChg>
          <pc:spChg chg="mod">
            <ac:chgData name="Falcão Lacerda, Rafael" userId="40181ff7-4694-4c53-a944-7b7d63582359" providerId="ADAL" clId="{3B4D5F63-EA56-4616-8A78-0C43AB7049E7}" dt="2025-12-08T00:26:34.023" v="3318"/>
            <ac:spMkLst>
              <pc:docMk/>
              <pc:sldMasterMk cId="2457110672" sldId="2147483709"/>
              <pc:sldLayoutMk cId="3117556804" sldId="2147483854"/>
              <ac:spMk id="43" creationId="{3B567A05-2B76-107C-E1AA-BD5AA1C1C532}"/>
            </ac:spMkLst>
          </pc:spChg>
          <pc:graphicFrameChg chg="add mod ord modVis">
            <ac:chgData name="Falcão Lacerda, Rafael" userId="40181ff7-4694-4c53-a944-7b7d63582359" providerId="ADAL" clId="{3B4D5F63-EA56-4616-8A78-0C43AB7049E7}" dt="2025-12-08T00:26:51.220" v="9773"/>
            <ac:graphicFrameMkLst>
              <pc:docMk/>
              <pc:sldMasterMk cId="2457110672" sldId="2147483709"/>
              <pc:sldLayoutMk cId="3117556804" sldId="2147483854"/>
              <ac:graphicFrameMk id="3" creationId="{7CB0DBDE-BE9A-0DBD-2698-735CF91AC588}"/>
            </ac:graphicFrameMkLst>
          </pc:graphicFrameChg>
        </pc:sldLayoutChg>
        <pc:sldLayoutChg chg="addSp delSp modSp mod">
          <pc:chgData name="Falcão Lacerda, Rafael" userId="40181ff7-4694-4c53-a944-7b7d63582359" providerId="ADAL" clId="{3B4D5F63-EA56-4616-8A78-0C43AB7049E7}" dt="2025-12-08T00:26:50.692" v="9661"/>
          <pc:sldLayoutMkLst>
            <pc:docMk/>
            <pc:sldMasterMk cId="2457110672" sldId="2147483709"/>
            <pc:sldLayoutMk cId="1502942214" sldId="2147483855"/>
          </pc:sldLayoutMkLst>
          <pc:spChg chg="add del mod modVis">
            <ac:chgData name="Falcão Lacerda, Rafael" userId="40181ff7-4694-4c53-a944-7b7d63582359" providerId="ADAL" clId="{3B4D5F63-EA56-4616-8A78-0C43AB7049E7}" dt="2025-12-08T00:26:50.638" v="9647"/>
            <ac:spMkLst>
              <pc:docMk/>
              <pc:sldMasterMk cId="2457110672" sldId="2147483709"/>
              <pc:sldLayoutMk cId="1502942214" sldId="2147483855"/>
              <ac:spMk id="2" creationId="{BE61352F-9499-491B-3656-8E4F615153A3}"/>
            </ac:spMkLst>
          </pc:spChg>
          <pc:spChg chg="mod">
            <ac:chgData name="Falcão Lacerda, Rafael" userId="40181ff7-4694-4c53-a944-7b7d63582359" providerId="ADAL" clId="{3B4D5F63-EA56-4616-8A78-0C43AB7049E7}" dt="2025-12-08T00:26:33.248" v="3168"/>
            <ac:spMkLst>
              <pc:docMk/>
              <pc:sldMasterMk cId="2457110672" sldId="2147483709"/>
              <pc:sldLayoutMk cId="1502942214" sldId="2147483855"/>
              <ac:spMk id="3" creationId="{E51530D0-8A8F-68C0-4E3A-39EE60F2A549}"/>
            </ac:spMkLst>
          </pc:spChg>
          <pc:spChg chg="mod">
            <ac:chgData name="Falcão Lacerda, Rafael" userId="40181ff7-4694-4c53-a944-7b7d63582359" providerId="ADAL" clId="{3B4D5F63-EA56-4616-8A78-0C43AB7049E7}" dt="2025-12-08T00:26:33.216" v="3160"/>
            <ac:spMkLst>
              <pc:docMk/>
              <pc:sldMasterMk cId="2457110672" sldId="2147483709"/>
              <pc:sldLayoutMk cId="1502942214" sldId="2147483855"/>
              <ac:spMk id="4" creationId="{6B34D946-575C-A63A-1F36-F73012F28CC3}"/>
            </ac:spMkLst>
          </pc:spChg>
          <pc:spChg chg="mod">
            <ac:chgData name="Falcão Lacerda, Rafael" userId="40181ff7-4694-4c53-a944-7b7d63582359" providerId="ADAL" clId="{3B4D5F63-EA56-4616-8A78-0C43AB7049E7}" dt="2025-12-08T00:26:33.278" v="3172"/>
            <ac:spMkLst>
              <pc:docMk/>
              <pc:sldMasterMk cId="2457110672" sldId="2147483709"/>
              <pc:sldLayoutMk cId="1502942214" sldId="2147483855"/>
              <ac:spMk id="5" creationId="{B220583F-078A-E528-E802-2F888AD1F0C1}"/>
            </ac:spMkLst>
          </pc:spChg>
          <pc:spChg chg="mod">
            <ac:chgData name="Falcão Lacerda, Rafael" userId="40181ff7-4694-4c53-a944-7b7d63582359" providerId="ADAL" clId="{3B4D5F63-EA56-4616-8A78-0C43AB7049E7}" dt="2025-12-08T00:26:33.311" v="3176"/>
            <ac:spMkLst>
              <pc:docMk/>
              <pc:sldMasterMk cId="2457110672" sldId="2147483709"/>
              <pc:sldLayoutMk cId="1502942214" sldId="2147483855"/>
              <ac:spMk id="6" creationId="{154AA6FC-4B12-B058-1F73-83023D3E1DF8}"/>
            </ac:spMkLst>
          </pc:spChg>
          <pc:spChg chg="mod">
            <ac:chgData name="Falcão Lacerda, Rafael" userId="40181ff7-4694-4c53-a944-7b7d63582359" providerId="ADAL" clId="{3B4D5F63-EA56-4616-8A78-0C43AB7049E7}" dt="2025-12-08T00:26:33.326" v="3180"/>
            <ac:spMkLst>
              <pc:docMk/>
              <pc:sldMasterMk cId="2457110672" sldId="2147483709"/>
              <pc:sldLayoutMk cId="1502942214" sldId="2147483855"/>
              <ac:spMk id="7" creationId="{DE7585F8-AF83-86FE-9FDC-FCBB8F0FDCBB}"/>
            </ac:spMkLst>
          </pc:spChg>
          <pc:spChg chg="mod">
            <ac:chgData name="Falcão Lacerda, Rafael" userId="40181ff7-4694-4c53-a944-7b7d63582359" providerId="ADAL" clId="{3B4D5F63-EA56-4616-8A78-0C43AB7049E7}" dt="2025-12-08T00:26:44.299" v="7072" actId="948"/>
            <ac:spMkLst>
              <pc:docMk/>
              <pc:sldMasterMk cId="2457110672" sldId="2147483709"/>
              <pc:sldLayoutMk cId="1502942214" sldId="2147483855"/>
              <ac:spMk id="8" creationId="{C386F6A9-4F1A-3944-E7D3-E26B3E55A360}"/>
            </ac:spMkLst>
          </pc:spChg>
          <pc:spChg chg="mod">
            <ac:chgData name="Falcão Lacerda, Rafael" userId="40181ff7-4694-4c53-a944-7b7d63582359" providerId="ADAL" clId="{3B4D5F63-EA56-4616-8A78-0C43AB7049E7}" dt="2025-12-08T00:26:33.231" v="3164"/>
            <ac:spMkLst>
              <pc:docMk/>
              <pc:sldMasterMk cId="2457110672" sldId="2147483709"/>
              <pc:sldLayoutMk cId="1502942214" sldId="2147483855"/>
              <ac:spMk id="10" creationId="{4122B155-BA05-874A-7587-FD87E46FA210}"/>
            </ac:spMkLst>
          </pc:spChg>
          <pc:spChg chg="mod">
            <ac:chgData name="Falcão Lacerda, Rafael" userId="40181ff7-4694-4c53-a944-7b7d63582359" providerId="ADAL" clId="{3B4D5F63-EA56-4616-8A78-0C43AB7049E7}" dt="2025-12-08T00:26:33.216" v="3162"/>
            <ac:spMkLst>
              <pc:docMk/>
              <pc:sldMasterMk cId="2457110672" sldId="2147483709"/>
              <pc:sldLayoutMk cId="1502942214" sldId="2147483855"/>
              <ac:spMk id="15" creationId="{BD757F29-5B8C-430C-B53D-FA44B1887B4E}"/>
            </ac:spMkLst>
          </pc:spChg>
          <pc:spChg chg="mod">
            <ac:chgData name="Falcão Lacerda, Rafael" userId="40181ff7-4694-4c53-a944-7b7d63582359" providerId="ADAL" clId="{3B4D5F63-EA56-4616-8A78-0C43AB7049E7}" dt="2025-12-08T00:26:33.248" v="3166"/>
            <ac:spMkLst>
              <pc:docMk/>
              <pc:sldMasterMk cId="2457110672" sldId="2147483709"/>
              <pc:sldLayoutMk cId="1502942214" sldId="2147483855"/>
              <ac:spMk id="29" creationId="{EABD27E6-4547-45B3-9AC5-1EF508AE88ED}"/>
            </ac:spMkLst>
          </pc:spChg>
          <pc:spChg chg="mod">
            <ac:chgData name="Falcão Lacerda, Rafael" userId="40181ff7-4694-4c53-a944-7b7d63582359" providerId="ADAL" clId="{3B4D5F63-EA56-4616-8A78-0C43AB7049E7}" dt="2025-12-08T00:26:33.263" v="3170"/>
            <ac:spMkLst>
              <pc:docMk/>
              <pc:sldMasterMk cId="2457110672" sldId="2147483709"/>
              <pc:sldLayoutMk cId="1502942214" sldId="2147483855"/>
              <ac:spMk id="30" creationId="{31C34651-25FA-45DD-86DF-BB58EBE9AA84}"/>
            </ac:spMkLst>
          </pc:spChg>
          <pc:spChg chg="mod">
            <ac:chgData name="Falcão Lacerda, Rafael" userId="40181ff7-4694-4c53-a944-7b7d63582359" providerId="ADAL" clId="{3B4D5F63-EA56-4616-8A78-0C43AB7049E7}" dt="2025-12-08T00:26:33.295" v="3174"/>
            <ac:spMkLst>
              <pc:docMk/>
              <pc:sldMasterMk cId="2457110672" sldId="2147483709"/>
              <pc:sldLayoutMk cId="1502942214" sldId="2147483855"/>
              <ac:spMk id="31" creationId="{B32375EE-E449-4B59-B987-5D6EBFBDF31C}"/>
            </ac:spMkLst>
          </pc:spChg>
          <pc:spChg chg="mod">
            <ac:chgData name="Falcão Lacerda, Rafael" userId="40181ff7-4694-4c53-a944-7b7d63582359" providerId="ADAL" clId="{3B4D5F63-EA56-4616-8A78-0C43AB7049E7}" dt="2025-12-08T00:26:33.326" v="3178"/>
            <ac:spMkLst>
              <pc:docMk/>
              <pc:sldMasterMk cId="2457110672" sldId="2147483709"/>
              <pc:sldLayoutMk cId="1502942214" sldId="2147483855"/>
              <ac:spMk id="32" creationId="{EE1692D5-4CE6-4990-8769-B146983B9477}"/>
            </ac:spMkLst>
          </pc:spChg>
          <pc:graphicFrameChg chg="add mod ord modVis">
            <ac:chgData name="Falcão Lacerda, Rafael" userId="40181ff7-4694-4c53-a944-7b7d63582359" providerId="ADAL" clId="{3B4D5F63-EA56-4616-8A78-0C43AB7049E7}" dt="2025-12-08T00:26:50.692" v="9661"/>
            <ac:graphicFrameMkLst>
              <pc:docMk/>
              <pc:sldMasterMk cId="2457110672" sldId="2147483709"/>
              <pc:sldLayoutMk cId="1502942214" sldId="2147483855"/>
              <ac:graphicFrameMk id="9" creationId="{BB92593A-C5BB-A968-E717-67BAD96A5301}"/>
            </ac:graphicFrameMkLst>
          </pc:graphicFrameChg>
        </pc:sldLayoutChg>
        <pc:sldLayoutChg chg="addSp delSp modSp mod">
          <pc:chgData name="Falcão Lacerda, Rafael" userId="40181ff7-4694-4c53-a944-7b7d63582359" providerId="ADAL" clId="{3B4D5F63-EA56-4616-8A78-0C43AB7049E7}" dt="2025-12-08T12:52:00.498" v="29950" actId="478"/>
          <pc:sldLayoutMkLst>
            <pc:docMk/>
            <pc:sldMasterMk cId="2457110672" sldId="2147483709"/>
            <pc:sldLayoutMk cId="461285078" sldId="2147483857"/>
          </pc:sldLayoutMkLst>
          <pc:spChg chg="del mod">
            <ac:chgData name="Falcão Lacerda, Rafael" userId="40181ff7-4694-4c53-a944-7b7d63582359" providerId="ADAL" clId="{3B4D5F63-EA56-4616-8A78-0C43AB7049E7}" dt="2025-12-08T12:52:00.498" v="29950" actId="478"/>
            <ac:spMkLst>
              <pc:docMk/>
              <pc:sldMasterMk cId="2457110672" sldId="2147483709"/>
              <pc:sldLayoutMk cId="461285078" sldId="2147483857"/>
              <ac:spMk id="2" creationId="{881075DF-C9D3-AF39-7015-D15BA74DC07D}"/>
            </ac:spMkLst>
          </pc:spChg>
          <pc:spChg chg="del mod">
            <ac:chgData name="Falcão Lacerda, Rafael" userId="40181ff7-4694-4c53-a944-7b7d63582359" providerId="ADAL" clId="{3B4D5F63-EA56-4616-8A78-0C43AB7049E7}" dt="2025-12-08T12:51:57.692" v="29949" actId="478"/>
            <ac:spMkLst>
              <pc:docMk/>
              <pc:sldMasterMk cId="2457110672" sldId="2147483709"/>
              <pc:sldLayoutMk cId="461285078" sldId="2147483857"/>
              <ac:spMk id="3" creationId="{EEB57D04-C7D4-5631-C9F1-4248B61F9522}"/>
            </ac:spMkLst>
          </pc:spChg>
          <pc:spChg chg="add del mod modVis">
            <ac:chgData name="Falcão Lacerda, Rafael" userId="40181ff7-4694-4c53-a944-7b7d63582359" providerId="ADAL" clId="{3B4D5F63-EA56-4616-8A78-0C43AB7049E7}" dt="2025-12-08T00:26:50.803" v="9695"/>
            <ac:spMkLst>
              <pc:docMk/>
              <pc:sldMasterMk cId="2457110672" sldId="2147483709"/>
              <pc:sldLayoutMk cId="461285078" sldId="2147483857"/>
              <ac:spMk id="4" creationId="{CDDDAF86-0131-828A-727E-F09CC72545DF}"/>
            </ac:spMkLst>
          </pc:spChg>
          <pc:spChg chg="mod">
            <ac:chgData name="Falcão Lacerda, Rafael" userId="40181ff7-4694-4c53-a944-7b7d63582359" providerId="ADAL" clId="{3B4D5F63-EA56-4616-8A78-0C43AB7049E7}" dt="2025-12-08T00:26:33.627" v="3234" actId="947"/>
            <ac:spMkLst>
              <pc:docMk/>
              <pc:sldMasterMk cId="2457110672" sldId="2147483709"/>
              <pc:sldLayoutMk cId="461285078" sldId="2147483857"/>
              <ac:spMk id="5" creationId="{6D94838E-FC9B-7D11-0B27-05F3B48DF76D}"/>
            </ac:spMkLst>
          </pc:spChg>
          <pc:spChg chg="mod">
            <ac:chgData name="Falcão Lacerda, Rafael" userId="40181ff7-4694-4c53-a944-7b7d63582359" providerId="ADAL" clId="{3B4D5F63-EA56-4616-8A78-0C43AB7049E7}" dt="2025-12-08T00:26:44.485" v="7132" actId="948"/>
            <ac:spMkLst>
              <pc:docMk/>
              <pc:sldMasterMk cId="2457110672" sldId="2147483709"/>
              <pc:sldLayoutMk cId="461285078" sldId="2147483857"/>
              <ac:spMk id="11" creationId="{4E36F867-B36A-BD05-3724-F673E9B7FF67}"/>
            </ac:spMkLst>
          </pc:spChg>
          <pc:graphicFrameChg chg="add mod ord modVis">
            <ac:chgData name="Falcão Lacerda, Rafael" userId="40181ff7-4694-4c53-a944-7b7d63582359" providerId="ADAL" clId="{3B4D5F63-EA56-4616-8A78-0C43AB7049E7}" dt="2025-12-08T00:26:50.883" v="9709"/>
            <ac:graphicFrameMkLst>
              <pc:docMk/>
              <pc:sldMasterMk cId="2457110672" sldId="2147483709"/>
              <pc:sldLayoutMk cId="461285078" sldId="2147483857"/>
              <ac:graphicFrameMk id="6" creationId="{E1B83BCA-A409-E84C-6579-D211C21B231D}"/>
            </ac:graphicFrameMkLst>
          </pc:graphicFrameChg>
        </pc:sldLayoutChg>
        <pc:sldLayoutChg chg="addSp delSp modSp mod">
          <pc:chgData name="Falcão Lacerda, Rafael" userId="40181ff7-4694-4c53-a944-7b7d63582359" providerId="ADAL" clId="{3B4D5F63-EA56-4616-8A78-0C43AB7049E7}" dt="2025-12-08T12:49:11.265" v="29914" actId="478"/>
          <pc:sldLayoutMkLst>
            <pc:docMk/>
            <pc:sldMasterMk cId="2457110672" sldId="2147483709"/>
            <pc:sldLayoutMk cId="2966783186" sldId="2147483858"/>
          </pc:sldLayoutMkLst>
          <pc:spChg chg="add del mod modVis">
            <ac:chgData name="Falcão Lacerda, Rafael" userId="40181ff7-4694-4c53-a944-7b7d63582359" providerId="ADAL" clId="{3B4D5F63-EA56-4616-8A78-0C43AB7049E7}" dt="2025-12-08T00:26:51.360" v="9807"/>
            <ac:spMkLst>
              <pc:docMk/>
              <pc:sldMasterMk cId="2457110672" sldId="2147483709"/>
              <pc:sldLayoutMk cId="2966783186" sldId="2147483858"/>
              <ac:spMk id="2" creationId="{2131F760-31FE-1958-9AEB-C89460D29026}"/>
            </ac:spMkLst>
          </pc:spChg>
          <pc:spChg chg="del mod">
            <ac:chgData name="Falcão Lacerda, Rafael" userId="40181ff7-4694-4c53-a944-7b7d63582359" providerId="ADAL" clId="{3B4D5F63-EA56-4616-8A78-0C43AB7049E7}" dt="2025-12-08T12:49:11.265" v="29914" actId="478"/>
            <ac:spMkLst>
              <pc:docMk/>
              <pc:sldMasterMk cId="2457110672" sldId="2147483709"/>
              <pc:sldLayoutMk cId="2966783186" sldId="2147483858"/>
              <ac:spMk id="32" creationId="{B49891DC-D80E-4D1B-961E-1B567E0E4535}"/>
            </ac:spMkLst>
          </pc:spChg>
          <pc:spChg chg="mod">
            <ac:chgData name="Falcão Lacerda, Rafael" userId="40181ff7-4694-4c53-a944-7b7d63582359" providerId="ADAL" clId="{3B4D5F63-EA56-4616-8A78-0C43AB7049E7}" dt="2025-12-08T00:26:34.165" v="3342"/>
            <ac:spMkLst>
              <pc:docMk/>
              <pc:sldMasterMk cId="2457110672" sldId="2147483709"/>
              <pc:sldLayoutMk cId="2966783186" sldId="2147483858"/>
              <ac:spMk id="47" creationId="{BAE735C4-1315-5604-E715-00812A74737C}"/>
            </ac:spMkLst>
          </pc:spChg>
          <pc:spChg chg="mod">
            <ac:chgData name="Falcão Lacerda, Rafael" userId="40181ff7-4694-4c53-a944-7b7d63582359" providerId="ADAL" clId="{3B4D5F63-EA56-4616-8A78-0C43AB7049E7}" dt="2025-12-08T00:26:44.889" v="7272" actId="948"/>
            <ac:spMkLst>
              <pc:docMk/>
              <pc:sldMasterMk cId="2457110672" sldId="2147483709"/>
              <pc:sldLayoutMk cId="2966783186" sldId="2147483858"/>
              <ac:spMk id="48" creationId="{EE96B902-DA40-F453-88BF-C5A865B07A86}"/>
            </ac:spMkLst>
          </pc:spChg>
          <pc:spChg chg="mod">
            <ac:chgData name="Falcão Lacerda, Rafael" userId="40181ff7-4694-4c53-a944-7b7d63582359" providerId="ADAL" clId="{3B4D5F63-EA56-4616-8A78-0C43AB7049E7}" dt="2025-12-08T00:26:34.181" v="3344"/>
            <ac:spMkLst>
              <pc:docMk/>
              <pc:sldMasterMk cId="2457110672" sldId="2147483709"/>
              <pc:sldLayoutMk cId="2966783186" sldId="2147483858"/>
              <ac:spMk id="61" creationId="{F0E9B0EE-00BA-77AC-391E-0B1F0E1E8A9C}"/>
            </ac:spMkLst>
          </pc:spChg>
          <pc:spChg chg="mod">
            <ac:chgData name="Falcão Lacerda, Rafael" userId="40181ff7-4694-4c53-a944-7b7d63582359" providerId="ADAL" clId="{3B4D5F63-EA56-4616-8A78-0C43AB7049E7}" dt="2025-12-08T00:26:34.197" v="3346"/>
            <ac:spMkLst>
              <pc:docMk/>
              <pc:sldMasterMk cId="2457110672" sldId="2147483709"/>
              <pc:sldLayoutMk cId="2966783186" sldId="2147483858"/>
              <ac:spMk id="62" creationId="{8A6DE4FC-AD43-5522-F3DC-8CCFCDC5C1AC}"/>
            </ac:spMkLst>
          </pc:spChg>
          <pc:spChg chg="mod">
            <ac:chgData name="Falcão Lacerda, Rafael" userId="40181ff7-4694-4c53-a944-7b7d63582359" providerId="ADAL" clId="{3B4D5F63-EA56-4616-8A78-0C43AB7049E7}" dt="2025-12-08T00:26:34.197" v="3348"/>
            <ac:spMkLst>
              <pc:docMk/>
              <pc:sldMasterMk cId="2457110672" sldId="2147483709"/>
              <pc:sldLayoutMk cId="2966783186" sldId="2147483858"/>
              <ac:spMk id="63" creationId="{1BD069D5-BE5E-6066-FCA3-0DF229CA234F}"/>
            </ac:spMkLst>
          </pc:spChg>
          <pc:spChg chg="mod">
            <ac:chgData name="Falcão Lacerda, Rafael" userId="40181ff7-4694-4c53-a944-7b7d63582359" providerId="ADAL" clId="{3B4D5F63-EA56-4616-8A78-0C43AB7049E7}" dt="2025-12-08T00:26:34.213" v="3350"/>
            <ac:spMkLst>
              <pc:docMk/>
              <pc:sldMasterMk cId="2457110672" sldId="2147483709"/>
              <pc:sldLayoutMk cId="2966783186" sldId="2147483858"/>
              <ac:spMk id="64" creationId="{9411D50B-1629-1008-57E7-75FEA9042E4C}"/>
            </ac:spMkLst>
          </pc:spChg>
          <pc:spChg chg="mod">
            <ac:chgData name="Falcão Lacerda, Rafael" userId="40181ff7-4694-4c53-a944-7b7d63582359" providerId="ADAL" clId="{3B4D5F63-EA56-4616-8A78-0C43AB7049E7}" dt="2025-12-08T00:26:34.228" v="3352"/>
            <ac:spMkLst>
              <pc:docMk/>
              <pc:sldMasterMk cId="2457110672" sldId="2147483709"/>
              <pc:sldLayoutMk cId="2966783186" sldId="2147483858"/>
              <ac:spMk id="65" creationId="{ADF38582-16D1-8220-29AD-F720575DB7C5}"/>
            </ac:spMkLst>
          </pc:spChg>
          <pc:spChg chg="mod">
            <ac:chgData name="Falcão Lacerda, Rafael" userId="40181ff7-4694-4c53-a944-7b7d63582359" providerId="ADAL" clId="{3B4D5F63-EA56-4616-8A78-0C43AB7049E7}" dt="2025-12-08T00:26:34.244" v="3354"/>
            <ac:spMkLst>
              <pc:docMk/>
              <pc:sldMasterMk cId="2457110672" sldId="2147483709"/>
              <pc:sldLayoutMk cId="2966783186" sldId="2147483858"/>
              <ac:spMk id="66" creationId="{97C37837-0060-AD69-31D2-1F8111CE8665}"/>
            </ac:spMkLst>
          </pc:spChg>
          <pc:spChg chg="mod">
            <ac:chgData name="Falcão Lacerda, Rafael" userId="40181ff7-4694-4c53-a944-7b7d63582359" providerId="ADAL" clId="{3B4D5F63-EA56-4616-8A78-0C43AB7049E7}" dt="2025-12-08T00:26:34.244" v="3356"/>
            <ac:spMkLst>
              <pc:docMk/>
              <pc:sldMasterMk cId="2457110672" sldId="2147483709"/>
              <pc:sldLayoutMk cId="2966783186" sldId="2147483858"/>
              <ac:spMk id="67" creationId="{E38C952C-69EF-B109-2D9A-0E1226273D9A}"/>
            </ac:spMkLst>
          </pc:spChg>
          <pc:spChg chg="mod">
            <ac:chgData name="Falcão Lacerda, Rafael" userId="40181ff7-4694-4c53-a944-7b7d63582359" providerId="ADAL" clId="{3B4D5F63-EA56-4616-8A78-0C43AB7049E7}" dt="2025-12-08T00:26:34.260" v="3358"/>
            <ac:spMkLst>
              <pc:docMk/>
              <pc:sldMasterMk cId="2457110672" sldId="2147483709"/>
              <pc:sldLayoutMk cId="2966783186" sldId="2147483858"/>
              <ac:spMk id="68" creationId="{DE8A2EE3-FD03-89B1-82A0-A678E022E3DD}"/>
            </ac:spMkLst>
          </pc:spChg>
          <pc:spChg chg="mod">
            <ac:chgData name="Falcão Lacerda, Rafael" userId="40181ff7-4694-4c53-a944-7b7d63582359" providerId="ADAL" clId="{3B4D5F63-EA56-4616-8A78-0C43AB7049E7}" dt="2025-12-08T00:26:34.260" v="3360"/>
            <ac:spMkLst>
              <pc:docMk/>
              <pc:sldMasterMk cId="2457110672" sldId="2147483709"/>
              <pc:sldLayoutMk cId="2966783186" sldId="2147483858"/>
              <ac:spMk id="69" creationId="{F179A0E0-1EF9-E854-A005-C3FFC783DADA}"/>
            </ac:spMkLst>
          </pc:spChg>
          <pc:spChg chg="mod">
            <ac:chgData name="Falcão Lacerda, Rafael" userId="40181ff7-4694-4c53-a944-7b7d63582359" providerId="ADAL" clId="{3B4D5F63-EA56-4616-8A78-0C43AB7049E7}" dt="2025-12-08T00:26:34.275" v="3362"/>
            <ac:spMkLst>
              <pc:docMk/>
              <pc:sldMasterMk cId="2457110672" sldId="2147483709"/>
              <pc:sldLayoutMk cId="2966783186" sldId="2147483858"/>
              <ac:spMk id="70" creationId="{98575771-F64F-E2C2-0963-4F7DA15F5336}"/>
            </ac:spMkLst>
          </pc:spChg>
          <pc:spChg chg="mod">
            <ac:chgData name="Falcão Lacerda, Rafael" userId="40181ff7-4694-4c53-a944-7b7d63582359" providerId="ADAL" clId="{3B4D5F63-EA56-4616-8A78-0C43AB7049E7}" dt="2025-12-08T00:26:34.275" v="3364"/>
            <ac:spMkLst>
              <pc:docMk/>
              <pc:sldMasterMk cId="2457110672" sldId="2147483709"/>
              <pc:sldLayoutMk cId="2966783186" sldId="2147483858"/>
              <ac:spMk id="71" creationId="{6067F82A-448D-AF56-DCF9-8FC95A5EA87D}"/>
            </ac:spMkLst>
          </pc:spChg>
          <pc:spChg chg="mod">
            <ac:chgData name="Falcão Lacerda, Rafael" userId="40181ff7-4694-4c53-a944-7b7d63582359" providerId="ADAL" clId="{3B4D5F63-EA56-4616-8A78-0C43AB7049E7}" dt="2025-12-08T00:26:34.292" v="3366"/>
            <ac:spMkLst>
              <pc:docMk/>
              <pc:sldMasterMk cId="2457110672" sldId="2147483709"/>
              <pc:sldLayoutMk cId="2966783186" sldId="2147483858"/>
              <ac:spMk id="72" creationId="{C90D0832-8997-2CF3-4C1C-76EC7DBBE377}"/>
            </ac:spMkLst>
          </pc:spChg>
          <pc:graphicFrameChg chg="add mod ord modVis">
            <ac:chgData name="Falcão Lacerda, Rafael" userId="40181ff7-4694-4c53-a944-7b7d63582359" providerId="ADAL" clId="{3B4D5F63-EA56-4616-8A78-0C43AB7049E7}" dt="2025-12-08T00:26:51.424" v="9821"/>
            <ac:graphicFrameMkLst>
              <pc:docMk/>
              <pc:sldMasterMk cId="2457110672" sldId="2147483709"/>
              <pc:sldLayoutMk cId="2966783186" sldId="2147483858"/>
              <ac:graphicFrameMk id="3" creationId="{C5DDFBE4-9A84-B4C9-CB0A-FF8244083A73}"/>
            </ac:graphicFrameMkLst>
          </pc:graphicFrameChg>
        </pc:sldLayoutChg>
        <pc:sldLayoutChg chg="addSp delSp modSp mod">
          <pc:chgData name="Falcão Lacerda, Rafael" userId="40181ff7-4694-4c53-a944-7b7d63582359" providerId="ADAL" clId="{3B4D5F63-EA56-4616-8A78-0C43AB7049E7}" dt="2025-12-08T12:48:21.031" v="29902" actId="478"/>
          <pc:sldLayoutMkLst>
            <pc:docMk/>
            <pc:sldMasterMk cId="2457110672" sldId="2147483709"/>
            <pc:sldLayoutMk cId="2049147149" sldId="2147483860"/>
          </pc:sldLayoutMkLst>
          <pc:spChg chg="del mod">
            <ac:chgData name="Falcão Lacerda, Rafael" userId="40181ff7-4694-4c53-a944-7b7d63582359" providerId="ADAL" clId="{3B4D5F63-EA56-4616-8A78-0C43AB7049E7}" dt="2025-12-08T12:48:21.031" v="29902" actId="478"/>
            <ac:spMkLst>
              <pc:docMk/>
              <pc:sldMasterMk cId="2457110672" sldId="2147483709"/>
              <pc:sldLayoutMk cId="2049147149" sldId="2147483860"/>
              <ac:spMk id="3" creationId="{6F38CEE2-3D5C-A0E3-1BE3-09AB0AC25463}"/>
            </ac:spMkLst>
          </pc:spChg>
          <pc:spChg chg="mod">
            <ac:chgData name="Falcão Lacerda, Rafael" userId="40181ff7-4694-4c53-a944-7b7d63582359" providerId="ADAL" clId="{3B4D5F63-EA56-4616-8A78-0C43AB7049E7}" dt="2025-12-08T00:26:35.162" v="3548" actId="947"/>
            <ac:spMkLst>
              <pc:docMk/>
              <pc:sldMasterMk cId="2457110672" sldId="2147483709"/>
              <pc:sldLayoutMk cId="2049147149" sldId="2147483860"/>
              <ac:spMk id="4" creationId="{C7D43BFE-04FF-915B-AF75-EF92EB85EE07}"/>
            </ac:spMkLst>
          </pc:spChg>
          <pc:spChg chg="mod">
            <ac:chgData name="Falcão Lacerda, Rafael" userId="40181ff7-4694-4c53-a944-7b7d63582359" providerId="ADAL" clId="{3B4D5F63-EA56-4616-8A78-0C43AB7049E7}" dt="2025-12-08T00:26:35.147" v="3544"/>
            <ac:spMkLst>
              <pc:docMk/>
              <pc:sldMasterMk cId="2457110672" sldId="2147483709"/>
              <pc:sldLayoutMk cId="2049147149" sldId="2147483860"/>
              <ac:spMk id="5" creationId="{4C6AFAE1-C867-607D-7626-06B37DD8931A}"/>
            </ac:spMkLst>
          </pc:spChg>
          <pc:spChg chg="mod">
            <ac:chgData name="Falcão Lacerda, Rafael" userId="40181ff7-4694-4c53-a944-7b7d63582359" providerId="ADAL" clId="{3B4D5F63-EA56-4616-8A78-0C43AB7049E7}" dt="2025-12-08T00:26:35.194" v="3552" actId="947"/>
            <ac:spMkLst>
              <pc:docMk/>
              <pc:sldMasterMk cId="2457110672" sldId="2147483709"/>
              <pc:sldLayoutMk cId="2049147149" sldId="2147483860"/>
              <ac:spMk id="6" creationId="{FC53484B-EB21-70B6-32DD-8344CAE70A1C}"/>
            </ac:spMkLst>
          </pc:spChg>
          <pc:spChg chg="mod">
            <ac:chgData name="Falcão Lacerda, Rafael" userId="40181ff7-4694-4c53-a944-7b7d63582359" providerId="ADAL" clId="{3B4D5F63-EA56-4616-8A78-0C43AB7049E7}" dt="2025-12-08T00:26:35.134" v="3540"/>
            <ac:spMkLst>
              <pc:docMk/>
              <pc:sldMasterMk cId="2457110672" sldId="2147483709"/>
              <pc:sldLayoutMk cId="2049147149" sldId="2147483860"/>
              <ac:spMk id="7" creationId="{54F0D47A-40F3-3312-FD52-DB56907BD070}"/>
            </ac:spMkLst>
          </pc:spChg>
          <pc:spChg chg="add del mod modVis">
            <ac:chgData name="Falcão Lacerda, Rafael" userId="40181ff7-4694-4c53-a944-7b7d63582359" providerId="ADAL" clId="{3B4D5F63-EA56-4616-8A78-0C43AB7049E7}" dt="2025-12-08T00:26:51.798" v="9919"/>
            <ac:spMkLst>
              <pc:docMk/>
              <pc:sldMasterMk cId="2457110672" sldId="2147483709"/>
              <pc:sldLayoutMk cId="2049147149" sldId="2147483860"/>
              <ac:spMk id="8" creationId="{0E1D2552-F1A3-5C2F-C1CC-B8D302352933}"/>
            </ac:spMkLst>
          </pc:spChg>
          <pc:spChg chg="mod">
            <ac:chgData name="Falcão Lacerda, Rafael" userId="40181ff7-4694-4c53-a944-7b7d63582359" providerId="ADAL" clId="{3B4D5F63-EA56-4616-8A78-0C43AB7049E7}" dt="2025-12-08T00:26:35.115" v="3536"/>
            <ac:spMkLst>
              <pc:docMk/>
              <pc:sldMasterMk cId="2457110672" sldId="2147483709"/>
              <pc:sldLayoutMk cId="2049147149" sldId="2147483860"/>
              <ac:spMk id="9" creationId="{EAF65655-CFF6-96F8-B90D-8BE8496D6801}"/>
            </ac:spMkLst>
          </pc:spChg>
          <pc:spChg chg="mod">
            <ac:chgData name="Falcão Lacerda, Rafael" userId="40181ff7-4694-4c53-a944-7b7d63582359" providerId="ADAL" clId="{3B4D5F63-EA56-4616-8A78-0C43AB7049E7}" dt="2025-12-08T00:26:45.272" v="7412" actId="948"/>
            <ac:spMkLst>
              <pc:docMk/>
              <pc:sldMasterMk cId="2457110672" sldId="2147483709"/>
              <pc:sldLayoutMk cId="2049147149" sldId="2147483860"/>
              <ac:spMk id="10" creationId="{60352A97-ED89-7C2F-0063-10DA374CB06F}"/>
            </ac:spMkLst>
          </pc:spChg>
          <pc:spChg chg="mod">
            <ac:chgData name="Falcão Lacerda, Rafael" userId="40181ff7-4694-4c53-a944-7b7d63582359" providerId="ADAL" clId="{3B4D5F63-EA56-4616-8A78-0C43AB7049E7}" dt="2025-12-08T00:26:35.099" v="3532"/>
            <ac:spMkLst>
              <pc:docMk/>
              <pc:sldMasterMk cId="2457110672" sldId="2147483709"/>
              <pc:sldLayoutMk cId="2049147149" sldId="2147483860"/>
              <ac:spMk id="11" creationId="{F6B6460F-92C4-7868-A99F-7C747B39009C}"/>
            </ac:spMkLst>
          </pc:spChg>
          <pc:spChg chg="del mod">
            <ac:chgData name="Falcão Lacerda, Rafael" userId="40181ff7-4694-4c53-a944-7b7d63582359" providerId="ADAL" clId="{3B4D5F63-EA56-4616-8A78-0C43AB7049E7}" dt="2025-12-08T12:48:18.538" v="29901" actId="478"/>
            <ac:spMkLst>
              <pc:docMk/>
              <pc:sldMasterMk cId="2457110672" sldId="2147483709"/>
              <pc:sldLayoutMk cId="2049147149" sldId="2147483860"/>
              <ac:spMk id="12" creationId="{2DFC2805-A4A5-BE1F-72EF-71C8FE15AD9C}"/>
            </ac:spMkLst>
          </pc:spChg>
          <pc:spChg chg="mod">
            <ac:chgData name="Falcão Lacerda, Rafael" userId="40181ff7-4694-4c53-a944-7b7d63582359" providerId="ADAL" clId="{3B4D5F63-EA56-4616-8A78-0C43AB7049E7}" dt="2025-12-08T00:26:35.162" v="3546"/>
            <ac:spMkLst>
              <pc:docMk/>
              <pc:sldMasterMk cId="2457110672" sldId="2147483709"/>
              <pc:sldLayoutMk cId="2049147149" sldId="2147483860"/>
              <ac:spMk id="38" creationId="{92A5DC07-3811-41E7-B3BC-1DF4ED905C75}"/>
            </ac:spMkLst>
          </pc:spChg>
          <pc:spChg chg="mod">
            <ac:chgData name="Falcão Lacerda, Rafael" userId="40181ff7-4694-4c53-a944-7b7d63582359" providerId="ADAL" clId="{3B4D5F63-EA56-4616-8A78-0C43AB7049E7}" dt="2025-12-08T00:26:35.115" v="3534"/>
            <ac:spMkLst>
              <pc:docMk/>
              <pc:sldMasterMk cId="2457110672" sldId="2147483709"/>
              <pc:sldLayoutMk cId="2049147149" sldId="2147483860"/>
              <ac:spMk id="46" creationId="{FFC38A35-5CA3-4459-9AC5-201C71534956}"/>
            </ac:spMkLst>
          </pc:spChg>
          <pc:spChg chg="mod">
            <ac:chgData name="Falcão Lacerda, Rafael" userId="40181ff7-4694-4c53-a944-7b7d63582359" providerId="ADAL" clId="{3B4D5F63-EA56-4616-8A78-0C43AB7049E7}" dt="2025-12-08T00:26:35.134" v="3538"/>
            <ac:spMkLst>
              <pc:docMk/>
              <pc:sldMasterMk cId="2457110672" sldId="2147483709"/>
              <pc:sldLayoutMk cId="2049147149" sldId="2147483860"/>
              <ac:spMk id="48" creationId="{84A1985F-A4F6-4997-A4BD-E305CB1A47A6}"/>
            </ac:spMkLst>
          </pc:spChg>
          <pc:spChg chg="mod">
            <ac:chgData name="Falcão Lacerda, Rafael" userId="40181ff7-4694-4c53-a944-7b7d63582359" providerId="ADAL" clId="{3B4D5F63-EA56-4616-8A78-0C43AB7049E7}" dt="2025-12-08T00:26:35.147" v="3542"/>
            <ac:spMkLst>
              <pc:docMk/>
              <pc:sldMasterMk cId="2457110672" sldId="2147483709"/>
              <pc:sldLayoutMk cId="2049147149" sldId="2147483860"/>
              <ac:spMk id="50" creationId="{E5121ACC-7E33-431F-A8A1-419F515D4061}"/>
            </ac:spMkLst>
          </pc:spChg>
          <pc:graphicFrameChg chg="add mod ord modVis">
            <ac:chgData name="Falcão Lacerda, Rafael" userId="40181ff7-4694-4c53-a944-7b7d63582359" providerId="ADAL" clId="{3B4D5F63-EA56-4616-8A78-0C43AB7049E7}" dt="2025-12-08T00:26:51.834" v="9933"/>
            <ac:graphicFrameMkLst>
              <pc:docMk/>
              <pc:sldMasterMk cId="2457110672" sldId="2147483709"/>
              <pc:sldLayoutMk cId="2049147149" sldId="2147483860"/>
              <ac:graphicFrameMk id="13" creationId="{DFFDC713-DB7D-616D-4DA5-C50AF79E3A06}"/>
            </ac:graphicFrameMkLst>
          </pc:graphicFrameChg>
        </pc:sldLayoutChg>
        <pc:sldLayoutChg chg="addSp delSp modSp mod">
          <pc:chgData name="Falcão Lacerda, Rafael" userId="40181ff7-4694-4c53-a944-7b7d63582359" providerId="ADAL" clId="{3B4D5F63-EA56-4616-8A78-0C43AB7049E7}" dt="2025-12-08T12:47:49.449" v="29892" actId="478"/>
          <pc:sldLayoutMkLst>
            <pc:docMk/>
            <pc:sldMasterMk cId="2457110672" sldId="2147483709"/>
            <pc:sldLayoutMk cId="666653570" sldId="2147483861"/>
          </pc:sldLayoutMkLst>
          <pc:spChg chg="mod">
            <ac:chgData name="Falcão Lacerda, Rafael" userId="40181ff7-4694-4c53-a944-7b7d63582359" providerId="ADAL" clId="{3B4D5F63-EA56-4616-8A78-0C43AB7049E7}" dt="2025-12-08T00:26:44.080" v="6992" actId="948"/>
            <ac:spMkLst>
              <pc:docMk/>
              <pc:sldMasterMk cId="2457110672" sldId="2147483709"/>
              <pc:sldLayoutMk cId="666653570" sldId="2147483861"/>
              <ac:spMk id="2" creationId="{4D0BE08F-518C-6621-8CFD-4A6B4150BC57}"/>
            </ac:spMkLst>
          </pc:spChg>
          <pc:spChg chg="del mod">
            <ac:chgData name="Falcão Lacerda, Rafael" userId="40181ff7-4694-4c53-a944-7b7d63582359" providerId="ADAL" clId="{3B4D5F63-EA56-4616-8A78-0C43AB7049E7}" dt="2025-12-08T12:47:49.449" v="29892" actId="478"/>
            <ac:spMkLst>
              <pc:docMk/>
              <pc:sldMasterMk cId="2457110672" sldId="2147483709"/>
              <pc:sldLayoutMk cId="666653570" sldId="2147483861"/>
              <ac:spMk id="3" creationId="{CDD1F25F-57C8-B39C-4928-D5758551C5BE}"/>
            </ac:spMkLst>
          </pc:spChg>
          <pc:spChg chg="mod">
            <ac:chgData name="Falcão Lacerda, Rafael" userId="40181ff7-4694-4c53-a944-7b7d63582359" providerId="ADAL" clId="{3B4D5F63-EA56-4616-8A78-0C43AB7049E7}" dt="2025-12-08T00:26:33.089" v="3132" actId="947"/>
            <ac:spMkLst>
              <pc:docMk/>
              <pc:sldMasterMk cId="2457110672" sldId="2147483709"/>
              <pc:sldLayoutMk cId="666653570" sldId="2147483861"/>
              <ac:spMk id="4" creationId="{65E3D15D-8C37-9915-8ED3-632625C6F4D2}"/>
            </ac:spMkLst>
          </pc:spChg>
          <pc:spChg chg="mod">
            <ac:chgData name="Falcão Lacerda, Rafael" userId="40181ff7-4694-4c53-a944-7b7d63582359" providerId="ADAL" clId="{3B4D5F63-EA56-4616-8A78-0C43AB7049E7}" dt="2025-12-08T00:26:33.057" v="3124"/>
            <ac:spMkLst>
              <pc:docMk/>
              <pc:sldMasterMk cId="2457110672" sldId="2147483709"/>
              <pc:sldLayoutMk cId="666653570" sldId="2147483861"/>
              <ac:spMk id="5" creationId="{85F087B1-CDA4-427D-C33A-06F752C0B04F}"/>
            </ac:spMkLst>
          </pc:spChg>
          <pc:spChg chg="add del mod modVis">
            <ac:chgData name="Falcão Lacerda, Rafael" userId="40181ff7-4694-4c53-a944-7b7d63582359" providerId="ADAL" clId="{3B4D5F63-EA56-4616-8A78-0C43AB7049E7}" dt="2025-12-08T00:26:50.432" v="9583"/>
            <ac:spMkLst>
              <pc:docMk/>
              <pc:sldMasterMk cId="2457110672" sldId="2147483709"/>
              <pc:sldLayoutMk cId="666653570" sldId="2147483861"/>
              <ac:spMk id="6" creationId="{246D33F7-7A09-4EA5-223B-6C10BF6EF643}"/>
            </ac:spMkLst>
          </pc:spChg>
          <pc:spChg chg="del mod">
            <ac:chgData name="Falcão Lacerda, Rafael" userId="40181ff7-4694-4c53-a944-7b7d63582359" providerId="ADAL" clId="{3B4D5F63-EA56-4616-8A78-0C43AB7049E7}" dt="2025-12-08T12:47:46.330" v="29891" actId="478"/>
            <ac:spMkLst>
              <pc:docMk/>
              <pc:sldMasterMk cId="2457110672" sldId="2147483709"/>
              <pc:sldLayoutMk cId="666653570" sldId="2147483861"/>
              <ac:spMk id="9" creationId="{8DE35BA1-021B-C8B8-EEDE-464FB3F9F466}"/>
            </ac:spMkLst>
          </pc:spChg>
          <pc:graphicFrameChg chg="add mod ord modVis">
            <ac:chgData name="Falcão Lacerda, Rafael" userId="40181ff7-4694-4c53-a944-7b7d63582359" providerId="ADAL" clId="{3B4D5F63-EA56-4616-8A78-0C43AB7049E7}" dt="2025-12-08T00:26:50.479" v="9597"/>
            <ac:graphicFrameMkLst>
              <pc:docMk/>
              <pc:sldMasterMk cId="2457110672" sldId="2147483709"/>
              <pc:sldLayoutMk cId="666653570" sldId="2147483861"/>
              <ac:graphicFrameMk id="7" creationId="{F811568A-5CB9-B5A9-636B-11936CEBF755}"/>
            </ac:graphicFrameMkLst>
          </pc:graphicFrameChg>
        </pc:sldLayoutChg>
        <pc:sldLayoutChg chg="addSp delSp modSp mod">
          <pc:chgData name="Falcão Lacerda, Rafael" userId="40181ff7-4694-4c53-a944-7b7d63582359" providerId="ADAL" clId="{3B4D5F63-EA56-4616-8A78-0C43AB7049E7}" dt="2025-12-08T12:48:33.367" v="29906" actId="478"/>
          <pc:sldLayoutMkLst>
            <pc:docMk/>
            <pc:sldMasterMk cId="2457110672" sldId="2147483709"/>
            <pc:sldLayoutMk cId="1258698210" sldId="2147483862"/>
          </pc:sldLayoutMkLst>
          <pc:spChg chg="add del mod modVis">
            <ac:chgData name="Falcão Lacerda, Rafael" userId="40181ff7-4694-4c53-a944-7b7d63582359" providerId="ADAL" clId="{3B4D5F63-EA56-4616-8A78-0C43AB7049E7}" dt="2025-12-08T00:26:51.543" v="9855"/>
            <ac:spMkLst>
              <pc:docMk/>
              <pc:sldMasterMk cId="2457110672" sldId="2147483709"/>
              <pc:sldLayoutMk cId="1258698210" sldId="2147483862"/>
              <ac:spMk id="2" creationId="{8ECDD433-28EC-362E-CF44-009AE38149AC}"/>
            </ac:spMkLst>
          </pc:spChg>
          <pc:spChg chg="mod">
            <ac:chgData name="Falcão Lacerda, Rafael" userId="40181ff7-4694-4c53-a944-7b7d63582359" providerId="ADAL" clId="{3B4D5F63-EA56-4616-8A78-0C43AB7049E7}" dt="2025-12-08T00:26:45.043" v="7332" actId="948"/>
            <ac:spMkLst>
              <pc:docMk/>
              <pc:sldMasterMk cId="2457110672" sldId="2147483709"/>
              <pc:sldLayoutMk cId="1258698210" sldId="2147483862"/>
              <ac:spMk id="3" creationId="{5BB918B6-32FF-4857-A645-C1032AFAEF62}"/>
            </ac:spMkLst>
          </pc:spChg>
          <pc:spChg chg="mod">
            <ac:chgData name="Falcão Lacerda, Rafael" userId="40181ff7-4694-4c53-a944-7b7d63582359" providerId="ADAL" clId="{3B4D5F63-EA56-4616-8A78-0C43AB7049E7}" dt="2025-12-08T00:26:34.751" v="3460"/>
            <ac:spMkLst>
              <pc:docMk/>
              <pc:sldMasterMk cId="2457110672" sldId="2147483709"/>
              <pc:sldLayoutMk cId="1258698210" sldId="2147483862"/>
              <ac:spMk id="4" creationId="{8E3ED24E-CC9B-F99D-ABD2-271CAAC31C78}"/>
            </ac:spMkLst>
          </pc:spChg>
          <pc:spChg chg="mod">
            <ac:chgData name="Falcão Lacerda, Rafael" userId="40181ff7-4694-4c53-a944-7b7d63582359" providerId="ADAL" clId="{3B4D5F63-EA56-4616-8A78-0C43AB7049E7}" dt="2025-12-08T00:26:34.735" v="3456"/>
            <ac:spMkLst>
              <pc:docMk/>
              <pc:sldMasterMk cId="2457110672" sldId="2147483709"/>
              <pc:sldLayoutMk cId="1258698210" sldId="2147483862"/>
              <ac:spMk id="5" creationId="{DFC923C6-9E63-5C37-D6CE-0C0C7F31BA14}"/>
            </ac:spMkLst>
          </pc:spChg>
          <pc:spChg chg="del mod">
            <ac:chgData name="Falcão Lacerda, Rafael" userId="40181ff7-4694-4c53-a944-7b7d63582359" providerId="ADAL" clId="{3B4D5F63-EA56-4616-8A78-0C43AB7049E7}" dt="2025-12-08T12:48:30.325" v="29905" actId="478"/>
            <ac:spMkLst>
              <pc:docMk/>
              <pc:sldMasterMk cId="2457110672" sldId="2147483709"/>
              <pc:sldLayoutMk cId="1258698210" sldId="2147483862"/>
              <ac:spMk id="7" creationId="{E60B30CA-91CE-53D4-4E41-25E962661ED8}"/>
            </ac:spMkLst>
          </pc:spChg>
          <pc:spChg chg="mod">
            <ac:chgData name="Falcão Lacerda, Rafael" userId="40181ff7-4694-4c53-a944-7b7d63582359" providerId="ADAL" clId="{3B4D5F63-EA56-4616-8A78-0C43AB7049E7}" dt="2025-12-08T00:26:34.703" v="3452" actId="947"/>
            <ac:spMkLst>
              <pc:docMk/>
              <pc:sldMasterMk cId="2457110672" sldId="2147483709"/>
              <pc:sldLayoutMk cId="1258698210" sldId="2147483862"/>
              <ac:spMk id="8" creationId="{3D16F949-3472-4EBC-9DC1-05EC807C9FC0}"/>
            </ac:spMkLst>
          </pc:spChg>
          <pc:spChg chg="mod">
            <ac:chgData name="Falcão Lacerda, Rafael" userId="40181ff7-4694-4c53-a944-7b7d63582359" providerId="ADAL" clId="{3B4D5F63-EA56-4616-8A78-0C43AB7049E7}" dt="2025-12-08T00:26:34.782" v="3466"/>
            <ac:spMkLst>
              <pc:docMk/>
              <pc:sldMasterMk cId="2457110672" sldId="2147483709"/>
              <pc:sldLayoutMk cId="1258698210" sldId="2147483862"/>
              <ac:spMk id="9" creationId="{AB939A4D-3841-382E-4112-16375BBF9CD7}"/>
            </ac:spMkLst>
          </pc:spChg>
          <pc:spChg chg="mod">
            <ac:chgData name="Falcão Lacerda, Rafael" userId="40181ff7-4694-4c53-a944-7b7d63582359" providerId="ADAL" clId="{3B4D5F63-EA56-4616-8A78-0C43AB7049E7}" dt="2025-12-08T00:26:34.690" v="3448"/>
            <ac:spMkLst>
              <pc:docMk/>
              <pc:sldMasterMk cId="2457110672" sldId="2147483709"/>
              <pc:sldLayoutMk cId="1258698210" sldId="2147483862"/>
              <ac:spMk id="10" creationId="{202CA0A6-65B9-D658-1AEC-00085854F84B}"/>
            </ac:spMkLst>
          </pc:spChg>
          <pc:spChg chg="del mod">
            <ac:chgData name="Falcão Lacerda, Rafael" userId="40181ff7-4694-4c53-a944-7b7d63582359" providerId="ADAL" clId="{3B4D5F63-EA56-4616-8A78-0C43AB7049E7}" dt="2025-12-08T12:48:33.367" v="29906" actId="478"/>
            <ac:spMkLst>
              <pc:docMk/>
              <pc:sldMasterMk cId="2457110672" sldId="2147483709"/>
              <pc:sldLayoutMk cId="1258698210" sldId="2147483862"/>
              <ac:spMk id="12" creationId="{C6DCEC7C-94EF-9488-4BC9-3AC6108281E8}"/>
            </ac:spMkLst>
          </pc:spChg>
          <pc:spChg chg="mod">
            <ac:chgData name="Falcão Lacerda, Rafael" userId="40181ff7-4694-4c53-a944-7b7d63582359" providerId="ADAL" clId="{3B4D5F63-EA56-4616-8A78-0C43AB7049E7}" dt="2025-12-08T00:26:34.799" v="3472" actId="947"/>
            <ac:spMkLst>
              <pc:docMk/>
              <pc:sldMasterMk cId="2457110672" sldId="2147483709"/>
              <pc:sldLayoutMk cId="1258698210" sldId="2147483862"/>
              <ac:spMk id="13" creationId="{DFF01EE3-5EDD-45BD-F1D7-076E2C959DD2}"/>
            </ac:spMkLst>
          </pc:spChg>
          <pc:spChg chg="mod">
            <ac:chgData name="Falcão Lacerda, Rafael" userId="40181ff7-4694-4c53-a944-7b7d63582359" providerId="ADAL" clId="{3B4D5F63-EA56-4616-8A78-0C43AB7049E7}" dt="2025-12-08T00:26:34.703" v="3450"/>
            <ac:spMkLst>
              <pc:docMk/>
              <pc:sldMasterMk cId="2457110672" sldId="2147483709"/>
              <pc:sldLayoutMk cId="1258698210" sldId="2147483862"/>
              <ac:spMk id="21" creationId="{4CA191CE-F49B-4889-A102-DDD1279F3FB2}"/>
            </ac:spMkLst>
          </pc:spChg>
          <pc:spChg chg="mod">
            <ac:chgData name="Falcão Lacerda, Rafael" userId="40181ff7-4694-4c53-a944-7b7d63582359" providerId="ADAL" clId="{3B4D5F63-EA56-4616-8A78-0C43AB7049E7}" dt="2025-12-08T00:26:34.767" v="3464"/>
            <ac:spMkLst>
              <pc:docMk/>
              <pc:sldMasterMk cId="2457110672" sldId="2147483709"/>
              <pc:sldLayoutMk cId="1258698210" sldId="2147483862"/>
              <ac:spMk id="24" creationId="{86209476-BF69-4014-99E6-B53C87141B48}"/>
            </ac:spMkLst>
          </pc:spChg>
          <pc:spChg chg="mod">
            <ac:chgData name="Falcão Lacerda, Rafael" userId="40181ff7-4694-4c53-a944-7b7d63582359" providerId="ADAL" clId="{3B4D5F63-EA56-4616-8A78-0C43AB7049E7}" dt="2025-12-08T00:26:34.767" v="3462" actId="947"/>
            <ac:spMkLst>
              <pc:docMk/>
              <pc:sldMasterMk cId="2457110672" sldId="2147483709"/>
              <pc:sldLayoutMk cId="1258698210" sldId="2147483862"/>
              <ac:spMk id="29" creationId="{F2E53630-789F-425F-8AB1-96EFF4EA1E46}"/>
            </ac:spMkLst>
          </pc:spChg>
          <pc:spChg chg="mod">
            <ac:chgData name="Falcão Lacerda, Rafael" userId="40181ff7-4694-4c53-a944-7b7d63582359" providerId="ADAL" clId="{3B4D5F63-EA56-4616-8A78-0C43AB7049E7}" dt="2025-12-08T00:26:34.671" v="3444"/>
            <ac:spMkLst>
              <pc:docMk/>
              <pc:sldMasterMk cId="2457110672" sldId="2147483709"/>
              <pc:sldLayoutMk cId="1258698210" sldId="2147483862"/>
              <ac:spMk id="38" creationId="{92A5DC07-3811-41E7-B3BC-1DF4ED905C75}"/>
            </ac:spMkLst>
          </pc:spChg>
          <pc:spChg chg="mod">
            <ac:chgData name="Falcão Lacerda, Rafael" userId="40181ff7-4694-4c53-a944-7b7d63582359" providerId="ADAL" clId="{3B4D5F63-EA56-4616-8A78-0C43AB7049E7}" dt="2025-12-08T00:26:34.690" v="3446"/>
            <ac:spMkLst>
              <pc:docMk/>
              <pc:sldMasterMk cId="2457110672" sldId="2147483709"/>
              <pc:sldLayoutMk cId="1258698210" sldId="2147483862"/>
              <ac:spMk id="46" creationId="{FFC38A35-5CA3-4459-9AC5-201C71534956}"/>
            </ac:spMkLst>
          </pc:spChg>
          <pc:spChg chg="mod">
            <ac:chgData name="Falcão Lacerda, Rafael" userId="40181ff7-4694-4c53-a944-7b7d63582359" providerId="ADAL" clId="{3B4D5F63-EA56-4616-8A78-0C43AB7049E7}" dt="2025-12-08T00:26:34.718" v="3454"/>
            <ac:spMkLst>
              <pc:docMk/>
              <pc:sldMasterMk cId="2457110672" sldId="2147483709"/>
              <pc:sldLayoutMk cId="1258698210" sldId="2147483862"/>
              <ac:spMk id="48" creationId="{84A1985F-A4F6-4997-A4BD-E305CB1A47A6}"/>
            </ac:spMkLst>
          </pc:spChg>
          <pc:spChg chg="mod">
            <ac:chgData name="Falcão Lacerda, Rafael" userId="40181ff7-4694-4c53-a944-7b7d63582359" providerId="ADAL" clId="{3B4D5F63-EA56-4616-8A78-0C43AB7049E7}" dt="2025-12-08T00:26:34.751" v="3458"/>
            <ac:spMkLst>
              <pc:docMk/>
              <pc:sldMasterMk cId="2457110672" sldId="2147483709"/>
              <pc:sldLayoutMk cId="1258698210" sldId="2147483862"/>
              <ac:spMk id="50" creationId="{E5121ACC-7E33-431F-A8A1-419F515D4061}"/>
            </ac:spMkLst>
          </pc:spChg>
          <pc:graphicFrameChg chg="add mod ord modVis">
            <ac:chgData name="Falcão Lacerda, Rafael" userId="40181ff7-4694-4c53-a944-7b7d63582359" providerId="ADAL" clId="{3B4D5F63-EA56-4616-8A78-0C43AB7049E7}" dt="2025-12-08T00:26:51.589" v="9869"/>
            <ac:graphicFrameMkLst>
              <pc:docMk/>
              <pc:sldMasterMk cId="2457110672" sldId="2147483709"/>
              <pc:sldLayoutMk cId="1258698210" sldId="2147483862"/>
              <ac:graphicFrameMk id="6" creationId="{3459C3F0-B08B-DA62-B2AA-40F3BD3BE381}"/>
            </ac:graphicFrameMkLst>
          </pc:graphicFrameChg>
        </pc:sldLayoutChg>
        <pc:sldLayoutChg chg="addSp delSp modSp mod">
          <pc:chgData name="Falcão Lacerda, Rafael" userId="40181ff7-4694-4c53-a944-7b7d63582359" providerId="ADAL" clId="{3B4D5F63-EA56-4616-8A78-0C43AB7049E7}" dt="2025-12-08T12:48:52.011" v="29910" actId="478"/>
          <pc:sldLayoutMkLst>
            <pc:docMk/>
            <pc:sldMasterMk cId="2457110672" sldId="2147483709"/>
            <pc:sldLayoutMk cId="258747321" sldId="2147483863"/>
          </pc:sldLayoutMkLst>
          <pc:spChg chg="add del mod modVis">
            <ac:chgData name="Falcão Lacerda, Rafael" userId="40181ff7-4694-4c53-a944-7b7d63582359" providerId="ADAL" clId="{3B4D5F63-EA56-4616-8A78-0C43AB7049E7}" dt="2025-12-08T00:26:51.674" v="9887"/>
            <ac:spMkLst>
              <pc:docMk/>
              <pc:sldMasterMk cId="2457110672" sldId="2147483709"/>
              <pc:sldLayoutMk cId="258747321" sldId="2147483863"/>
              <ac:spMk id="2" creationId="{A49DB305-C73D-DC45-7BD2-F3A67EF2257E}"/>
            </ac:spMkLst>
          </pc:spChg>
          <pc:spChg chg="del mod">
            <ac:chgData name="Falcão Lacerda, Rafael" userId="40181ff7-4694-4c53-a944-7b7d63582359" providerId="ADAL" clId="{3B4D5F63-EA56-4616-8A78-0C43AB7049E7}" dt="2025-12-08T12:48:49.099" v="29909" actId="478"/>
            <ac:spMkLst>
              <pc:docMk/>
              <pc:sldMasterMk cId="2457110672" sldId="2147483709"/>
              <pc:sldLayoutMk cId="258747321" sldId="2147483863"/>
              <ac:spMk id="3" creationId="{717D1E3E-BD53-CBF3-62AF-19504EE818A5}"/>
            </ac:spMkLst>
          </pc:spChg>
          <pc:spChg chg="mod">
            <ac:chgData name="Falcão Lacerda, Rafael" userId="40181ff7-4694-4c53-a944-7b7d63582359" providerId="ADAL" clId="{3B4D5F63-EA56-4616-8A78-0C43AB7049E7}" dt="2025-12-08T00:26:34.972" v="3504"/>
            <ac:spMkLst>
              <pc:docMk/>
              <pc:sldMasterMk cId="2457110672" sldId="2147483709"/>
              <pc:sldLayoutMk cId="258747321" sldId="2147483863"/>
              <ac:spMk id="4" creationId="{E30B0B1B-B70F-0FD3-F9A3-B0EE6C801E7F}"/>
            </ac:spMkLst>
          </pc:spChg>
          <pc:spChg chg="mod">
            <ac:chgData name="Falcão Lacerda, Rafael" userId="40181ff7-4694-4c53-a944-7b7d63582359" providerId="ADAL" clId="{3B4D5F63-EA56-4616-8A78-0C43AB7049E7}" dt="2025-12-08T00:26:34.957" v="3502"/>
            <ac:spMkLst>
              <pc:docMk/>
              <pc:sldMasterMk cId="2457110672" sldId="2147483709"/>
              <pc:sldLayoutMk cId="258747321" sldId="2147483863"/>
              <ac:spMk id="5" creationId="{B4655C9C-EA3F-C392-C162-DB5AFB91842A}"/>
            </ac:spMkLst>
          </pc:spChg>
          <pc:spChg chg="del mod">
            <ac:chgData name="Falcão Lacerda, Rafael" userId="40181ff7-4694-4c53-a944-7b7d63582359" providerId="ADAL" clId="{3B4D5F63-EA56-4616-8A78-0C43AB7049E7}" dt="2025-12-08T12:48:52.011" v="29910" actId="478"/>
            <ac:spMkLst>
              <pc:docMk/>
              <pc:sldMasterMk cId="2457110672" sldId="2147483709"/>
              <pc:sldLayoutMk cId="258747321" sldId="2147483863"/>
              <ac:spMk id="6" creationId="{71CDECC6-DEE3-D5F7-A7C8-D4473D9F4F71}"/>
            </ac:spMkLst>
          </pc:spChg>
          <pc:spChg chg="mod">
            <ac:chgData name="Falcão Lacerda, Rafael" userId="40181ff7-4694-4c53-a944-7b7d63582359" providerId="ADAL" clId="{3B4D5F63-EA56-4616-8A78-0C43AB7049E7}" dt="2025-12-08T00:26:34.990" v="3510" actId="947"/>
            <ac:spMkLst>
              <pc:docMk/>
              <pc:sldMasterMk cId="2457110672" sldId="2147483709"/>
              <pc:sldLayoutMk cId="258747321" sldId="2147483863"/>
              <ac:spMk id="7" creationId="{829128A2-7647-DB1F-6198-C2A2C402A7BC}"/>
            </ac:spMkLst>
          </pc:spChg>
          <pc:spChg chg="mod">
            <ac:chgData name="Falcão Lacerda, Rafael" userId="40181ff7-4694-4c53-a944-7b7d63582359" providerId="ADAL" clId="{3B4D5F63-EA56-4616-8A78-0C43AB7049E7}" dt="2025-12-08T00:26:45.155" v="7372" actId="948"/>
            <ac:spMkLst>
              <pc:docMk/>
              <pc:sldMasterMk cId="2457110672" sldId="2147483709"/>
              <pc:sldLayoutMk cId="258747321" sldId="2147483863"/>
              <ac:spMk id="9" creationId="{EE89B75D-7DDF-ED09-FE69-8B56D6AED919}"/>
            </ac:spMkLst>
          </pc:spChg>
          <pc:graphicFrameChg chg="add mod ord modVis">
            <ac:chgData name="Falcão Lacerda, Rafael" userId="40181ff7-4694-4c53-a944-7b7d63582359" providerId="ADAL" clId="{3B4D5F63-EA56-4616-8A78-0C43AB7049E7}" dt="2025-12-08T00:26:51.710" v="9901"/>
            <ac:graphicFrameMkLst>
              <pc:docMk/>
              <pc:sldMasterMk cId="2457110672" sldId="2147483709"/>
              <pc:sldLayoutMk cId="258747321" sldId="2147483863"/>
              <ac:graphicFrameMk id="8" creationId="{E073F13A-9ACF-1CC7-AFF0-375E2D2ABC4E}"/>
            </ac:graphicFrameMkLst>
          </pc:graphicFrameChg>
        </pc:sldLayoutChg>
        <pc:sldLayoutChg chg="addSp delSp modSp mod">
          <pc:chgData name="Falcão Lacerda, Rafael" userId="40181ff7-4694-4c53-a944-7b7d63582359" providerId="ADAL" clId="{3B4D5F63-EA56-4616-8A78-0C43AB7049E7}" dt="2025-12-08T12:47:02.375" v="29883" actId="14100"/>
          <pc:sldLayoutMkLst>
            <pc:docMk/>
            <pc:sldMasterMk cId="2457110672" sldId="2147483709"/>
            <pc:sldLayoutMk cId="3951250807" sldId="2147483864"/>
          </pc:sldLayoutMkLst>
          <pc:spChg chg="add del mod modVis">
            <ac:chgData name="Falcão Lacerda, Rafael" userId="40181ff7-4694-4c53-a944-7b7d63582359" providerId="ADAL" clId="{3B4D5F63-EA56-4616-8A78-0C43AB7049E7}" dt="2025-12-08T00:26:49.622" v="9359"/>
            <ac:spMkLst>
              <pc:docMk/>
              <pc:sldMasterMk cId="2457110672" sldId="2147483709"/>
              <pc:sldLayoutMk cId="3951250807" sldId="2147483864"/>
              <ac:spMk id="2" creationId="{A85082BA-EB6A-6F93-2E52-806E2DD15665}"/>
            </ac:spMkLst>
          </pc:spChg>
          <pc:spChg chg="mod">
            <ac:chgData name="Falcão Lacerda, Rafael" userId="40181ff7-4694-4c53-a944-7b7d63582359" providerId="ADAL" clId="{3B4D5F63-EA56-4616-8A78-0C43AB7049E7}" dt="2025-12-08T00:26:32.217" v="2912" actId="947"/>
            <ac:spMkLst>
              <pc:docMk/>
              <pc:sldMasterMk cId="2457110672" sldId="2147483709"/>
              <pc:sldLayoutMk cId="3951250807" sldId="2147483864"/>
              <ac:spMk id="4" creationId="{7F75177E-60CD-488F-76CA-383DF4BA8EAB}"/>
            </ac:spMkLst>
          </pc:spChg>
          <pc:spChg chg="add mod">
            <ac:chgData name="Falcão Lacerda, Rafael" userId="40181ff7-4694-4c53-a944-7b7d63582359" providerId="ADAL" clId="{3B4D5F63-EA56-4616-8A78-0C43AB7049E7}" dt="2025-12-08T12:46:40.672" v="29876" actId="208"/>
            <ac:spMkLst>
              <pc:docMk/>
              <pc:sldMasterMk cId="2457110672" sldId="2147483709"/>
              <pc:sldLayoutMk cId="3951250807" sldId="2147483864"/>
              <ac:spMk id="5" creationId="{303D65E6-5BEA-7B07-3FCB-C3820D027043}"/>
            </ac:spMkLst>
          </pc:spChg>
          <pc:spChg chg="mod">
            <ac:chgData name="Falcão Lacerda, Rafael" userId="40181ff7-4694-4c53-a944-7b7d63582359" providerId="ADAL" clId="{3B4D5F63-EA56-4616-8A78-0C43AB7049E7}" dt="2025-12-08T00:26:43.310" v="6712" actId="948"/>
            <ac:spMkLst>
              <pc:docMk/>
              <pc:sldMasterMk cId="2457110672" sldId="2147483709"/>
              <pc:sldLayoutMk cId="3951250807" sldId="2147483864"/>
              <ac:spMk id="6" creationId="{198A5B9C-C3DA-AD99-4E28-C97B8A81C3CC}"/>
            </ac:spMkLst>
          </pc:spChg>
          <pc:spChg chg="add mod">
            <ac:chgData name="Falcão Lacerda, Rafael" userId="40181ff7-4694-4c53-a944-7b7d63582359" providerId="ADAL" clId="{3B4D5F63-EA56-4616-8A78-0C43AB7049E7}" dt="2025-12-08T12:47:02.375" v="29883" actId="14100"/>
            <ac:spMkLst>
              <pc:docMk/>
              <pc:sldMasterMk cId="2457110672" sldId="2147483709"/>
              <pc:sldLayoutMk cId="3951250807" sldId="2147483864"/>
              <ac:spMk id="7" creationId="{20C23B58-36A4-A3AB-A819-2E25BA1E48FE}"/>
            </ac:spMkLst>
          </pc:spChg>
          <pc:spChg chg="mod">
            <ac:chgData name="Falcão Lacerda, Rafael" userId="40181ff7-4694-4c53-a944-7b7d63582359" providerId="ADAL" clId="{3B4D5F63-EA56-4616-8A78-0C43AB7049E7}" dt="2025-12-08T00:26:32.201" v="2910"/>
            <ac:spMkLst>
              <pc:docMk/>
              <pc:sldMasterMk cId="2457110672" sldId="2147483709"/>
              <pc:sldLayoutMk cId="3951250807" sldId="2147483864"/>
              <ac:spMk id="17" creationId="{23D344E3-E54F-25F8-2F2F-980511EB6BDF}"/>
            </ac:spMkLst>
          </pc:spChg>
          <pc:graphicFrameChg chg="add mod ord modVis">
            <ac:chgData name="Falcão Lacerda, Rafael" userId="40181ff7-4694-4c53-a944-7b7d63582359" providerId="ADAL" clId="{3B4D5F63-EA56-4616-8A78-0C43AB7049E7}" dt="2025-12-08T00:26:49.667" v="9373"/>
            <ac:graphicFrameMkLst>
              <pc:docMk/>
              <pc:sldMasterMk cId="2457110672" sldId="2147483709"/>
              <pc:sldLayoutMk cId="3951250807" sldId="2147483864"/>
              <ac:graphicFrameMk id="3" creationId="{799435CA-E47D-84D5-9AA6-6D881A036448}"/>
            </ac:graphicFrameMkLst>
          </pc:graphicFrameChg>
        </pc:sldLayoutChg>
        <pc:sldLayoutChg chg="addSp delSp modSp mod">
          <pc:chgData name="Falcão Lacerda, Rafael" userId="40181ff7-4694-4c53-a944-7b7d63582359" providerId="ADAL" clId="{3B4D5F63-EA56-4616-8A78-0C43AB7049E7}" dt="2025-12-08T12:47:22.475" v="29885" actId="478"/>
          <pc:sldLayoutMkLst>
            <pc:docMk/>
            <pc:sldMasterMk cId="2457110672" sldId="2147483709"/>
            <pc:sldLayoutMk cId="3402908245" sldId="2147483865"/>
          </pc:sldLayoutMkLst>
          <pc:spChg chg="mod">
            <ac:chgData name="Falcão Lacerda, Rafael" userId="40181ff7-4694-4c53-a944-7b7d63582359" providerId="ADAL" clId="{3B4D5F63-EA56-4616-8A78-0C43AB7049E7}" dt="2025-12-08T00:26:31.996" v="2858"/>
            <ac:spMkLst>
              <pc:docMk/>
              <pc:sldMasterMk cId="2457110672" sldId="2147483709"/>
              <pc:sldLayoutMk cId="3402908245" sldId="2147483865"/>
              <ac:spMk id="2" creationId="{E013B68F-B365-32C6-C8B6-66516407E205}"/>
            </ac:spMkLst>
          </pc:spChg>
          <pc:spChg chg="add del mod modVis">
            <ac:chgData name="Falcão Lacerda, Rafael" userId="40181ff7-4694-4c53-a944-7b7d63582359" providerId="ADAL" clId="{3B4D5F63-EA56-4616-8A78-0C43AB7049E7}" dt="2025-12-08T00:26:49.325" v="9295"/>
            <ac:spMkLst>
              <pc:docMk/>
              <pc:sldMasterMk cId="2457110672" sldId="2147483709"/>
              <pc:sldLayoutMk cId="3402908245" sldId="2147483865"/>
              <ac:spMk id="3" creationId="{2BE9858A-D602-E823-19A7-65CD9C632BF6}"/>
            </ac:spMkLst>
          </pc:spChg>
          <pc:spChg chg="del mod">
            <ac:chgData name="Falcão Lacerda, Rafael" userId="40181ff7-4694-4c53-a944-7b7d63582359" providerId="ADAL" clId="{3B4D5F63-EA56-4616-8A78-0C43AB7049E7}" dt="2025-12-08T12:47:22.475" v="29885" actId="478"/>
            <ac:spMkLst>
              <pc:docMk/>
              <pc:sldMasterMk cId="2457110672" sldId="2147483709"/>
              <pc:sldLayoutMk cId="3402908245" sldId="2147483865"/>
              <ac:spMk id="4" creationId="{BDF14360-0E2D-7FE6-A174-E8EA0610C689}"/>
            </ac:spMkLst>
          </pc:spChg>
          <pc:spChg chg="mod">
            <ac:chgData name="Falcão Lacerda, Rafael" userId="40181ff7-4694-4c53-a944-7b7d63582359" providerId="ADAL" clId="{3B4D5F63-EA56-4616-8A78-0C43AB7049E7}" dt="2025-12-08T00:26:31.986" v="2856"/>
            <ac:spMkLst>
              <pc:docMk/>
              <pc:sldMasterMk cId="2457110672" sldId="2147483709"/>
              <pc:sldLayoutMk cId="3402908245" sldId="2147483865"/>
              <ac:spMk id="11" creationId="{0C3F8CBC-7C73-A273-514B-A95005E2DFE9}"/>
            </ac:spMkLst>
          </pc:spChg>
          <pc:spChg chg="mod">
            <ac:chgData name="Falcão Lacerda, Rafael" userId="40181ff7-4694-4c53-a944-7b7d63582359" providerId="ADAL" clId="{3B4D5F63-EA56-4616-8A78-0C43AB7049E7}" dt="2025-12-08T00:26:43.096" v="6632" actId="948"/>
            <ac:spMkLst>
              <pc:docMk/>
              <pc:sldMasterMk cId="2457110672" sldId="2147483709"/>
              <pc:sldLayoutMk cId="3402908245" sldId="2147483865"/>
              <ac:spMk id="12" creationId="{DB73B016-14F1-76F3-AF33-93292F228360}"/>
            </ac:spMkLst>
          </pc:spChg>
          <pc:graphicFrameChg chg="add mod ord modVis">
            <ac:chgData name="Falcão Lacerda, Rafael" userId="40181ff7-4694-4c53-a944-7b7d63582359" providerId="ADAL" clId="{3B4D5F63-EA56-4616-8A78-0C43AB7049E7}" dt="2025-12-08T00:26:49.393" v="9309"/>
            <ac:graphicFrameMkLst>
              <pc:docMk/>
              <pc:sldMasterMk cId="2457110672" sldId="2147483709"/>
              <pc:sldLayoutMk cId="3402908245" sldId="2147483865"/>
              <ac:graphicFrameMk id="5" creationId="{433B1B56-96D2-4A37-9928-25B9DD743D4E}"/>
            </ac:graphicFrameMkLst>
          </pc:graphicFrameChg>
        </pc:sldLayoutChg>
        <pc:sldLayoutChg chg="addSp delSp modSp mod">
          <pc:chgData name="Falcão Lacerda, Rafael" userId="40181ff7-4694-4c53-a944-7b7d63582359" providerId="ADAL" clId="{3B4D5F63-EA56-4616-8A78-0C43AB7049E7}" dt="2025-12-08T12:49:05.918" v="29913" actId="478"/>
          <pc:sldLayoutMkLst>
            <pc:docMk/>
            <pc:sldMasterMk cId="2457110672" sldId="2147483709"/>
            <pc:sldLayoutMk cId="770069188" sldId="2147483866"/>
          </pc:sldLayoutMkLst>
          <pc:spChg chg="mod">
            <ac:chgData name="Falcão Lacerda, Rafael" userId="40181ff7-4694-4c53-a944-7b7d63582359" providerId="ADAL" clId="{3B4D5F63-EA56-4616-8A78-0C43AB7049E7}" dt="2025-12-08T00:26:34.435" v="3390"/>
            <ac:spMkLst>
              <pc:docMk/>
              <pc:sldMasterMk cId="2457110672" sldId="2147483709"/>
              <pc:sldLayoutMk cId="770069188" sldId="2147483866"/>
              <ac:spMk id="2" creationId="{CEDE1E1C-A17A-6673-F251-3E95D2B9A949}"/>
            </ac:spMkLst>
          </pc:spChg>
          <pc:spChg chg="mod">
            <ac:chgData name="Falcão Lacerda, Rafael" userId="40181ff7-4694-4c53-a944-7b7d63582359" providerId="ADAL" clId="{3B4D5F63-EA56-4616-8A78-0C43AB7049E7}" dt="2025-12-08T00:26:34.435" v="3392"/>
            <ac:spMkLst>
              <pc:docMk/>
              <pc:sldMasterMk cId="2457110672" sldId="2147483709"/>
              <pc:sldLayoutMk cId="770069188" sldId="2147483866"/>
              <ac:spMk id="3" creationId="{EEB75AE2-2832-8C3E-9FFF-A5DFC859EF20}"/>
            </ac:spMkLst>
          </pc:spChg>
          <pc:spChg chg="mod">
            <ac:chgData name="Falcão Lacerda, Rafael" userId="40181ff7-4694-4c53-a944-7b7d63582359" providerId="ADAL" clId="{3B4D5F63-EA56-4616-8A78-0C43AB7049E7}" dt="2025-12-08T00:26:34.435" v="3394"/>
            <ac:spMkLst>
              <pc:docMk/>
              <pc:sldMasterMk cId="2457110672" sldId="2147483709"/>
              <pc:sldLayoutMk cId="770069188" sldId="2147483866"/>
              <ac:spMk id="4" creationId="{89767B47-D047-556C-4306-FDB23A31369B}"/>
            </ac:spMkLst>
          </pc:spChg>
          <pc:spChg chg="mod">
            <ac:chgData name="Falcão Lacerda, Rafael" userId="40181ff7-4694-4c53-a944-7b7d63582359" providerId="ADAL" clId="{3B4D5F63-EA56-4616-8A78-0C43AB7049E7}" dt="2025-12-08T00:26:34.450" v="3396"/>
            <ac:spMkLst>
              <pc:docMk/>
              <pc:sldMasterMk cId="2457110672" sldId="2147483709"/>
              <pc:sldLayoutMk cId="770069188" sldId="2147483866"/>
              <ac:spMk id="5" creationId="{5FA34033-541B-ACBB-7450-5B6532CB8D0A}"/>
            </ac:spMkLst>
          </pc:spChg>
          <pc:spChg chg="mod">
            <ac:chgData name="Falcão Lacerda, Rafael" userId="40181ff7-4694-4c53-a944-7b7d63582359" providerId="ADAL" clId="{3B4D5F63-EA56-4616-8A78-0C43AB7049E7}" dt="2025-12-08T00:26:34.450" v="3398"/>
            <ac:spMkLst>
              <pc:docMk/>
              <pc:sldMasterMk cId="2457110672" sldId="2147483709"/>
              <pc:sldLayoutMk cId="770069188" sldId="2147483866"/>
              <ac:spMk id="6" creationId="{08C7EC0A-DE98-38CE-AFC3-B90030BE5EDC}"/>
            </ac:spMkLst>
          </pc:spChg>
          <pc:spChg chg="mod">
            <ac:chgData name="Falcão Lacerda, Rafael" userId="40181ff7-4694-4c53-a944-7b7d63582359" providerId="ADAL" clId="{3B4D5F63-EA56-4616-8A78-0C43AB7049E7}" dt="2025-12-08T00:26:34.466" v="3400"/>
            <ac:spMkLst>
              <pc:docMk/>
              <pc:sldMasterMk cId="2457110672" sldId="2147483709"/>
              <pc:sldLayoutMk cId="770069188" sldId="2147483866"/>
              <ac:spMk id="7" creationId="{B90A955C-7D16-1E89-F214-1FE4ABD4D8DF}"/>
            </ac:spMkLst>
          </pc:spChg>
          <pc:spChg chg="mod">
            <ac:chgData name="Falcão Lacerda, Rafael" userId="40181ff7-4694-4c53-a944-7b7d63582359" providerId="ADAL" clId="{3B4D5F63-EA56-4616-8A78-0C43AB7049E7}" dt="2025-12-08T00:26:34.467" v="3402"/>
            <ac:spMkLst>
              <pc:docMk/>
              <pc:sldMasterMk cId="2457110672" sldId="2147483709"/>
              <pc:sldLayoutMk cId="770069188" sldId="2147483866"/>
              <ac:spMk id="8" creationId="{E2562963-2880-9DF0-CBA4-3B8CB37B8C6B}"/>
            </ac:spMkLst>
          </pc:spChg>
          <pc:spChg chg="mod">
            <ac:chgData name="Falcão Lacerda, Rafael" userId="40181ff7-4694-4c53-a944-7b7d63582359" providerId="ADAL" clId="{3B4D5F63-EA56-4616-8A78-0C43AB7049E7}" dt="2025-12-08T00:26:34.467" v="3404"/>
            <ac:spMkLst>
              <pc:docMk/>
              <pc:sldMasterMk cId="2457110672" sldId="2147483709"/>
              <pc:sldLayoutMk cId="770069188" sldId="2147483866"/>
              <ac:spMk id="9" creationId="{661BD90B-C753-B163-80B8-1E78E44062C3}"/>
            </ac:spMkLst>
          </pc:spChg>
          <pc:spChg chg="mod">
            <ac:chgData name="Falcão Lacerda, Rafael" userId="40181ff7-4694-4c53-a944-7b7d63582359" providerId="ADAL" clId="{3B4D5F63-EA56-4616-8A78-0C43AB7049E7}" dt="2025-12-08T00:26:34.323" v="3372"/>
            <ac:spMkLst>
              <pc:docMk/>
              <pc:sldMasterMk cId="2457110672" sldId="2147483709"/>
              <pc:sldLayoutMk cId="770069188" sldId="2147483866"/>
              <ac:spMk id="10" creationId="{2A02CBC2-D34A-FE3B-A3F7-4E4A194F2668}"/>
            </ac:spMkLst>
          </pc:spChg>
          <pc:spChg chg="del mod">
            <ac:chgData name="Falcão Lacerda, Rafael" userId="40181ff7-4694-4c53-a944-7b7d63582359" providerId="ADAL" clId="{3B4D5F63-EA56-4616-8A78-0C43AB7049E7}" dt="2025-12-08T12:49:05.918" v="29913" actId="478"/>
            <ac:spMkLst>
              <pc:docMk/>
              <pc:sldMasterMk cId="2457110672" sldId="2147483709"/>
              <pc:sldLayoutMk cId="770069188" sldId="2147483866"/>
              <ac:spMk id="11" creationId="{B69C02E9-D221-652D-E7A0-F40E48E0A738}"/>
            </ac:spMkLst>
          </pc:spChg>
          <pc:spChg chg="add del mod modVis">
            <ac:chgData name="Falcão Lacerda, Rafael" userId="40181ff7-4694-4c53-a944-7b7d63582359" providerId="ADAL" clId="{3B4D5F63-EA56-4616-8A78-0C43AB7049E7}" dt="2025-12-08T00:26:51.430" v="9823"/>
            <ac:spMkLst>
              <pc:docMk/>
              <pc:sldMasterMk cId="2457110672" sldId="2147483709"/>
              <pc:sldLayoutMk cId="770069188" sldId="2147483866"/>
              <ac:spMk id="12" creationId="{DFAE2E8A-AD63-4138-2D05-ADD503966A7F}"/>
            </ac:spMkLst>
          </pc:spChg>
          <pc:spChg chg="mod">
            <ac:chgData name="Falcão Lacerda, Rafael" userId="40181ff7-4694-4c53-a944-7b7d63582359" providerId="ADAL" clId="{3B4D5F63-EA56-4616-8A78-0C43AB7049E7}" dt="2025-12-08T00:26:44.934" v="7292" actId="948"/>
            <ac:spMkLst>
              <pc:docMk/>
              <pc:sldMasterMk cId="2457110672" sldId="2147483709"/>
              <pc:sldLayoutMk cId="770069188" sldId="2147483866"/>
              <ac:spMk id="58" creationId="{AF158A12-E108-974D-4A28-D2DDBC9F2451}"/>
            </ac:spMkLst>
          </pc:spChg>
          <pc:spChg chg="mod">
            <ac:chgData name="Falcão Lacerda, Rafael" userId="40181ff7-4694-4c53-a944-7b7d63582359" providerId="ADAL" clId="{3B4D5F63-EA56-4616-8A78-0C43AB7049E7}" dt="2025-12-08T00:26:34.323" v="3374"/>
            <ac:spMkLst>
              <pc:docMk/>
              <pc:sldMasterMk cId="2457110672" sldId="2147483709"/>
              <pc:sldLayoutMk cId="770069188" sldId="2147483866"/>
              <ac:spMk id="59" creationId="{D9BDCE52-89A2-2B74-090A-1C2EF4190943}"/>
            </ac:spMkLst>
          </pc:spChg>
          <pc:spChg chg="mod">
            <ac:chgData name="Falcão Lacerda, Rafael" userId="40181ff7-4694-4c53-a944-7b7d63582359" providerId="ADAL" clId="{3B4D5F63-EA56-4616-8A78-0C43AB7049E7}" dt="2025-12-08T00:26:34.339" v="3376"/>
            <ac:spMkLst>
              <pc:docMk/>
              <pc:sldMasterMk cId="2457110672" sldId="2147483709"/>
              <pc:sldLayoutMk cId="770069188" sldId="2147483866"/>
              <ac:spMk id="60" creationId="{719A3D27-6186-F931-9BF2-812767B56DF4}"/>
            </ac:spMkLst>
          </pc:spChg>
          <pc:spChg chg="mod">
            <ac:chgData name="Falcão Lacerda, Rafael" userId="40181ff7-4694-4c53-a944-7b7d63582359" providerId="ADAL" clId="{3B4D5F63-EA56-4616-8A78-0C43AB7049E7}" dt="2025-12-08T00:26:34.355" v="3378"/>
            <ac:spMkLst>
              <pc:docMk/>
              <pc:sldMasterMk cId="2457110672" sldId="2147483709"/>
              <pc:sldLayoutMk cId="770069188" sldId="2147483866"/>
              <ac:spMk id="61" creationId="{221FD96F-56ED-3F4E-D5EC-ECE899136886}"/>
            </ac:spMkLst>
          </pc:spChg>
          <pc:spChg chg="mod">
            <ac:chgData name="Falcão Lacerda, Rafael" userId="40181ff7-4694-4c53-a944-7b7d63582359" providerId="ADAL" clId="{3B4D5F63-EA56-4616-8A78-0C43AB7049E7}" dt="2025-12-08T00:26:34.374" v="3380"/>
            <ac:spMkLst>
              <pc:docMk/>
              <pc:sldMasterMk cId="2457110672" sldId="2147483709"/>
              <pc:sldLayoutMk cId="770069188" sldId="2147483866"/>
              <ac:spMk id="62" creationId="{BE2DD9EE-FBA3-C33C-873A-4515866F5D79}"/>
            </ac:spMkLst>
          </pc:spChg>
          <pc:spChg chg="mod">
            <ac:chgData name="Falcão Lacerda, Rafael" userId="40181ff7-4694-4c53-a944-7b7d63582359" providerId="ADAL" clId="{3B4D5F63-EA56-4616-8A78-0C43AB7049E7}" dt="2025-12-08T00:26:34.387" v="3382"/>
            <ac:spMkLst>
              <pc:docMk/>
              <pc:sldMasterMk cId="2457110672" sldId="2147483709"/>
              <pc:sldLayoutMk cId="770069188" sldId="2147483866"/>
              <ac:spMk id="67" creationId="{B77582B8-1D1F-CACA-D550-1CD5A949EEA4}"/>
            </ac:spMkLst>
          </pc:spChg>
          <pc:spChg chg="mod">
            <ac:chgData name="Falcão Lacerda, Rafael" userId="40181ff7-4694-4c53-a944-7b7d63582359" providerId="ADAL" clId="{3B4D5F63-EA56-4616-8A78-0C43AB7049E7}" dt="2025-12-08T00:26:34.390" v="3384"/>
            <ac:spMkLst>
              <pc:docMk/>
              <pc:sldMasterMk cId="2457110672" sldId="2147483709"/>
              <pc:sldLayoutMk cId="770069188" sldId="2147483866"/>
              <ac:spMk id="68" creationId="{17E0A0A0-43CE-5971-7C1E-E8F5AFA224E0}"/>
            </ac:spMkLst>
          </pc:spChg>
          <pc:spChg chg="mod">
            <ac:chgData name="Falcão Lacerda, Rafael" userId="40181ff7-4694-4c53-a944-7b7d63582359" providerId="ADAL" clId="{3B4D5F63-EA56-4616-8A78-0C43AB7049E7}" dt="2025-12-08T00:26:34.403" v="3386"/>
            <ac:spMkLst>
              <pc:docMk/>
              <pc:sldMasterMk cId="2457110672" sldId="2147483709"/>
              <pc:sldLayoutMk cId="770069188" sldId="2147483866"/>
              <ac:spMk id="69" creationId="{40572D3B-08EC-27FB-6A1E-C67DB00074BA}"/>
            </ac:spMkLst>
          </pc:spChg>
          <pc:spChg chg="mod">
            <ac:chgData name="Falcão Lacerda, Rafael" userId="40181ff7-4694-4c53-a944-7b7d63582359" providerId="ADAL" clId="{3B4D5F63-EA56-4616-8A78-0C43AB7049E7}" dt="2025-12-08T00:26:34.425" v="3388"/>
            <ac:spMkLst>
              <pc:docMk/>
              <pc:sldMasterMk cId="2457110672" sldId="2147483709"/>
              <pc:sldLayoutMk cId="770069188" sldId="2147483866"/>
              <ac:spMk id="70" creationId="{D5EF76A9-F22D-ED1F-C0F0-815EF85BAB71}"/>
            </ac:spMkLst>
          </pc:spChg>
          <pc:graphicFrameChg chg="add mod ord modVis">
            <ac:chgData name="Falcão Lacerda, Rafael" userId="40181ff7-4694-4c53-a944-7b7d63582359" providerId="ADAL" clId="{3B4D5F63-EA56-4616-8A78-0C43AB7049E7}" dt="2025-12-08T00:26:51.465" v="9837"/>
            <ac:graphicFrameMkLst>
              <pc:docMk/>
              <pc:sldMasterMk cId="2457110672" sldId="2147483709"/>
              <pc:sldLayoutMk cId="770069188" sldId="2147483866"/>
              <ac:graphicFrameMk id="13" creationId="{DEC8A322-0DC5-4F98-CFEB-6CCCC5D99F33}"/>
            </ac:graphicFrameMkLst>
          </pc:graphicFrameChg>
        </pc:sldLayoutChg>
        <pc:sldLayoutChg chg="addSp delSp modSp mod">
          <pc:chgData name="Falcão Lacerda, Rafael" userId="40181ff7-4694-4c53-a944-7b7d63582359" providerId="ADAL" clId="{3B4D5F63-EA56-4616-8A78-0C43AB7049E7}" dt="2025-12-08T12:50:47.062" v="29937" actId="478"/>
          <pc:sldLayoutMkLst>
            <pc:docMk/>
            <pc:sldMasterMk cId="2457110672" sldId="2147483709"/>
            <pc:sldLayoutMk cId="3999418117" sldId="2147483867"/>
          </pc:sldLayoutMkLst>
          <pc:spChg chg="add del mod modVis">
            <ac:chgData name="Falcão Lacerda, Rafael" userId="40181ff7-4694-4c53-a944-7b7d63582359" providerId="ADAL" clId="{3B4D5F63-EA56-4616-8A78-0C43AB7049E7}" dt="2025-12-08T00:26:49.202" v="9263"/>
            <ac:spMkLst>
              <pc:docMk/>
              <pc:sldMasterMk cId="2457110672" sldId="2147483709"/>
              <pc:sldLayoutMk cId="3999418117" sldId="2147483867"/>
              <ac:spMk id="2" creationId="{D005DC8F-25AA-9C53-0045-5144BA35155E}"/>
            </ac:spMkLst>
          </pc:spChg>
          <pc:spChg chg="add del mod">
            <ac:chgData name="Falcão Lacerda, Rafael" userId="40181ff7-4694-4c53-a944-7b7d63582359" providerId="ADAL" clId="{3B4D5F63-EA56-4616-8A78-0C43AB7049E7}" dt="2025-12-08T12:50:44.723" v="29935" actId="478"/>
            <ac:spMkLst>
              <pc:docMk/>
              <pc:sldMasterMk cId="2457110672" sldId="2147483709"/>
              <pc:sldLayoutMk cId="3999418117" sldId="2147483867"/>
              <ac:spMk id="4" creationId="{EB540421-15EB-5347-0A49-15B852114618}"/>
            </ac:spMkLst>
          </pc:spChg>
          <pc:spChg chg="del mod">
            <ac:chgData name="Falcão Lacerda, Rafael" userId="40181ff7-4694-4c53-a944-7b7d63582359" providerId="ADAL" clId="{3B4D5F63-EA56-4616-8A78-0C43AB7049E7}" dt="2025-12-08T12:50:45.409" v="29936" actId="478"/>
            <ac:spMkLst>
              <pc:docMk/>
              <pc:sldMasterMk cId="2457110672" sldId="2147483709"/>
              <pc:sldLayoutMk cId="3999418117" sldId="2147483867"/>
              <ac:spMk id="5" creationId="{5B94EC14-19BD-4059-DC76-FAB415316C6A}"/>
            </ac:spMkLst>
          </pc:spChg>
          <pc:spChg chg="add del mod">
            <ac:chgData name="Falcão Lacerda, Rafael" userId="40181ff7-4694-4c53-a944-7b7d63582359" providerId="ADAL" clId="{3B4D5F63-EA56-4616-8A78-0C43AB7049E7}" dt="2025-12-08T12:50:47.062" v="29937" actId="478"/>
            <ac:spMkLst>
              <pc:docMk/>
              <pc:sldMasterMk cId="2457110672" sldId="2147483709"/>
              <pc:sldLayoutMk cId="3999418117" sldId="2147483867"/>
              <ac:spMk id="6" creationId="{6FF45D3C-5D7B-FBB2-AC56-0CC8F76DF07E}"/>
            </ac:spMkLst>
          </pc:spChg>
          <pc:spChg chg="mod">
            <ac:chgData name="Falcão Lacerda, Rafael" userId="40181ff7-4694-4c53-a944-7b7d63582359" providerId="ADAL" clId="{3B4D5F63-EA56-4616-8A78-0C43AB7049E7}" dt="2025-12-08T00:26:42.983" v="6592" actId="948"/>
            <ac:spMkLst>
              <pc:docMk/>
              <pc:sldMasterMk cId="2457110672" sldId="2147483709"/>
              <pc:sldLayoutMk cId="3999418117" sldId="2147483867"/>
              <ac:spMk id="7" creationId="{A7088337-B770-9033-B18E-F20E290B6743}"/>
            </ac:spMkLst>
          </pc:spChg>
          <pc:graphicFrameChg chg="add mod ord modVis">
            <ac:chgData name="Falcão Lacerda, Rafael" userId="40181ff7-4694-4c53-a944-7b7d63582359" providerId="ADAL" clId="{3B4D5F63-EA56-4616-8A78-0C43AB7049E7}" dt="2025-12-08T00:26:49.265" v="9277"/>
            <ac:graphicFrameMkLst>
              <pc:docMk/>
              <pc:sldMasterMk cId="2457110672" sldId="2147483709"/>
              <pc:sldLayoutMk cId="3999418117" sldId="2147483867"/>
              <ac:graphicFrameMk id="3" creationId="{85010469-B6FB-96D3-1B55-21482385ADCC}"/>
            </ac:graphicFrameMkLst>
          </pc:graphicFrameChg>
        </pc:sldLayoutChg>
        <pc:sldLayoutChg chg="addSp delSp modSp mod">
          <pc:chgData name="Falcão Lacerda, Rafael" userId="40181ff7-4694-4c53-a944-7b7d63582359" providerId="ADAL" clId="{3B4D5F63-EA56-4616-8A78-0C43AB7049E7}" dt="2025-12-08T12:47:33.522" v="29887" actId="478"/>
          <pc:sldLayoutMkLst>
            <pc:docMk/>
            <pc:sldMasterMk cId="2457110672" sldId="2147483709"/>
            <pc:sldLayoutMk cId="3392396099" sldId="2147483868"/>
          </pc:sldLayoutMkLst>
          <pc:spChg chg="mod">
            <ac:chgData name="Falcão Lacerda, Rafael" userId="40181ff7-4694-4c53-a944-7b7d63582359" providerId="ADAL" clId="{3B4D5F63-EA56-4616-8A78-0C43AB7049E7}" dt="2025-12-08T00:26:32.872" v="3070" actId="947"/>
            <ac:spMkLst>
              <pc:docMk/>
              <pc:sldMasterMk cId="2457110672" sldId="2147483709"/>
              <pc:sldLayoutMk cId="3392396099" sldId="2147483868"/>
              <ac:spMk id="2" creationId="{7CADDCEF-8841-4D73-EAEB-25E159BD364A}"/>
            </ac:spMkLst>
          </pc:spChg>
          <pc:spChg chg="del mod">
            <ac:chgData name="Falcão Lacerda, Rafael" userId="40181ff7-4694-4c53-a944-7b7d63582359" providerId="ADAL" clId="{3B4D5F63-EA56-4616-8A78-0C43AB7049E7}" dt="2025-12-08T12:47:33.522" v="29887" actId="478"/>
            <ac:spMkLst>
              <pc:docMk/>
              <pc:sldMasterMk cId="2457110672" sldId="2147483709"/>
              <pc:sldLayoutMk cId="3392396099" sldId="2147483868"/>
              <ac:spMk id="3" creationId="{1BFF566D-EEFC-0454-54B0-66CBAB8DA700}"/>
            </ac:spMkLst>
          </pc:spChg>
          <pc:spChg chg="add del mod modVis">
            <ac:chgData name="Falcão Lacerda, Rafael" userId="40181ff7-4694-4c53-a944-7b7d63582359" providerId="ADAL" clId="{3B4D5F63-EA56-4616-8A78-0C43AB7049E7}" dt="2025-12-08T00:26:50.263" v="9535"/>
            <ac:spMkLst>
              <pc:docMk/>
              <pc:sldMasterMk cId="2457110672" sldId="2147483709"/>
              <pc:sldLayoutMk cId="3392396099" sldId="2147483868"/>
              <ac:spMk id="4" creationId="{8C64C0C4-AA37-C57D-CA38-249736C91CCA}"/>
            </ac:spMkLst>
          </pc:spChg>
          <pc:spChg chg="mod">
            <ac:chgData name="Falcão Lacerda, Rafael" userId="40181ff7-4694-4c53-a944-7b7d63582359" providerId="ADAL" clId="{3B4D5F63-EA56-4616-8A78-0C43AB7049E7}" dt="2025-12-08T00:26:43.881" v="6932" actId="948"/>
            <ac:spMkLst>
              <pc:docMk/>
              <pc:sldMasterMk cId="2457110672" sldId="2147483709"/>
              <pc:sldLayoutMk cId="3392396099" sldId="2147483868"/>
              <ac:spMk id="6" creationId="{9596D82E-71B7-FF51-B8E9-B259B21B69EB}"/>
            </ac:spMkLst>
          </pc:spChg>
          <pc:spChg chg="mod">
            <ac:chgData name="Falcão Lacerda, Rafael" userId="40181ff7-4694-4c53-a944-7b7d63582359" providerId="ADAL" clId="{3B4D5F63-EA56-4616-8A78-0C43AB7049E7}" dt="2025-12-08T00:26:32.915" v="3084" actId="947"/>
            <ac:spMkLst>
              <pc:docMk/>
              <pc:sldMasterMk cId="2457110672" sldId="2147483709"/>
              <pc:sldLayoutMk cId="3392396099" sldId="2147483868"/>
              <ac:spMk id="7" creationId="{B0F19C31-6554-B271-0340-EE09C970123A}"/>
            </ac:spMkLst>
          </pc:spChg>
          <pc:spChg chg="mod">
            <ac:chgData name="Falcão Lacerda, Rafael" userId="40181ff7-4694-4c53-a944-7b7d63582359" providerId="ADAL" clId="{3B4D5F63-EA56-4616-8A78-0C43AB7049E7}" dt="2025-12-08T00:26:32.888" v="3074"/>
            <ac:spMkLst>
              <pc:docMk/>
              <pc:sldMasterMk cId="2457110672" sldId="2147483709"/>
              <pc:sldLayoutMk cId="3392396099" sldId="2147483868"/>
              <ac:spMk id="15" creationId="{3269863B-5234-38BF-0D34-E538ACE4EA2B}"/>
            </ac:spMkLst>
          </pc:spChg>
          <pc:spChg chg="mod">
            <ac:chgData name="Falcão Lacerda, Rafael" userId="40181ff7-4694-4c53-a944-7b7d63582359" providerId="ADAL" clId="{3B4D5F63-EA56-4616-8A78-0C43AB7049E7}" dt="2025-12-08T00:26:32.899" v="3076"/>
            <ac:spMkLst>
              <pc:docMk/>
              <pc:sldMasterMk cId="2457110672" sldId="2147483709"/>
              <pc:sldLayoutMk cId="3392396099" sldId="2147483868"/>
              <ac:spMk id="16" creationId="{FAAE1576-C1B9-0E2B-83B0-F7C54B8589E8}"/>
            </ac:spMkLst>
          </pc:spChg>
          <pc:spChg chg="mod">
            <ac:chgData name="Falcão Lacerda, Rafael" userId="40181ff7-4694-4c53-a944-7b7d63582359" providerId="ADAL" clId="{3B4D5F63-EA56-4616-8A78-0C43AB7049E7}" dt="2025-12-08T00:26:32.899" v="3078"/>
            <ac:spMkLst>
              <pc:docMk/>
              <pc:sldMasterMk cId="2457110672" sldId="2147483709"/>
              <pc:sldLayoutMk cId="3392396099" sldId="2147483868"/>
              <ac:spMk id="17" creationId="{8ED52606-50DB-73E6-95EA-D88B274B22CD}"/>
            </ac:spMkLst>
          </pc:spChg>
          <pc:spChg chg="mod">
            <ac:chgData name="Falcão Lacerda, Rafael" userId="40181ff7-4694-4c53-a944-7b7d63582359" providerId="ADAL" clId="{3B4D5F63-EA56-4616-8A78-0C43AB7049E7}" dt="2025-12-08T00:26:32.899" v="3080"/>
            <ac:spMkLst>
              <pc:docMk/>
              <pc:sldMasterMk cId="2457110672" sldId="2147483709"/>
              <pc:sldLayoutMk cId="3392396099" sldId="2147483868"/>
              <ac:spMk id="18" creationId="{AA248D68-4226-2C8B-DAF1-EBBE3A60A940}"/>
            </ac:spMkLst>
          </pc:spChg>
          <pc:graphicFrameChg chg="add mod ord modVis">
            <ac:chgData name="Falcão Lacerda, Rafael" userId="40181ff7-4694-4c53-a944-7b7d63582359" providerId="ADAL" clId="{3B4D5F63-EA56-4616-8A78-0C43AB7049E7}" dt="2025-12-08T00:26:50.317" v="9549"/>
            <ac:graphicFrameMkLst>
              <pc:docMk/>
              <pc:sldMasterMk cId="2457110672" sldId="2147483709"/>
              <pc:sldLayoutMk cId="3392396099" sldId="2147483868"/>
              <ac:graphicFrameMk id="5" creationId="{E8A4C137-4394-29E9-EA18-FC5446E67F45}"/>
            </ac:graphicFrameMkLst>
          </pc:graphicFrameChg>
        </pc:sldLayoutChg>
        <pc:sldLayoutChg chg="addSp delSp modSp mod">
          <pc:chgData name="Falcão Lacerda, Rafael" userId="40181ff7-4694-4c53-a944-7b7d63582359" providerId="ADAL" clId="{3B4D5F63-EA56-4616-8A78-0C43AB7049E7}" dt="2025-12-08T12:47:40.446" v="29890" actId="478"/>
          <pc:sldLayoutMkLst>
            <pc:docMk/>
            <pc:sldMasterMk cId="2457110672" sldId="2147483709"/>
            <pc:sldLayoutMk cId="1281824958" sldId="2147483869"/>
          </pc:sldLayoutMkLst>
          <pc:spChg chg="add del mod">
            <ac:chgData name="Falcão Lacerda, Rafael" userId="40181ff7-4694-4c53-a944-7b7d63582359" providerId="ADAL" clId="{3B4D5F63-EA56-4616-8A78-0C43AB7049E7}" dt="2025-12-08T12:47:38.195" v="29889" actId="478"/>
            <ac:spMkLst>
              <pc:docMk/>
              <pc:sldMasterMk cId="2457110672" sldId="2147483709"/>
              <pc:sldLayoutMk cId="1281824958" sldId="2147483869"/>
              <ac:spMk id="2" creationId="{7CADDCEF-8841-4D73-EAEB-25E159BD364A}"/>
            </ac:spMkLst>
          </pc:spChg>
          <pc:spChg chg="mod">
            <ac:chgData name="Falcão Lacerda, Rafael" userId="40181ff7-4694-4c53-a944-7b7d63582359" providerId="ADAL" clId="{3B4D5F63-EA56-4616-8A78-0C43AB7049E7}" dt="2025-12-08T00:26:32.518" v="2984"/>
            <ac:spMkLst>
              <pc:docMk/>
              <pc:sldMasterMk cId="2457110672" sldId="2147483709"/>
              <pc:sldLayoutMk cId="1281824958" sldId="2147483869"/>
              <ac:spMk id="3" creationId="{48660C5F-04AB-D437-8D1D-398DD42B6654}"/>
            </ac:spMkLst>
          </pc:spChg>
          <pc:spChg chg="add del mod modVis">
            <ac:chgData name="Falcão Lacerda, Rafael" userId="40181ff7-4694-4c53-a944-7b7d63582359" providerId="ADAL" clId="{3B4D5F63-EA56-4616-8A78-0C43AB7049E7}" dt="2025-12-08T00:26:49.889" v="9439"/>
            <ac:spMkLst>
              <pc:docMk/>
              <pc:sldMasterMk cId="2457110672" sldId="2147483709"/>
              <pc:sldLayoutMk cId="1281824958" sldId="2147483869"/>
              <ac:spMk id="4" creationId="{D9423644-3F54-9CB8-F66D-2479088FCF4A}"/>
            </ac:spMkLst>
          </pc:spChg>
          <pc:spChg chg="del mod">
            <ac:chgData name="Falcão Lacerda, Rafael" userId="40181ff7-4694-4c53-a944-7b7d63582359" providerId="ADAL" clId="{3B4D5F63-EA56-4616-8A78-0C43AB7049E7}" dt="2025-12-08T12:47:40.446" v="29890" actId="478"/>
            <ac:spMkLst>
              <pc:docMk/>
              <pc:sldMasterMk cId="2457110672" sldId="2147483709"/>
              <pc:sldLayoutMk cId="1281824958" sldId="2147483869"/>
              <ac:spMk id="6" creationId="{C773503D-16B0-06FF-353B-F4C73BE165A6}"/>
            </ac:spMkLst>
          </pc:spChg>
          <pc:spChg chg="mod">
            <ac:chgData name="Falcão Lacerda, Rafael" userId="40181ff7-4694-4c53-a944-7b7d63582359" providerId="ADAL" clId="{3B4D5F63-EA56-4616-8A78-0C43AB7049E7}" dt="2025-12-08T00:26:32.502" v="2978"/>
            <ac:spMkLst>
              <pc:docMk/>
              <pc:sldMasterMk cId="2457110672" sldId="2147483709"/>
              <pc:sldLayoutMk cId="1281824958" sldId="2147483869"/>
              <ac:spMk id="7" creationId="{9917C584-C28F-B584-7B0F-55FA025AE20A}"/>
            </ac:spMkLst>
          </pc:spChg>
          <pc:spChg chg="mod">
            <ac:chgData name="Falcão Lacerda, Rafael" userId="40181ff7-4694-4c53-a944-7b7d63582359" providerId="ADAL" clId="{3B4D5F63-EA56-4616-8A78-0C43AB7049E7}" dt="2025-12-08T00:26:43.528" v="6812" actId="948"/>
            <ac:spMkLst>
              <pc:docMk/>
              <pc:sldMasterMk cId="2457110672" sldId="2147483709"/>
              <pc:sldLayoutMk cId="1281824958" sldId="2147483869"/>
              <ac:spMk id="8" creationId="{5D3D732C-3732-CD02-EAC3-668BD05D5AF0}"/>
            </ac:spMkLst>
          </pc:spChg>
          <pc:spChg chg="mod">
            <ac:chgData name="Falcão Lacerda, Rafael" userId="40181ff7-4694-4c53-a944-7b7d63582359" providerId="ADAL" clId="{3B4D5F63-EA56-4616-8A78-0C43AB7049E7}" dt="2025-12-08T00:26:32.518" v="2986"/>
            <ac:spMkLst>
              <pc:docMk/>
              <pc:sldMasterMk cId="2457110672" sldId="2147483709"/>
              <pc:sldLayoutMk cId="1281824958" sldId="2147483869"/>
              <ac:spMk id="9" creationId="{87445057-4F7B-3130-60F5-D78783A22201}"/>
            </ac:spMkLst>
          </pc:spChg>
          <pc:spChg chg="mod">
            <ac:chgData name="Falcão Lacerda, Rafael" userId="40181ff7-4694-4c53-a944-7b7d63582359" providerId="ADAL" clId="{3B4D5F63-EA56-4616-8A78-0C43AB7049E7}" dt="2025-12-08T00:26:32.518" v="2988"/>
            <ac:spMkLst>
              <pc:docMk/>
              <pc:sldMasterMk cId="2457110672" sldId="2147483709"/>
              <pc:sldLayoutMk cId="1281824958" sldId="2147483869"/>
              <ac:spMk id="10" creationId="{7153D109-A742-E656-63F7-1203E6EBAA15}"/>
            </ac:spMkLst>
          </pc:spChg>
          <pc:spChg chg="mod">
            <ac:chgData name="Falcão Lacerda, Rafael" userId="40181ff7-4694-4c53-a944-7b7d63582359" providerId="ADAL" clId="{3B4D5F63-EA56-4616-8A78-0C43AB7049E7}" dt="2025-12-08T00:26:32.549" v="2992" actId="947"/>
            <ac:spMkLst>
              <pc:docMk/>
              <pc:sldMasterMk cId="2457110672" sldId="2147483709"/>
              <pc:sldLayoutMk cId="1281824958" sldId="2147483869"/>
              <ac:spMk id="11" creationId="{922D4837-A73E-8289-1E8F-AD0D5C3080D2}"/>
            </ac:spMkLst>
          </pc:spChg>
          <pc:graphicFrameChg chg="add mod ord modVis">
            <ac:chgData name="Falcão Lacerda, Rafael" userId="40181ff7-4694-4c53-a944-7b7d63582359" providerId="ADAL" clId="{3B4D5F63-EA56-4616-8A78-0C43AB7049E7}" dt="2025-12-08T00:26:49.938" v="9453"/>
            <ac:graphicFrameMkLst>
              <pc:docMk/>
              <pc:sldMasterMk cId="2457110672" sldId="2147483709"/>
              <pc:sldLayoutMk cId="1281824958" sldId="2147483869"/>
              <ac:graphicFrameMk id="5" creationId="{D9C70982-65B0-A9F8-EBA9-30F8C1C5FCA0}"/>
            </ac:graphicFrameMkLst>
          </pc:graphicFrameChg>
        </pc:sldLayoutChg>
        <pc:sldLayoutChg chg="addSp delSp modSp mod">
          <pc:chgData name="Falcão Lacerda, Rafael" userId="40181ff7-4694-4c53-a944-7b7d63582359" providerId="ADAL" clId="{3B4D5F63-EA56-4616-8A78-0C43AB7049E7}" dt="2025-12-08T00:26:49.202" v="9261"/>
          <pc:sldLayoutMkLst>
            <pc:docMk/>
            <pc:sldMasterMk cId="2457110672" sldId="2147483709"/>
            <pc:sldLayoutMk cId="3418561198" sldId="2147483871"/>
          </pc:sldLayoutMkLst>
          <pc:spChg chg="add del mod modVis">
            <ac:chgData name="Falcão Lacerda, Rafael" userId="40181ff7-4694-4c53-a944-7b7d63582359" providerId="ADAL" clId="{3B4D5F63-EA56-4616-8A78-0C43AB7049E7}" dt="2025-12-08T00:26:49.136" v="9247"/>
            <ac:spMkLst>
              <pc:docMk/>
              <pc:sldMasterMk cId="2457110672" sldId="2147483709"/>
              <pc:sldLayoutMk cId="3418561198" sldId="2147483871"/>
              <ac:spMk id="2" creationId="{724A883F-795D-9E22-B8D6-BDDE55FD5E11}"/>
            </ac:spMkLst>
          </pc:spChg>
          <pc:spChg chg="mod">
            <ac:chgData name="Falcão Lacerda, Rafael" userId="40181ff7-4694-4c53-a944-7b7d63582359" providerId="ADAL" clId="{3B4D5F63-EA56-4616-8A78-0C43AB7049E7}" dt="2025-12-08T00:26:31.886" v="2832"/>
            <ac:spMkLst>
              <pc:docMk/>
              <pc:sldMasterMk cId="2457110672" sldId="2147483709"/>
              <pc:sldLayoutMk cId="3418561198" sldId="2147483871"/>
              <ac:spMk id="3" creationId="{6EE563D9-F425-062E-85B6-BFD1ECBB98D3}"/>
            </ac:spMkLst>
          </pc:spChg>
          <pc:spChg chg="mod">
            <ac:chgData name="Falcão Lacerda, Rafael" userId="40181ff7-4694-4c53-a944-7b7d63582359" providerId="ADAL" clId="{3B4D5F63-EA56-4616-8A78-0C43AB7049E7}" dt="2025-12-08T00:26:42.930" v="6572" actId="948"/>
            <ac:spMkLst>
              <pc:docMk/>
              <pc:sldMasterMk cId="2457110672" sldId="2147483709"/>
              <pc:sldLayoutMk cId="3418561198" sldId="2147483871"/>
              <ac:spMk id="4" creationId="{B439FCDF-0209-75C7-EEFD-72F454BE9350}"/>
            </ac:spMkLst>
          </pc:spChg>
          <pc:spChg chg="mod">
            <ac:chgData name="Falcão Lacerda, Rafael" userId="40181ff7-4694-4c53-a944-7b7d63582359" providerId="ADAL" clId="{3B4D5F63-EA56-4616-8A78-0C43AB7049E7}" dt="2025-12-08T00:26:31.900" v="2836"/>
            <ac:spMkLst>
              <pc:docMk/>
              <pc:sldMasterMk cId="2457110672" sldId="2147483709"/>
              <pc:sldLayoutMk cId="3418561198" sldId="2147483871"/>
              <ac:spMk id="6" creationId="{56063D68-A744-CDD7-FA67-D2E3EBBCDB1B}"/>
            </ac:spMkLst>
          </pc:spChg>
          <pc:spChg chg="mod">
            <ac:chgData name="Falcão Lacerda, Rafael" userId="40181ff7-4694-4c53-a944-7b7d63582359" providerId="ADAL" clId="{3B4D5F63-EA56-4616-8A78-0C43AB7049E7}" dt="2025-12-08T00:26:31.863" v="2824"/>
            <ac:spMkLst>
              <pc:docMk/>
              <pc:sldMasterMk cId="2457110672" sldId="2147483709"/>
              <pc:sldLayoutMk cId="3418561198" sldId="2147483871"/>
              <ac:spMk id="11" creationId="{1798FE22-CDE6-88FF-ACBC-FD9C36E03DFD}"/>
            </ac:spMkLst>
          </pc:spChg>
          <pc:spChg chg="mod">
            <ac:chgData name="Falcão Lacerda, Rafael" userId="40181ff7-4694-4c53-a944-7b7d63582359" providerId="ADAL" clId="{3B4D5F63-EA56-4616-8A78-0C43AB7049E7}" dt="2025-12-08T00:26:31.870" v="2826"/>
            <ac:spMkLst>
              <pc:docMk/>
              <pc:sldMasterMk cId="2457110672" sldId="2147483709"/>
              <pc:sldLayoutMk cId="3418561198" sldId="2147483871"/>
              <ac:spMk id="12" creationId="{F7CBA93D-A16D-15A7-59FB-5DA53C303FE4}"/>
            </ac:spMkLst>
          </pc:spChg>
          <pc:spChg chg="mod">
            <ac:chgData name="Falcão Lacerda, Rafael" userId="40181ff7-4694-4c53-a944-7b7d63582359" providerId="ADAL" clId="{3B4D5F63-EA56-4616-8A78-0C43AB7049E7}" dt="2025-12-08T00:26:31.870" v="2828"/>
            <ac:spMkLst>
              <pc:docMk/>
              <pc:sldMasterMk cId="2457110672" sldId="2147483709"/>
              <pc:sldLayoutMk cId="3418561198" sldId="2147483871"/>
              <ac:spMk id="13" creationId="{59F85972-AC4E-08A3-B374-8C2AF42D54FD}"/>
            </ac:spMkLst>
          </pc:spChg>
          <pc:spChg chg="mod">
            <ac:chgData name="Falcão Lacerda, Rafael" userId="40181ff7-4694-4c53-a944-7b7d63582359" providerId="ADAL" clId="{3B4D5F63-EA56-4616-8A78-0C43AB7049E7}" dt="2025-12-08T00:26:31.870" v="2830"/>
            <ac:spMkLst>
              <pc:docMk/>
              <pc:sldMasterMk cId="2457110672" sldId="2147483709"/>
              <pc:sldLayoutMk cId="3418561198" sldId="2147483871"/>
              <ac:spMk id="14" creationId="{6C21799C-032C-A3F2-FCE9-D7BE2B106CC9}"/>
            </ac:spMkLst>
          </pc:spChg>
          <pc:spChg chg="mod">
            <ac:chgData name="Falcão Lacerda, Rafael" userId="40181ff7-4694-4c53-a944-7b7d63582359" providerId="ADAL" clId="{3B4D5F63-EA56-4616-8A78-0C43AB7049E7}" dt="2025-12-08T00:26:31.916" v="2838"/>
            <ac:spMkLst>
              <pc:docMk/>
              <pc:sldMasterMk cId="2457110672" sldId="2147483709"/>
              <pc:sldLayoutMk cId="3418561198" sldId="2147483871"/>
              <ac:spMk id="20" creationId="{591D4CA2-E2F2-5487-46F9-665130B94BE8}"/>
            </ac:spMkLst>
          </pc:spChg>
          <pc:spChg chg="mod">
            <ac:chgData name="Falcão Lacerda, Rafael" userId="40181ff7-4694-4c53-a944-7b7d63582359" providerId="ADAL" clId="{3B4D5F63-EA56-4616-8A78-0C43AB7049E7}" dt="2025-12-08T00:26:31.932" v="2840"/>
            <ac:spMkLst>
              <pc:docMk/>
              <pc:sldMasterMk cId="2457110672" sldId="2147483709"/>
              <pc:sldLayoutMk cId="3418561198" sldId="2147483871"/>
              <ac:spMk id="26" creationId="{414973FE-1A5A-4784-BBEF-55CFBBF298DC}"/>
            </ac:spMkLst>
          </pc:spChg>
          <pc:spChg chg="mod">
            <ac:chgData name="Falcão Lacerda, Rafael" userId="40181ff7-4694-4c53-a944-7b7d63582359" providerId="ADAL" clId="{3B4D5F63-EA56-4616-8A78-0C43AB7049E7}" dt="2025-12-08T00:26:31.948" v="2842"/>
            <ac:spMkLst>
              <pc:docMk/>
              <pc:sldMasterMk cId="2457110672" sldId="2147483709"/>
              <pc:sldLayoutMk cId="3418561198" sldId="2147483871"/>
              <ac:spMk id="28" creationId="{E4DD7065-8DBD-BB8F-6299-198F246266BE}"/>
            </ac:spMkLst>
          </pc:spChg>
          <pc:graphicFrameChg chg="add mod ord modVis">
            <ac:chgData name="Falcão Lacerda, Rafael" userId="40181ff7-4694-4c53-a944-7b7d63582359" providerId="ADAL" clId="{3B4D5F63-EA56-4616-8A78-0C43AB7049E7}" dt="2025-12-08T00:26:49.202" v="9261"/>
            <ac:graphicFrameMkLst>
              <pc:docMk/>
              <pc:sldMasterMk cId="2457110672" sldId="2147483709"/>
              <pc:sldLayoutMk cId="3418561198" sldId="2147483871"/>
              <ac:graphicFrameMk id="5" creationId="{E874026B-C893-E140-9E1C-4F55B872FDFA}"/>
            </ac:graphicFrameMkLst>
          </pc:graphicFrameChg>
        </pc:sldLayoutChg>
        <pc:sldLayoutChg chg="addSp delSp modSp mod">
          <pc:chgData name="Falcão Lacerda, Rafael" userId="40181ff7-4694-4c53-a944-7b7d63582359" providerId="ADAL" clId="{3B4D5F63-EA56-4616-8A78-0C43AB7049E7}" dt="2025-12-08T00:26:48.871" v="9165"/>
          <pc:sldLayoutMkLst>
            <pc:docMk/>
            <pc:sldMasterMk cId="2457110672" sldId="2147483709"/>
            <pc:sldLayoutMk cId="1658573490" sldId="2147483872"/>
          </pc:sldLayoutMkLst>
          <pc:spChg chg="mod">
            <ac:chgData name="Falcão Lacerda, Rafael" userId="40181ff7-4694-4c53-a944-7b7d63582359" providerId="ADAL" clId="{3B4D5F63-EA56-4616-8A78-0C43AB7049E7}" dt="2025-12-08T00:26:42.587" v="6452" actId="948"/>
            <ac:spMkLst>
              <pc:docMk/>
              <pc:sldMasterMk cId="2457110672" sldId="2147483709"/>
              <pc:sldLayoutMk cId="1658573490" sldId="2147483872"/>
              <ac:spMk id="2" creationId="{9497204A-4462-2F62-F226-525C35783498}"/>
            </ac:spMkLst>
          </pc:spChg>
          <pc:spChg chg="mod">
            <ac:chgData name="Falcão Lacerda, Rafael" userId="40181ff7-4694-4c53-a944-7b7d63582359" providerId="ADAL" clId="{3B4D5F63-EA56-4616-8A78-0C43AB7049E7}" dt="2025-12-08T00:26:31.033" v="2686"/>
            <ac:spMkLst>
              <pc:docMk/>
              <pc:sldMasterMk cId="2457110672" sldId="2147483709"/>
              <pc:sldLayoutMk cId="1658573490" sldId="2147483872"/>
              <ac:spMk id="3" creationId="{49ACF502-3E74-91C2-B945-4A140A77E48E}"/>
            </ac:spMkLst>
          </pc:spChg>
          <pc:spChg chg="mod">
            <ac:chgData name="Falcão Lacerda, Rafael" userId="40181ff7-4694-4c53-a944-7b7d63582359" providerId="ADAL" clId="{3B4D5F63-EA56-4616-8A78-0C43AB7049E7}" dt="2025-12-08T00:26:31.049" v="2690"/>
            <ac:spMkLst>
              <pc:docMk/>
              <pc:sldMasterMk cId="2457110672" sldId="2147483709"/>
              <pc:sldLayoutMk cId="1658573490" sldId="2147483872"/>
              <ac:spMk id="4" creationId="{E40A9406-C547-1F85-E71D-853495CEBBB9}"/>
            </ac:spMkLst>
          </pc:spChg>
          <pc:spChg chg="mod">
            <ac:chgData name="Falcão Lacerda, Rafael" userId="40181ff7-4694-4c53-a944-7b7d63582359" providerId="ADAL" clId="{3B4D5F63-EA56-4616-8A78-0C43AB7049E7}" dt="2025-12-08T00:26:31.097" v="2706"/>
            <ac:spMkLst>
              <pc:docMk/>
              <pc:sldMasterMk cId="2457110672" sldId="2147483709"/>
              <pc:sldLayoutMk cId="1658573490" sldId="2147483872"/>
              <ac:spMk id="5" creationId="{1702F099-923C-04BF-8A6D-959AE146329A}"/>
            </ac:spMkLst>
          </pc:spChg>
          <pc:spChg chg="mod">
            <ac:chgData name="Falcão Lacerda, Rafael" userId="40181ff7-4694-4c53-a944-7b7d63582359" providerId="ADAL" clId="{3B4D5F63-EA56-4616-8A78-0C43AB7049E7}" dt="2025-12-08T00:26:31.097" v="2704"/>
            <ac:spMkLst>
              <pc:docMk/>
              <pc:sldMasterMk cId="2457110672" sldId="2147483709"/>
              <pc:sldLayoutMk cId="1658573490" sldId="2147483872"/>
              <ac:spMk id="6" creationId="{8EC9E534-1AD8-73C5-C5AC-15F48DA342B1}"/>
            </ac:spMkLst>
          </pc:spChg>
          <pc:spChg chg="add del mod modVis">
            <ac:chgData name="Falcão Lacerda, Rafael" userId="40181ff7-4694-4c53-a944-7b7d63582359" providerId="ADAL" clId="{3B4D5F63-EA56-4616-8A78-0C43AB7049E7}" dt="2025-12-08T00:26:48.842" v="9151"/>
            <ac:spMkLst>
              <pc:docMk/>
              <pc:sldMasterMk cId="2457110672" sldId="2147483709"/>
              <pc:sldLayoutMk cId="1658573490" sldId="2147483872"/>
              <ac:spMk id="7" creationId="{DB254E13-DFD0-DE42-3DCC-68C2B54516F2}"/>
            </ac:spMkLst>
          </pc:spChg>
          <pc:spChg chg="mod">
            <ac:chgData name="Falcão Lacerda, Rafael" userId="40181ff7-4694-4c53-a944-7b7d63582359" providerId="ADAL" clId="{3B4D5F63-EA56-4616-8A78-0C43AB7049E7}" dt="2025-12-08T00:26:31.065" v="2694"/>
            <ac:spMkLst>
              <pc:docMk/>
              <pc:sldMasterMk cId="2457110672" sldId="2147483709"/>
              <pc:sldLayoutMk cId="1658573490" sldId="2147483872"/>
              <ac:spMk id="8" creationId="{C79B9814-F84A-3469-40B8-1C61FBBE11E2}"/>
            </ac:spMkLst>
          </pc:spChg>
          <pc:spChg chg="mod">
            <ac:chgData name="Falcão Lacerda, Rafael" userId="40181ff7-4694-4c53-a944-7b7d63582359" providerId="ADAL" clId="{3B4D5F63-EA56-4616-8A78-0C43AB7049E7}" dt="2025-12-08T00:26:31.081" v="2698"/>
            <ac:spMkLst>
              <pc:docMk/>
              <pc:sldMasterMk cId="2457110672" sldId="2147483709"/>
              <pc:sldLayoutMk cId="1658573490" sldId="2147483872"/>
              <ac:spMk id="9" creationId="{DBE139AE-63B6-C2C1-4D09-17C298F69AB6}"/>
            </ac:spMkLst>
          </pc:spChg>
          <pc:spChg chg="mod">
            <ac:chgData name="Falcão Lacerda, Rafael" userId="40181ff7-4694-4c53-a944-7b7d63582359" providerId="ADAL" clId="{3B4D5F63-EA56-4616-8A78-0C43AB7049E7}" dt="2025-12-08T00:26:31.086" v="2702"/>
            <ac:spMkLst>
              <pc:docMk/>
              <pc:sldMasterMk cId="2457110672" sldId="2147483709"/>
              <pc:sldLayoutMk cId="1658573490" sldId="2147483872"/>
              <ac:spMk id="10" creationId="{F7111FC3-B91A-E597-25A2-DCDF58B1DF3D}"/>
            </ac:spMkLst>
          </pc:spChg>
          <pc:spChg chg="mod">
            <ac:chgData name="Falcão Lacerda, Rafael" userId="40181ff7-4694-4c53-a944-7b7d63582359" providerId="ADAL" clId="{3B4D5F63-EA56-4616-8A78-0C43AB7049E7}" dt="2025-12-08T00:26:31.033" v="2688"/>
            <ac:spMkLst>
              <pc:docMk/>
              <pc:sldMasterMk cId="2457110672" sldId="2147483709"/>
              <pc:sldLayoutMk cId="1658573490" sldId="2147483872"/>
              <ac:spMk id="16" creationId="{E6ED4F0B-36A9-C1D2-C829-FDA15A800F9D}"/>
            </ac:spMkLst>
          </pc:spChg>
          <pc:spChg chg="mod">
            <ac:chgData name="Falcão Lacerda, Rafael" userId="40181ff7-4694-4c53-a944-7b7d63582359" providerId="ADAL" clId="{3B4D5F63-EA56-4616-8A78-0C43AB7049E7}" dt="2025-12-08T00:26:31.049" v="2692"/>
            <ac:spMkLst>
              <pc:docMk/>
              <pc:sldMasterMk cId="2457110672" sldId="2147483709"/>
              <pc:sldLayoutMk cId="1658573490" sldId="2147483872"/>
              <ac:spMk id="17" creationId="{F21C5D35-2D9B-01B4-73C2-EF565E27FB9D}"/>
            </ac:spMkLst>
          </pc:spChg>
          <pc:spChg chg="mod">
            <ac:chgData name="Falcão Lacerda, Rafael" userId="40181ff7-4694-4c53-a944-7b7d63582359" providerId="ADAL" clId="{3B4D5F63-EA56-4616-8A78-0C43AB7049E7}" dt="2025-12-08T00:26:31.065" v="2696"/>
            <ac:spMkLst>
              <pc:docMk/>
              <pc:sldMasterMk cId="2457110672" sldId="2147483709"/>
              <pc:sldLayoutMk cId="1658573490" sldId="2147483872"/>
              <ac:spMk id="18" creationId="{731C7DC5-DAD9-9025-120D-FBB8C142A60F}"/>
            </ac:spMkLst>
          </pc:spChg>
          <pc:spChg chg="mod">
            <ac:chgData name="Falcão Lacerda, Rafael" userId="40181ff7-4694-4c53-a944-7b7d63582359" providerId="ADAL" clId="{3B4D5F63-EA56-4616-8A78-0C43AB7049E7}" dt="2025-12-08T00:26:31.086" v="2700"/>
            <ac:spMkLst>
              <pc:docMk/>
              <pc:sldMasterMk cId="2457110672" sldId="2147483709"/>
              <pc:sldLayoutMk cId="1658573490" sldId="2147483872"/>
              <ac:spMk id="19" creationId="{8EA33AE2-AAF8-CAB9-E244-AD70E24C3EB6}"/>
            </ac:spMkLst>
          </pc:spChg>
          <pc:graphicFrameChg chg="add mod ord modVis">
            <ac:chgData name="Falcão Lacerda, Rafael" userId="40181ff7-4694-4c53-a944-7b7d63582359" providerId="ADAL" clId="{3B4D5F63-EA56-4616-8A78-0C43AB7049E7}" dt="2025-12-08T00:26:48.871" v="9165"/>
            <ac:graphicFrameMkLst>
              <pc:docMk/>
              <pc:sldMasterMk cId="2457110672" sldId="2147483709"/>
              <pc:sldLayoutMk cId="1658573490" sldId="2147483872"/>
              <ac:graphicFrameMk id="11" creationId="{F8D42018-683A-B565-A5F0-566AC10C20B9}"/>
            </ac:graphicFrameMkLst>
          </pc:graphicFrameChg>
        </pc:sldLayoutChg>
        <pc:sldLayoutChg chg="addSp delSp modSp mod">
          <pc:chgData name="Falcão Lacerda, Rafael" userId="40181ff7-4694-4c53-a944-7b7d63582359" providerId="ADAL" clId="{3B4D5F63-EA56-4616-8A78-0C43AB7049E7}" dt="2025-12-08T00:26:50.194" v="9517"/>
          <pc:sldLayoutMkLst>
            <pc:docMk/>
            <pc:sldMasterMk cId="2457110672" sldId="2147483709"/>
            <pc:sldLayoutMk cId="687942863" sldId="2147483873"/>
          </pc:sldLayoutMkLst>
          <pc:spChg chg="mod">
            <ac:chgData name="Falcão Lacerda, Rafael" userId="40181ff7-4694-4c53-a944-7b7d63582359" providerId="ADAL" clId="{3B4D5F63-EA56-4616-8A78-0C43AB7049E7}" dt="2025-12-08T00:26:43.763" v="6892" actId="948"/>
            <ac:spMkLst>
              <pc:docMk/>
              <pc:sldMasterMk cId="2457110672" sldId="2147483709"/>
              <pc:sldLayoutMk cId="687942863" sldId="2147483873"/>
              <ac:spMk id="2" creationId="{2A8000A6-6DCD-FF31-392B-5CD7870A0353}"/>
            </ac:spMkLst>
          </pc:spChg>
          <pc:spChg chg="mod">
            <ac:chgData name="Falcão Lacerda, Rafael" userId="40181ff7-4694-4c53-a944-7b7d63582359" providerId="ADAL" clId="{3B4D5F63-EA56-4616-8A78-0C43AB7049E7}" dt="2025-12-08T00:26:32.740" v="3036"/>
            <ac:spMkLst>
              <pc:docMk/>
              <pc:sldMasterMk cId="2457110672" sldId="2147483709"/>
              <pc:sldLayoutMk cId="687942863" sldId="2147483873"/>
              <ac:spMk id="3" creationId="{4C9BBD74-54FD-481F-B3FD-0CE5318F281F}"/>
            </ac:spMkLst>
          </pc:spChg>
          <pc:spChg chg="mod">
            <ac:chgData name="Falcão Lacerda, Rafael" userId="40181ff7-4694-4c53-a944-7b7d63582359" providerId="ADAL" clId="{3B4D5F63-EA56-4616-8A78-0C43AB7049E7}" dt="2025-12-08T00:26:32.756" v="3038"/>
            <ac:spMkLst>
              <pc:docMk/>
              <pc:sldMasterMk cId="2457110672" sldId="2147483709"/>
              <pc:sldLayoutMk cId="687942863" sldId="2147483873"/>
              <ac:spMk id="4" creationId="{B85B306C-DA4C-EE64-1727-749659F0A793}"/>
            </ac:spMkLst>
          </pc:spChg>
          <pc:spChg chg="add del mod modVis">
            <ac:chgData name="Falcão Lacerda, Rafael" userId="40181ff7-4694-4c53-a944-7b7d63582359" providerId="ADAL" clId="{3B4D5F63-EA56-4616-8A78-0C43AB7049E7}" dt="2025-12-08T00:26:50.120" v="9503"/>
            <ac:spMkLst>
              <pc:docMk/>
              <pc:sldMasterMk cId="2457110672" sldId="2147483709"/>
              <pc:sldLayoutMk cId="687942863" sldId="2147483873"/>
              <ac:spMk id="5" creationId="{36628DD9-B891-5E32-ED95-4351682E9C35}"/>
            </ac:spMkLst>
          </pc:spChg>
          <pc:spChg chg="mod">
            <ac:chgData name="Falcão Lacerda, Rafael" userId="40181ff7-4694-4c53-a944-7b7d63582359" providerId="ADAL" clId="{3B4D5F63-EA56-4616-8A78-0C43AB7049E7}" dt="2025-12-08T00:26:32.819" v="3054"/>
            <ac:spMkLst>
              <pc:docMk/>
              <pc:sldMasterMk cId="2457110672" sldId="2147483709"/>
              <pc:sldLayoutMk cId="687942863" sldId="2147483873"/>
              <ac:spMk id="6" creationId="{5783FD05-DB3B-FD57-46A5-ACA36397CBF3}"/>
            </ac:spMkLst>
          </pc:spChg>
          <pc:spChg chg="mod">
            <ac:chgData name="Falcão Lacerda, Rafael" userId="40181ff7-4694-4c53-a944-7b7d63582359" providerId="ADAL" clId="{3B4D5F63-EA56-4616-8A78-0C43AB7049E7}" dt="2025-12-08T00:26:32.835" v="3056"/>
            <ac:spMkLst>
              <pc:docMk/>
              <pc:sldMasterMk cId="2457110672" sldId="2147483709"/>
              <pc:sldLayoutMk cId="687942863" sldId="2147483873"/>
              <ac:spMk id="7" creationId="{636E3600-1199-1547-D313-449C38319BD9}"/>
            </ac:spMkLst>
          </pc:spChg>
          <pc:spChg chg="mod">
            <ac:chgData name="Falcão Lacerda, Rafael" userId="40181ff7-4694-4c53-a944-7b7d63582359" providerId="ADAL" clId="{3B4D5F63-EA56-4616-8A78-0C43AB7049E7}" dt="2025-12-08T00:26:32.835" v="3058"/>
            <ac:spMkLst>
              <pc:docMk/>
              <pc:sldMasterMk cId="2457110672" sldId="2147483709"/>
              <pc:sldLayoutMk cId="687942863" sldId="2147483873"/>
              <ac:spMk id="8" creationId="{3D84B231-1D63-35B5-7ECE-7094A7C3BD42}"/>
            </ac:spMkLst>
          </pc:spChg>
          <pc:spChg chg="mod">
            <ac:chgData name="Falcão Lacerda, Rafael" userId="40181ff7-4694-4c53-a944-7b7d63582359" providerId="ADAL" clId="{3B4D5F63-EA56-4616-8A78-0C43AB7049E7}" dt="2025-12-08T00:26:32.772" v="3040"/>
            <ac:spMkLst>
              <pc:docMk/>
              <pc:sldMasterMk cId="2457110672" sldId="2147483709"/>
              <pc:sldLayoutMk cId="687942863" sldId="2147483873"/>
              <ac:spMk id="10" creationId="{7B5BFA1F-5247-B9BC-754B-6AAF3E525A0B}"/>
            </ac:spMkLst>
          </pc:spChg>
          <pc:spChg chg="mod">
            <ac:chgData name="Falcão Lacerda, Rafael" userId="40181ff7-4694-4c53-a944-7b7d63582359" providerId="ADAL" clId="{3B4D5F63-EA56-4616-8A78-0C43AB7049E7}" dt="2025-12-08T00:26:32.772" v="3042"/>
            <ac:spMkLst>
              <pc:docMk/>
              <pc:sldMasterMk cId="2457110672" sldId="2147483709"/>
              <pc:sldLayoutMk cId="687942863" sldId="2147483873"/>
              <ac:spMk id="11" creationId="{097F6A55-E927-3DDC-C6BC-9E4F7D33849E}"/>
            </ac:spMkLst>
          </pc:spChg>
          <pc:spChg chg="mod">
            <ac:chgData name="Falcão Lacerda, Rafael" userId="40181ff7-4694-4c53-a944-7b7d63582359" providerId="ADAL" clId="{3B4D5F63-EA56-4616-8A78-0C43AB7049E7}" dt="2025-12-08T00:26:32.740" v="3034"/>
            <ac:spMkLst>
              <pc:docMk/>
              <pc:sldMasterMk cId="2457110672" sldId="2147483709"/>
              <pc:sldLayoutMk cId="687942863" sldId="2147483873"/>
              <ac:spMk id="19" creationId="{72341109-26F6-4227-8890-EA8EB1C0EBBA}"/>
            </ac:spMkLst>
          </pc:spChg>
          <pc:spChg chg="mod">
            <ac:chgData name="Falcão Lacerda, Rafael" userId="40181ff7-4694-4c53-a944-7b7d63582359" providerId="ADAL" clId="{3B4D5F63-EA56-4616-8A78-0C43AB7049E7}" dt="2025-12-08T00:26:32.788" v="3044"/>
            <ac:spMkLst>
              <pc:docMk/>
              <pc:sldMasterMk cId="2457110672" sldId="2147483709"/>
              <pc:sldLayoutMk cId="687942863" sldId="2147483873"/>
              <ac:spMk id="20" creationId="{96A48BF3-8AA9-50DC-49B0-265A2B870BDA}"/>
            </ac:spMkLst>
          </pc:spChg>
          <pc:spChg chg="mod">
            <ac:chgData name="Falcão Lacerda, Rafael" userId="40181ff7-4694-4c53-a944-7b7d63582359" providerId="ADAL" clId="{3B4D5F63-EA56-4616-8A78-0C43AB7049E7}" dt="2025-12-08T00:26:32.788" v="3046"/>
            <ac:spMkLst>
              <pc:docMk/>
              <pc:sldMasterMk cId="2457110672" sldId="2147483709"/>
              <pc:sldLayoutMk cId="687942863" sldId="2147483873"/>
              <ac:spMk id="23" creationId="{6CA89A9C-8BF9-8CDF-3629-2C1B8ED659BD}"/>
            </ac:spMkLst>
          </pc:spChg>
          <pc:spChg chg="mod">
            <ac:chgData name="Falcão Lacerda, Rafael" userId="40181ff7-4694-4c53-a944-7b7d63582359" providerId="ADAL" clId="{3B4D5F63-EA56-4616-8A78-0C43AB7049E7}" dt="2025-12-08T00:26:32.804" v="3048"/>
            <ac:spMkLst>
              <pc:docMk/>
              <pc:sldMasterMk cId="2457110672" sldId="2147483709"/>
              <pc:sldLayoutMk cId="687942863" sldId="2147483873"/>
              <ac:spMk id="34" creationId="{DC7DFE68-FFE1-E798-3629-CF0323B2195E}"/>
            </ac:spMkLst>
          </pc:spChg>
          <pc:spChg chg="mod">
            <ac:chgData name="Falcão Lacerda, Rafael" userId="40181ff7-4694-4c53-a944-7b7d63582359" providerId="ADAL" clId="{3B4D5F63-EA56-4616-8A78-0C43AB7049E7}" dt="2025-12-08T00:26:32.804" v="3050"/>
            <ac:spMkLst>
              <pc:docMk/>
              <pc:sldMasterMk cId="2457110672" sldId="2147483709"/>
              <pc:sldLayoutMk cId="687942863" sldId="2147483873"/>
              <ac:spMk id="35" creationId="{0A5C4BB7-F326-497E-84F9-02B889C225A4}"/>
            </ac:spMkLst>
          </pc:spChg>
          <pc:graphicFrameChg chg="add mod ord modVis">
            <ac:chgData name="Falcão Lacerda, Rafael" userId="40181ff7-4694-4c53-a944-7b7d63582359" providerId="ADAL" clId="{3B4D5F63-EA56-4616-8A78-0C43AB7049E7}" dt="2025-12-08T00:26:50.194" v="9517"/>
            <ac:graphicFrameMkLst>
              <pc:docMk/>
              <pc:sldMasterMk cId="2457110672" sldId="2147483709"/>
              <pc:sldLayoutMk cId="687942863" sldId="2147483873"/>
              <ac:graphicFrameMk id="9" creationId="{9E922636-15C9-8500-DFDB-F5F82C439E86}"/>
            </ac:graphicFrameMkLst>
          </pc:graphicFrameChg>
        </pc:sldLayoutChg>
        <pc:sldLayoutChg chg="addSp delSp modSp mod">
          <pc:chgData name="Falcão Lacerda, Rafael" userId="40181ff7-4694-4c53-a944-7b7d63582359" providerId="ADAL" clId="{3B4D5F63-EA56-4616-8A78-0C43AB7049E7}" dt="2025-12-08T12:51:51.491" v="29947" actId="478"/>
          <pc:sldLayoutMkLst>
            <pc:docMk/>
            <pc:sldMasterMk cId="2457110672" sldId="2147483709"/>
            <pc:sldLayoutMk cId="1547389539" sldId="2147483875"/>
          </pc:sldLayoutMkLst>
          <pc:spChg chg="del mod">
            <ac:chgData name="Falcão Lacerda, Rafael" userId="40181ff7-4694-4c53-a944-7b7d63582359" providerId="ADAL" clId="{3B4D5F63-EA56-4616-8A78-0C43AB7049E7}" dt="2025-12-08T12:51:51.491" v="29947" actId="478"/>
            <ac:spMkLst>
              <pc:docMk/>
              <pc:sldMasterMk cId="2457110672" sldId="2147483709"/>
              <pc:sldLayoutMk cId="1547389539" sldId="2147483875"/>
              <ac:spMk id="2" creationId="{54E44863-5E53-DDCD-5FA5-173816802E74}"/>
            </ac:spMkLst>
          </pc:spChg>
          <pc:spChg chg="mod">
            <ac:chgData name="Falcão Lacerda, Rafael" userId="40181ff7-4694-4c53-a944-7b7d63582359" providerId="ADAL" clId="{3B4D5F63-EA56-4616-8A78-0C43AB7049E7}" dt="2025-12-08T00:26:44.528" v="7152" actId="948"/>
            <ac:spMkLst>
              <pc:docMk/>
              <pc:sldMasterMk cId="2457110672" sldId="2147483709"/>
              <pc:sldLayoutMk cId="1547389539" sldId="2147483875"/>
              <ac:spMk id="3" creationId="{639540C7-90CF-ACE6-34AE-174CDEB46195}"/>
            </ac:spMkLst>
          </pc:spChg>
          <pc:spChg chg="add del mod modVis">
            <ac:chgData name="Falcão Lacerda, Rafael" userId="40181ff7-4694-4c53-a944-7b7d63582359" providerId="ADAL" clId="{3B4D5F63-EA56-4616-8A78-0C43AB7049E7}" dt="2025-12-08T00:26:50.893" v="9711"/>
            <ac:spMkLst>
              <pc:docMk/>
              <pc:sldMasterMk cId="2457110672" sldId="2147483709"/>
              <pc:sldLayoutMk cId="1547389539" sldId="2147483875"/>
              <ac:spMk id="4" creationId="{831E76BD-AB52-4BB4-7391-AA5EAAF35DD7}"/>
            </ac:spMkLst>
          </pc:spChg>
          <pc:spChg chg="mod">
            <ac:chgData name="Falcão Lacerda, Rafael" userId="40181ff7-4694-4c53-a944-7b7d63582359" providerId="ADAL" clId="{3B4D5F63-EA56-4616-8A78-0C43AB7049E7}" dt="2025-12-08T00:26:33.690" v="3246"/>
            <ac:spMkLst>
              <pc:docMk/>
              <pc:sldMasterMk cId="2457110672" sldId="2147483709"/>
              <pc:sldLayoutMk cId="1547389539" sldId="2147483875"/>
              <ac:spMk id="5" creationId="{0E1008B6-7792-F7C1-448D-E26EBA7F66E1}"/>
            </ac:spMkLst>
          </pc:spChg>
          <pc:spChg chg="mod">
            <ac:chgData name="Falcão Lacerda, Rafael" userId="40181ff7-4694-4c53-a944-7b7d63582359" providerId="ADAL" clId="{3B4D5F63-EA56-4616-8A78-0C43AB7049E7}" dt="2025-12-08T00:26:33.658" v="3240" actId="947"/>
            <ac:spMkLst>
              <pc:docMk/>
              <pc:sldMasterMk cId="2457110672" sldId="2147483709"/>
              <pc:sldLayoutMk cId="1547389539" sldId="2147483875"/>
              <ac:spMk id="8" creationId="{4F03B290-6E83-1A46-D0DD-7EDFE2CF4967}"/>
            </ac:spMkLst>
          </pc:spChg>
          <pc:spChg chg="del mod">
            <ac:chgData name="Falcão Lacerda, Rafael" userId="40181ff7-4694-4c53-a944-7b7d63582359" providerId="ADAL" clId="{3B4D5F63-EA56-4616-8A78-0C43AB7049E7}" dt="2025-12-08T12:51:50.040" v="29946" actId="478"/>
            <ac:spMkLst>
              <pc:docMk/>
              <pc:sldMasterMk cId="2457110672" sldId="2147483709"/>
              <pc:sldLayoutMk cId="1547389539" sldId="2147483875"/>
              <ac:spMk id="9" creationId="{8DE35BA1-021B-C8B8-EEDE-464FB3F9F466}"/>
            </ac:spMkLst>
          </pc:spChg>
          <pc:graphicFrameChg chg="add mod ord modVis">
            <ac:chgData name="Falcão Lacerda, Rafael" userId="40181ff7-4694-4c53-a944-7b7d63582359" providerId="ADAL" clId="{3B4D5F63-EA56-4616-8A78-0C43AB7049E7}" dt="2025-12-08T00:26:50.969" v="9725"/>
            <ac:graphicFrameMkLst>
              <pc:docMk/>
              <pc:sldMasterMk cId="2457110672" sldId="2147483709"/>
              <pc:sldLayoutMk cId="1547389539" sldId="2147483875"/>
              <ac:graphicFrameMk id="6" creationId="{9F0CDBD3-7558-C744-9E31-7842799EFF4D}"/>
            </ac:graphicFrameMkLst>
          </pc:graphicFrameChg>
        </pc:sldLayoutChg>
        <pc:sldLayoutChg chg="addSp delSp modSp mod">
          <pc:chgData name="Falcão Lacerda, Rafael" userId="40181ff7-4694-4c53-a944-7b7d63582359" providerId="ADAL" clId="{3B4D5F63-EA56-4616-8A78-0C43AB7049E7}" dt="2025-12-08T00:26:50.372" v="9565"/>
          <pc:sldLayoutMkLst>
            <pc:docMk/>
            <pc:sldMasterMk cId="2457110672" sldId="2147483709"/>
            <pc:sldLayoutMk cId="2286054157" sldId="2147483876"/>
          </pc:sldLayoutMkLst>
          <pc:spChg chg="mod">
            <ac:chgData name="Falcão Lacerda, Rafael" userId="40181ff7-4694-4c53-a944-7b7d63582359" providerId="ADAL" clId="{3B4D5F63-EA56-4616-8A78-0C43AB7049E7}" dt="2025-12-08T00:26:43.949" v="6952" actId="948"/>
            <ac:spMkLst>
              <pc:docMk/>
              <pc:sldMasterMk cId="2457110672" sldId="2147483709"/>
              <pc:sldLayoutMk cId="2286054157" sldId="2147483876"/>
              <ac:spMk id="2" creationId="{A2C0743A-ADC6-831B-B51D-02359B5DA97F}"/>
            </ac:spMkLst>
          </pc:spChg>
          <pc:spChg chg="add del mod modVis">
            <ac:chgData name="Falcão Lacerda, Rafael" userId="40181ff7-4694-4c53-a944-7b7d63582359" providerId="ADAL" clId="{3B4D5F63-EA56-4616-8A78-0C43AB7049E7}" dt="2025-12-08T00:26:50.322" v="9551"/>
            <ac:spMkLst>
              <pc:docMk/>
              <pc:sldMasterMk cId="2457110672" sldId="2147483709"/>
              <pc:sldLayoutMk cId="2286054157" sldId="2147483876"/>
              <ac:spMk id="3" creationId="{17574A77-5718-E36F-FFFD-9BDE520AB8FF}"/>
            </ac:spMkLst>
          </pc:spChg>
          <pc:spChg chg="mod">
            <ac:chgData name="Falcão Lacerda, Rafael" userId="40181ff7-4694-4c53-a944-7b7d63582359" providerId="ADAL" clId="{3B4D5F63-EA56-4616-8A78-0C43AB7049E7}" dt="2025-12-08T00:26:32.946" v="3088"/>
            <ac:spMkLst>
              <pc:docMk/>
              <pc:sldMasterMk cId="2457110672" sldId="2147483709"/>
              <pc:sldLayoutMk cId="2286054157" sldId="2147483876"/>
              <ac:spMk id="37" creationId="{13E1FBEF-5FF1-E9BB-F6B9-7326BB5CB80A}"/>
            </ac:spMkLst>
          </pc:spChg>
          <pc:spChg chg="mod">
            <ac:chgData name="Falcão Lacerda, Rafael" userId="40181ff7-4694-4c53-a944-7b7d63582359" providerId="ADAL" clId="{3B4D5F63-EA56-4616-8A78-0C43AB7049E7}" dt="2025-12-08T00:26:32.946" v="3090"/>
            <ac:spMkLst>
              <pc:docMk/>
              <pc:sldMasterMk cId="2457110672" sldId="2147483709"/>
              <pc:sldLayoutMk cId="2286054157" sldId="2147483876"/>
              <ac:spMk id="38" creationId="{B9824907-86E3-1531-50ED-112E1C8CF38B}"/>
            </ac:spMkLst>
          </pc:spChg>
          <pc:spChg chg="mod">
            <ac:chgData name="Falcão Lacerda, Rafael" userId="40181ff7-4694-4c53-a944-7b7d63582359" providerId="ADAL" clId="{3B4D5F63-EA56-4616-8A78-0C43AB7049E7}" dt="2025-12-08T00:26:32.962" v="3092"/>
            <ac:spMkLst>
              <pc:docMk/>
              <pc:sldMasterMk cId="2457110672" sldId="2147483709"/>
              <pc:sldLayoutMk cId="2286054157" sldId="2147483876"/>
              <ac:spMk id="48" creationId="{F08F731E-CEF1-4878-3FD0-FAD6C27FD39A}"/>
            </ac:spMkLst>
          </pc:spChg>
          <pc:spChg chg="mod">
            <ac:chgData name="Falcão Lacerda, Rafael" userId="40181ff7-4694-4c53-a944-7b7d63582359" providerId="ADAL" clId="{3B4D5F63-EA56-4616-8A78-0C43AB7049E7}" dt="2025-12-08T00:26:32.962" v="3094"/>
            <ac:spMkLst>
              <pc:docMk/>
              <pc:sldMasterMk cId="2457110672" sldId="2147483709"/>
              <pc:sldLayoutMk cId="2286054157" sldId="2147483876"/>
              <ac:spMk id="50" creationId="{26505188-6359-30FA-BD41-1EE3AE7460F8}"/>
            </ac:spMkLst>
          </pc:spChg>
          <pc:spChg chg="mod">
            <ac:chgData name="Falcão Lacerda, Rafael" userId="40181ff7-4694-4c53-a944-7b7d63582359" providerId="ADAL" clId="{3B4D5F63-EA56-4616-8A78-0C43AB7049E7}" dt="2025-12-08T00:26:32.962" v="3096"/>
            <ac:spMkLst>
              <pc:docMk/>
              <pc:sldMasterMk cId="2457110672" sldId="2147483709"/>
              <pc:sldLayoutMk cId="2286054157" sldId="2147483876"/>
              <ac:spMk id="52" creationId="{2F8B0EA0-CACA-263A-C93F-CBC13D1410B5}"/>
            </ac:spMkLst>
          </pc:spChg>
          <pc:spChg chg="mod">
            <ac:chgData name="Falcão Lacerda, Rafael" userId="40181ff7-4694-4c53-a944-7b7d63582359" providerId="ADAL" clId="{3B4D5F63-EA56-4616-8A78-0C43AB7049E7}" dt="2025-12-08T00:26:32.978" v="3098"/>
            <ac:spMkLst>
              <pc:docMk/>
              <pc:sldMasterMk cId="2457110672" sldId="2147483709"/>
              <pc:sldLayoutMk cId="2286054157" sldId="2147483876"/>
              <ac:spMk id="54" creationId="{D9BC5705-EC9D-D2BB-D13E-6DCF41A2CFBA}"/>
            </ac:spMkLst>
          </pc:spChg>
          <pc:spChg chg="mod">
            <ac:chgData name="Falcão Lacerda, Rafael" userId="40181ff7-4694-4c53-a944-7b7d63582359" providerId="ADAL" clId="{3B4D5F63-EA56-4616-8A78-0C43AB7049E7}" dt="2025-12-08T00:26:32.978" v="3100"/>
            <ac:spMkLst>
              <pc:docMk/>
              <pc:sldMasterMk cId="2457110672" sldId="2147483709"/>
              <pc:sldLayoutMk cId="2286054157" sldId="2147483876"/>
              <ac:spMk id="55" creationId="{63F87C57-352F-9F6B-1FEC-F82F24A89FD5}"/>
            </ac:spMkLst>
          </pc:spChg>
          <pc:spChg chg="mod">
            <ac:chgData name="Falcão Lacerda, Rafael" userId="40181ff7-4694-4c53-a944-7b7d63582359" providerId="ADAL" clId="{3B4D5F63-EA56-4616-8A78-0C43AB7049E7}" dt="2025-12-08T00:26:32.988" v="3102"/>
            <ac:spMkLst>
              <pc:docMk/>
              <pc:sldMasterMk cId="2457110672" sldId="2147483709"/>
              <pc:sldLayoutMk cId="2286054157" sldId="2147483876"/>
              <ac:spMk id="58" creationId="{6A205F7E-A1D0-35BC-AC88-4EDB1ABA180C}"/>
            </ac:spMkLst>
          </pc:spChg>
          <pc:spChg chg="mod">
            <ac:chgData name="Falcão Lacerda, Rafael" userId="40181ff7-4694-4c53-a944-7b7d63582359" providerId="ADAL" clId="{3B4D5F63-EA56-4616-8A78-0C43AB7049E7}" dt="2025-12-08T00:26:32.994" v="3104"/>
            <ac:spMkLst>
              <pc:docMk/>
              <pc:sldMasterMk cId="2457110672" sldId="2147483709"/>
              <pc:sldLayoutMk cId="2286054157" sldId="2147483876"/>
              <ac:spMk id="60" creationId="{976843C5-C03A-A8D3-E5FA-0F07BFBDD774}"/>
            </ac:spMkLst>
          </pc:spChg>
          <pc:spChg chg="mod">
            <ac:chgData name="Falcão Lacerda, Rafael" userId="40181ff7-4694-4c53-a944-7b7d63582359" providerId="ADAL" clId="{3B4D5F63-EA56-4616-8A78-0C43AB7049E7}" dt="2025-12-08T00:26:32.994" v="3106"/>
            <ac:spMkLst>
              <pc:docMk/>
              <pc:sldMasterMk cId="2457110672" sldId="2147483709"/>
              <pc:sldLayoutMk cId="2286054157" sldId="2147483876"/>
              <ac:spMk id="61" creationId="{99F72155-DC8E-FD59-347A-8E42F7539245}"/>
            </ac:spMkLst>
          </pc:spChg>
          <pc:spChg chg="mod">
            <ac:chgData name="Falcão Lacerda, Rafael" userId="40181ff7-4694-4c53-a944-7b7d63582359" providerId="ADAL" clId="{3B4D5F63-EA56-4616-8A78-0C43AB7049E7}" dt="2025-12-08T00:26:32.994" v="3108"/>
            <ac:spMkLst>
              <pc:docMk/>
              <pc:sldMasterMk cId="2457110672" sldId="2147483709"/>
              <pc:sldLayoutMk cId="2286054157" sldId="2147483876"/>
              <ac:spMk id="62" creationId="{46463B47-CA2F-FBD9-29CC-24F465D0AE42}"/>
            </ac:spMkLst>
          </pc:spChg>
          <pc:spChg chg="mod">
            <ac:chgData name="Falcão Lacerda, Rafael" userId="40181ff7-4694-4c53-a944-7b7d63582359" providerId="ADAL" clId="{3B4D5F63-EA56-4616-8A78-0C43AB7049E7}" dt="2025-12-08T00:26:33.009" v="3110"/>
            <ac:spMkLst>
              <pc:docMk/>
              <pc:sldMasterMk cId="2457110672" sldId="2147483709"/>
              <pc:sldLayoutMk cId="2286054157" sldId="2147483876"/>
              <ac:spMk id="64" creationId="{AE0584A6-3ABE-9106-5EC5-8BBE05F01F0E}"/>
            </ac:spMkLst>
          </pc:spChg>
          <pc:spChg chg="mod">
            <ac:chgData name="Falcão Lacerda, Rafael" userId="40181ff7-4694-4c53-a944-7b7d63582359" providerId="ADAL" clId="{3B4D5F63-EA56-4616-8A78-0C43AB7049E7}" dt="2025-12-08T00:26:33.009" v="3112"/>
            <ac:spMkLst>
              <pc:docMk/>
              <pc:sldMasterMk cId="2457110672" sldId="2147483709"/>
              <pc:sldLayoutMk cId="2286054157" sldId="2147483876"/>
              <ac:spMk id="65" creationId="{670F6FAD-5A3C-11EB-6E81-8B16B52F81EF}"/>
            </ac:spMkLst>
          </pc:spChg>
          <pc:graphicFrameChg chg="add mod ord modVis">
            <ac:chgData name="Falcão Lacerda, Rafael" userId="40181ff7-4694-4c53-a944-7b7d63582359" providerId="ADAL" clId="{3B4D5F63-EA56-4616-8A78-0C43AB7049E7}" dt="2025-12-08T00:26:50.372" v="9565"/>
            <ac:graphicFrameMkLst>
              <pc:docMk/>
              <pc:sldMasterMk cId="2457110672" sldId="2147483709"/>
              <pc:sldLayoutMk cId="2286054157" sldId="2147483876"/>
              <ac:graphicFrameMk id="4" creationId="{2C89B63D-4192-F949-88A0-8B2923C4AA5F}"/>
            </ac:graphicFrameMkLst>
          </pc:graphicFrameChg>
        </pc:sldLayoutChg>
        <pc:sldLayoutChg chg="addSp delSp modSp mod">
          <pc:chgData name="Falcão Lacerda, Rafael" userId="40181ff7-4694-4c53-a944-7b7d63582359" providerId="ADAL" clId="{3B4D5F63-EA56-4616-8A78-0C43AB7049E7}" dt="2025-12-08T00:26:51.792" v="9917"/>
          <pc:sldLayoutMkLst>
            <pc:docMk/>
            <pc:sldMasterMk cId="2457110672" sldId="2147483709"/>
            <pc:sldLayoutMk cId="3303762771" sldId="2147483877"/>
          </pc:sldLayoutMkLst>
          <pc:spChg chg="add del mod modVis">
            <ac:chgData name="Falcão Lacerda, Rafael" userId="40181ff7-4694-4c53-a944-7b7d63582359" providerId="ADAL" clId="{3B4D5F63-EA56-4616-8A78-0C43AB7049E7}" dt="2025-12-08T00:26:51.715" v="9903"/>
            <ac:spMkLst>
              <pc:docMk/>
              <pc:sldMasterMk cId="2457110672" sldId="2147483709"/>
              <pc:sldLayoutMk cId="3303762771" sldId="2147483877"/>
              <ac:spMk id="2" creationId="{ADCFB607-1A59-7E4A-EA73-2068404131E2}"/>
            </ac:spMkLst>
          </pc:spChg>
          <pc:spChg chg="mod">
            <ac:chgData name="Falcão Lacerda, Rafael" userId="40181ff7-4694-4c53-a944-7b7d63582359" providerId="ADAL" clId="{3B4D5F63-EA56-4616-8A78-0C43AB7049E7}" dt="2025-12-08T00:26:35.020" v="3516"/>
            <ac:spMkLst>
              <pc:docMk/>
              <pc:sldMasterMk cId="2457110672" sldId="2147483709"/>
              <pc:sldLayoutMk cId="3303762771" sldId="2147483877"/>
              <ac:spMk id="6" creationId="{C4602F9E-5DF1-F42B-7D21-8791F0ABAE8F}"/>
            </ac:spMkLst>
          </pc:spChg>
          <pc:spChg chg="mod">
            <ac:chgData name="Falcão Lacerda, Rafael" userId="40181ff7-4694-4c53-a944-7b7d63582359" providerId="ADAL" clId="{3B4D5F63-EA56-4616-8A78-0C43AB7049E7}" dt="2025-12-08T00:26:35.036" v="3520"/>
            <ac:spMkLst>
              <pc:docMk/>
              <pc:sldMasterMk cId="2457110672" sldId="2147483709"/>
              <pc:sldLayoutMk cId="3303762771" sldId="2147483877"/>
              <ac:spMk id="7" creationId="{B286CD00-6CFB-20C2-A09E-D720E0360520}"/>
            </ac:spMkLst>
          </pc:spChg>
          <pc:spChg chg="mod">
            <ac:chgData name="Falcão Lacerda, Rafael" userId="40181ff7-4694-4c53-a944-7b7d63582359" providerId="ADAL" clId="{3B4D5F63-EA56-4616-8A78-0C43AB7049E7}" dt="2025-12-08T00:26:35.051" v="3524"/>
            <ac:spMkLst>
              <pc:docMk/>
              <pc:sldMasterMk cId="2457110672" sldId="2147483709"/>
              <pc:sldLayoutMk cId="3303762771" sldId="2147483877"/>
              <ac:spMk id="8" creationId="{0C3EB0FF-A89F-1F16-2674-8CA149E690B3}"/>
            </ac:spMkLst>
          </pc:spChg>
          <pc:spChg chg="mod">
            <ac:chgData name="Falcão Lacerda, Rafael" userId="40181ff7-4694-4c53-a944-7b7d63582359" providerId="ADAL" clId="{3B4D5F63-EA56-4616-8A78-0C43AB7049E7}" dt="2025-12-08T00:26:35.051" v="3522"/>
            <ac:spMkLst>
              <pc:docMk/>
              <pc:sldMasterMk cId="2457110672" sldId="2147483709"/>
              <pc:sldLayoutMk cId="3303762771" sldId="2147483877"/>
              <ac:spMk id="10" creationId="{5552C60D-F6B3-15A8-3518-C6B4BC2F4D3B}"/>
            </ac:spMkLst>
          </pc:spChg>
          <pc:spChg chg="mod">
            <ac:chgData name="Falcão Lacerda, Rafael" userId="40181ff7-4694-4c53-a944-7b7d63582359" providerId="ADAL" clId="{3B4D5F63-EA56-4616-8A78-0C43AB7049E7}" dt="2025-12-08T00:26:35.068" v="3526"/>
            <ac:spMkLst>
              <pc:docMk/>
              <pc:sldMasterMk cId="2457110672" sldId="2147483709"/>
              <pc:sldLayoutMk cId="3303762771" sldId="2147483877"/>
              <ac:spMk id="12" creationId="{8BB12B5F-02FD-86E4-33E5-F8118970C9C9}"/>
            </ac:spMkLst>
          </pc:spChg>
          <pc:spChg chg="mod">
            <ac:chgData name="Falcão Lacerda, Rafael" userId="40181ff7-4694-4c53-a944-7b7d63582359" providerId="ADAL" clId="{3B4D5F63-EA56-4616-8A78-0C43AB7049E7}" dt="2025-12-08T00:26:35.083" v="3528"/>
            <ac:spMkLst>
              <pc:docMk/>
              <pc:sldMasterMk cId="2457110672" sldId="2147483709"/>
              <pc:sldLayoutMk cId="3303762771" sldId="2147483877"/>
              <ac:spMk id="13" creationId="{2CFC039C-2FE3-6F68-1711-363159A29E21}"/>
            </ac:spMkLst>
          </pc:spChg>
          <pc:spChg chg="mod">
            <ac:chgData name="Falcão Lacerda, Rafael" userId="40181ff7-4694-4c53-a944-7b7d63582359" providerId="ADAL" clId="{3B4D5F63-EA56-4616-8A78-0C43AB7049E7}" dt="2025-12-08T00:26:35.004" v="3514"/>
            <ac:spMkLst>
              <pc:docMk/>
              <pc:sldMasterMk cId="2457110672" sldId="2147483709"/>
              <pc:sldLayoutMk cId="3303762771" sldId="2147483877"/>
              <ac:spMk id="18" creationId="{D9945356-3D82-526D-F3EC-EF9A544BCDC7}"/>
            </ac:spMkLst>
          </pc:spChg>
          <pc:spChg chg="mod">
            <ac:chgData name="Falcão Lacerda, Rafael" userId="40181ff7-4694-4c53-a944-7b7d63582359" providerId="ADAL" clId="{3B4D5F63-EA56-4616-8A78-0C43AB7049E7}" dt="2025-12-08T00:26:35.036" v="3518"/>
            <ac:spMkLst>
              <pc:docMk/>
              <pc:sldMasterMk cId="2457110672" sldId="2147483709"/>
              <pc:sldLayoutMk cId="3303762771" sldId="2147483877"/>
              <ac:spMk id="20" creationId="{043D01E8-2D14-8582-D392-AC17CD2A4198}"/>
            </ac:spMkLst>
          </pc:spChg>
          <pc:spChg chg="mod">
            <ac:chgData name="Falcão Lacerda, Rafael" userId="40181ff7-4694-4c53-a944-7b7d63582359" providerId="ADAL" clId="{3B4D5F63-EA56-4616-8A78-0C43AB7049E7}" dt="2025-12-08T00:26:45.213" v="7392" actId="948"/>
            <ac:spMkLst>
              <pc:docMk/>
              <pc:sldMasterMk cId="2457110672" sldId="2147483709"/>
              <pc:sldLayoutMk cId="3303762771" sldId="2147483877"/>
              <ac:spMk id="21" creationId="{9BDC0A4D-E346-3CCE-788C-9669BEFC9B76}"/>
            </ac:spMkLst>
          </pc:spChg>
          <pc:graphicFrameChg chg="add mod ord modVis">
            <ac:chgData name="Falcão Lacerda, Rafael" userId="40181ff7-4694-4c53-a944-7b7d63582359" providerId="ADAL" clId="{3B4D5F63-EA56-4616-8A78-0C43AB7049E7}" dt="2025-12-08T00:26:51.792" v="9917"/>
            <ac:graphicFrameMkLst>
              <pc:docMk/>
              <pc:sldMasterMk cId="2457110672" sldId="2147483709"/>
              <pc:sldLayoutMk cId="3303762771" sldId="2147483877"/>
              <ac:graphicFrameMk id="3" creationId="{50622C40-4ABF-3BD8-8D79-10C29C248C24}"/>
            </ac:graphicFrameMkLst>
          </pc:graphicFrameChg>
        </pc:sldLayoutChg>
        <pc:sldLayoutChg chg="addSp delSp modSp mod">
          <pc:chgData name="Falcão Lacerda, Rafael" userId="40181ff7-4694-4c53-a944-7b7d63582359" providerId="ADAL" clId="{3B4D5F63-EA56-4616-8A78-0C43AB7049E7}" dt="2025-12-08T00:26:49.606" v="9357"/>
          <pc:sldLayoutMkLst>
            <pc:docMk/>
            <pc:sldMasterMk cId="2457110672" sldId="2147483709"/>
            <pc:sldLayoutMk cId="145317648" sldId="2147483878"/>
          </pc:sldLayoutMkLst>
          <pc:spChg chg="add del mod modVis">
            <ac:chgData name="Falcão Lacerda, Rafael" userId="40181ff7-4694-4c53-a944-7b7d63582359" providerId="ADAL" clId="{3B4D5F63-EA56-4616-8A78-0C43AB7049E7}" dt="2025-12-08T00:26:49.559" v="9343"/>
            <ac:spMkLst>
              <pc:docMk/>
              <pc:sldMasterMk cId="2457110672" sldId="2147483709"/>
              <pc:sldLayoutMk cId="145317648" sldId="2147483878"/>
              <ac:spMk id="2" creationId="{21999D2A-024F-2865-FEB3-A11A02072450}"/>
            </ac:spMkLst>
          </pc:spChg>
          <pc:spChg chg="mod">
            <ac:chgData name="Falcão Lacerda, Rafael" userId="40181ff7-4694-4c53-a944-7b7d63582359" providerId="ADAL" clId="{3B4D5F63-EA56-4616-8A78-0C43AB7049E7}" dt="2025-12-08T00:26:43.254" v="6692" actId="948"/>
            <ac:spMkLst>
              <pc:docMk/>
              <pc:sldMasterMk cId="2457110672" sldId="2147483709"/>
              <pc:sldLayoutMk cId="145317648" sldId="2147483878"/>
              <ac:spMk id="3" creationId="{AE215616-27C6-76EE-5488-166BFD01211E}"/>
            </ac:spMkLst>
          </pc:spChg>
          <pc:spChg chg="mod">
            <ac:chgData name="Falcão Lacerda, Rafael" userId="40181ff7-4694-4c53-a944-7b7d63582359" providerId="ADAL" clId="{3B4D5F63-EA56-4616-8A78-0C43AB7049E7}" dt="2025-12-08T00:26:32.058" v="2876"/>
            <ac:spMkLst>
              <pc:docMk/>
              <pc:sldMasterMk cId="2457110672" sldId="2147483709"/>
              <pc:sldLayoutMk cId="145317648" sldId="2147483878"/>
              <ac:spMk id="11" creationId="{77491F38-EA5D-D7B9-CAB2-157B785C367F}"/>
            </ac:spMkLst>
          </pc:spChg>
          <pc:spChg chg="mod">
            <ac:chgData name="Falcão Lacerda, Rafael" userId="40181ff7-4694-4c53-a944-7b7d63582359" providerId="ADAL" clId="{3B4D5F63-EA56-4616-8A78-0C43AB7049E7}" dt="2025-12-08T00:26:32.074" v="2878"/>
            <ac:spMkLst>
              <pc:docMk/>
              <pc:sldMasterMk cId="2457110672" sldId="2147483709"/>
              <pc:sldLayoutMk cId="145317648" sldId="2147483878"/>
              <ac:spMk id="12" creationId="{62419F48-27CD-9483-1EC7-3FB199CA40D7}"/>
            </ac:spMkLst>
          </pc:spChg>
          <pc:spChg chg="mod">
            <ac:chgData name="Falcão Lacerda, Rafael" userId="40181ff7-4694-4c53-a944-7b7d63582359" providerId="ADAL" clId="{3B4D5F63-EA56-4616-8A78-0C43AB7049E7}" dt="2025-12-08T00:26:32.086" v="2880"/>
            <ac:spMkLst>
              <pc:docMk/>
              <pc:sldMasterMk cId="2457110672" sldId="2147483709"/>
              <pc:sldLayoutMk cId="145317648" sldId="2147483878"/>
              <ac:spMk id="15" creationId="{08345CBF-50C2-FB65-17ED-3D6DA4271AC9}"/>
            </ac:spMkLst>
          </pc:spChg>
          <pc:spChg chg="mod">
            <ac:chgData name="Falcão Lacerda, Rafael" userId="40181ff7-4694-4c53-a944-7b7d63582359" providerId="ADAL" clId="{3B4D5F63-EA56-4616-8A78-0C43AB7049E7}" dt="2025-12-08T00:26:32.090" v="2882"/>
            <ac:spMkLst>
              <pc:docMk/>
              <pc:sldMasterMk cId="2457110672" sldId="2147483709"/>
              <pc:sldLayoutMk cId="145317648" sldId="2147483878"/>
              <ac:spMk id="16" creationId="{4AFE20C7-1104-B877-56C6-12779547D579}"/>
            </ac:spMkLst>
          </pc:spChg>
          <pc:spChg chg="mod">
            <ac:chgData name="Falcão Lacerda, Rafael" userId="40181ff7-4694-4c53-a944-7b7d63582359" providerId="ADAL" clId="{3B4D5F63-EA56-4616-8A78-0C43AB7049E7}" dt="2025-12-08T00:26:32.090" v="2884"/>
            <ac:spMkLst>
              <pc:docMk/>
              <pc:sldMasterMk cId="2457110672" sldId="2147483709"/>
              <pc:sldLayoutMk cId="145317648" sldId="2147483878"/>
              <ac:spMk id="17" creationId="{888AF1FA-5C2F-7A4F-3490-6716382D7C62}"/>
            </ac:spMkLst>
          </pc:spChg>
          <pc:spChg chg="mod">
            <ac:chgData name="Falcão Lacerda, Rafael" userId="40181ff7-4694-4c53-a944-7b7d63582359" providerId="ADAL" clId="{3B4D5F63-EA56-4616-8A78-0C43AB7049E7}" dt="2025-12-08T00:26:32.107" v="2886"/>
            <ac:spMkLst>
              <pc:docMk/>
              <pc:sldMasterMk cId="2457110672" sldId="2147483709"/>
              <pc:sldLayoutMk cId="145317648" sldId="2147483878"/>
              <ac:spMk id="18" creationId="{270E8484-BCCD-6724-FC4D-BC84FAAE73CC}"/>
            </ac:spMkLst>
          </pc:spChg>
          <pc:spChg chg="mod">
            <ac:chgData name="Falcão Lacerda, Rafael" userId="40181ff7-4694-4c53-a944-7b7d63582359" providerId="ADAL" clId="{3B4D5F63-EA56-4616-8A78-0C43AB7049E7}" dt="2025-12-08T00:26:32.121" v="2888"/>
            <ac:spMkLst>
              <pc:docMk/>
              <pc:sldMasterMk cId="2457110672" sldId="2147483709"/>
              <pc:sldLayoutMk cId="145317648" sldId="2147483878"/>
              <ac:spMk id="19" creationId="{0F859FF9-60D5-2DBD-4D3D-49BD3A4EC22C}"/>
            </ac:spMkLst>
          </pc:spChg>
          <pc:spChg chg="mod">
            <ac:chgData name="Falcão Lacerda, Rafael" userId="40181ff7-4694-4c53-a944-7b7d63582359" providerId="ADAL" clId="{3B4D5F63-EA56-4616-8A78-0C43AB7049E7}" dt="2025-12-08T00:26:32.122" v="2890"/>
            <ac:spMkLst>
              <pc:docMk/>
              <pc:sldMasterMk cId="2457110672" sldId="2147483709"/>
              <pc:sldLayoutMk cId="145317648" sldId="2147483878"/>
              <ac:spMk id="20" creationId="{698D04DC-A35C-18BC-A09D-06ED6125A3FF}"/>
            </ac:spMkLst>
          </pc:spChg>
          <pc:spChg chg="mod">
            <ac:chgData name="Falcão Lacerda, Rafael" userId="40181ff7-4694-4c53-a944-7b7d63582359" providerId="ADAL" clId="{3B4D5F63-EA56-4616-8A78-0C43AB7049E7}" dt="2025-12-08T00:26:32.138" v="2892"/>
            <ac:spMkLst>
              <pc:docMk/>
              <pc:sldMasterMk cId="2457110672" sldId="2147483709"/>
              <pc:sldLayoutMk cId="145317648" sldId="2147483878"/>
              <ac:spMk id="25" creationId="{7AC48787-061F-65B7-CA0E-CA985E032C3F}"/>
            </ac:spMkLst>
          </pc:spChg>
          <pc:spChg chg="mod">
            <ac:chgData name="Falcão Lacerda, Rafael" userId="40181ff7-4694-4c53-a944-7b7d63582359" providerId="ADAL" clId="{3B4D5F63-EA56-4616-8A78-0C43AB7049E7}" dt="2025-12-08T00:26:32.138" v="2894"/>
            <ac:spMkLst>
              <pc:docMk/>
              <pc:sldMasterMk cId="2457110672" sldId="2147483709"/>
              <pc:sldLayoutMk cId="145317648" sldId="2147483878"/>
              <ac:spMk id="26" creationId="{40C38646-2C59-7604-F628-AACD4C03C391}"/>
            </ac:spMkLst>
          </pc:spChg>
          <pc:spChg chg="mod">
            <ac:chgData name="Falcão Lacerda, Rafael" userId="40181ff7-4694-4c53-a944-7b7d63582359" providerId="ADAL" clId="{3B4D5F63-EA56-4616-8A78-0C43AB7049E7}" dt="2025-12-08T00:26:32.153" v="2896"/>
            <ac:spMkLst>
              <pc:docMk/>
              <pc:sldMasterMk cId="2457110672" sldId="2147483709"/>
              <pc:sldLayoutMk cId="145317648" sldId="2147483878"/>
              <ac:spMk id="27" creationId="{08AF3CEC-3718-6D4C-CF1D-F7582BAC7136}"/>
            </ac:spMkLst>
          </pc:spChg>
          <pc:spChg chg="mod">
            <ac:chgData name="Falcão Lacerda, Rafael" userId="40181ff7-4694-4c53-a944-7b7d63582359" providerId="ADAL" clId="{3B4D5F63-EA56-4616-8A78-0C43AB7049E7}" dt="2025-12-08T00:26:32.153" v="2898"/>
            <ac:spMkLst>
              <pc:docMk/>
              <pc:sldMasterMk cId="2457110672" sldId="2147483709"/>
              <pc:sldLayoutMk cId="145317648" sldId="2147483878"/>
              <ac:spMk id="28" creationId="{9BE62818-1BA0-8973-B3E1-B2AA7A6835E1}"/>
            </ac:spMkLst>
          </pc:spChg>
          <pc:spChg chg="mod">
            <ac:chgData name="Falcão Lacerda, Rafael" userId="40181ff7-4694-4c53-a944-7b7d63582359" providerId="ADAL" clId="{3B4D5F63-EA56-4616-8A78-0C43AB7049E7}" dt="2025-12-08T00:26:32.169" v="2900"/>
            <ac:spMkLst>
              <pc:docMk/>
              <pc:sldMasterMk cId="2457110672" sldId="2147483709"/>
              <pc:sldLayoutMk cId="145317648" sldId="2147483878"/>
              <ac:spMk id="35" creationId="{11860888-916F-055D-8C9B-DC5AE56B0E7C}"/>
            </ac:spMkLst>
          </pc:spChg>
          <pc:spChg chg="mod">
            <ac:chgData name="Falcão Lacerda, Rafael" userId="40181ff7-4694-4c53-a944-7b7d63582359" providerId="ADAL" clId="{3B4D5F63-EA56-4616-8A78-0C43AB7049E7}" dt="2025-12-08T00:26:32.169" v="2902"/>
            <ac:spMkLst>
              <pc:docMk/>
              <pc:sldMasterMk cId="2457110672" sldId="2147483709"/>
              <pc:sldLayoutMk cId="145317648" sldId="2147483878"/>
              <ac:spMk id="36" creationId="{6C40C10B-9AA5-FB91-4468-195612A4AAB4}"/>
            </ac:spMkLst>
          </pc:spChg>
          <pc:spChg chg="mod">
            <ac:chgData name="Falcão Lacerda, Rafael" userId="40181ff7-4694-4c53-a944-7b7d63582359" providerId="ADAL" clId="{3B4D5F63-EA56-4616-8A78-0C43AB7049E7}" dt="2025-12-08T00:26:32.186" v="2904"/>
            <ac:spMkLst>
              <pc:docMk/>
              <pc:sldMasterMk cId="2457110672" sldId="2147483709"/>
              <pc:sldLayoutMk cId="145317648" sldId="2147483878"/>
              <ac:spMk id="37" creationId="{E87FBBF5-4C4B-2BA9-7671-182C65D1DBA6}"/>
            </ac:spMkLst>
          </pc:spChg>
          <pc:spChg chg="mod">
            <ac:chgData name="Falcão Lacerda, Rafael" userId="40181ff7-4694-4c53-a944-7b7d63582359" providerId="ADAL" clId="{3B4D5F63-EA56-4616-8A78-0C43AB7049E7}" dt="2025-12-08T00:26:32.195" v="2906"/>
            <ac:spMkLst>
              <pc:docMk/>
              <pc:sldMasterMk cId="2457110672" sldId="2147483709"/>
              <pc:sldLayoutMk cId="145317648" sldId="2147483878"/>
              <ac:spMk id="38" creationId="{E3CD5EEB-45B3-CF04-96A5-62C5367B83CA}"/>
            </ac:spMkLst>
          </pc:spChg>
          <pc:graphicFrameChg chg="add mod ord modVis">
            <ac:chgData name="Falcão Lacerda, Rafael" userId="40181ff7-4694-4c53-a944-7b7d63582359" providerId="ADAL" clId="{3B4D5F63-EA56-4616-8A78-0C43AB7049E7}" dt="2025-12-08T00:26:49.606" v="9357"/>
            <ac:graphicFrameMkLst>
              <pc:docMk/>
              <pc:sldMasterMk cId="2457110672" sldId="2147483709"/>
              <pc:sldLayoutMk cId="145317648" sldId="2147483878"/>
              <ac:graphicFrameMk id="4" creationId="{227D9979-A410-3C22-BF0A-C5ED7EAEBD1C}"/>
            </ac:graphicFrameMkLst>
          </pc:graphicFrameChg>
        </pc:sldLayoutChg>
        <pc:sldLayoutChg chg="addSp delSp modSp mod">
          <pc:chgData name="Falcão Lacerda, Rafael" userId="40181ff7-4694-4c53-a944-7b7d63582359" providerId="ADAL" clId="{3B4D5F63-EA56-4616-8A78-0C43AB7049E7}" dt="2025-12-08T12:50:54.690" v="29940" actId="478"/>
          <pc:sldLayoutMkLst>
            <pc:docMk/>
            <pc:sldMasterMk cId="2457110672" sldId="2147483709"/>
            <pc:sldLayoutMk cId="3548074746" sldId="2147483879"/>
          </pc:sldLayoutMkLst>
          <pc:spChg chg="add del mod modVis">
            <ac:chgData name="Falcão Lacerda, Rafael" userId="40181ff7-4694-4c53-a944-7b7d63582359" providerId="ADAL" clId="{3B4D5F63-EA56-4616-8A78-0C43AB7049E7}" dt="2025-12-08T00:26:49.731" v="9391"/>
            <ac:spMkLst>
              <pc:docMk/>
              <pc:sldMasterMk cId="2457110672" sldId="2147483709"/>
              <pc:sldLayoutMk cId="3548074746" sldId="2147483879"/>
              <ac:spMk id="2" creationId="{9155CFA5-8A77-24CC-7744-9CF8CDC4E8A1}"/>
            </ac:spMkLst>
          </pc:spChg>
          <pc:spChg chg="add del mod">
            <ac:chgData name="Falcão Lacerda, Rafael" userId="40181ff7-4694-4c53-a944-7b7d63582359" providerId="ADAL" clId="{3B4D5F63-EA56-4616-8A78-0C43AB7049E7}" dt="2025-12-08T12:50:52.273" v="29938" actId="478"/>
            <ac:spMkLst>
              <pc:docMk/>
              <pc:sldMasterMk cId="2457110672" sldId="2147483709"/>
              <pc:sldLayoutMk cId="3548074746" sldId="2147483879"/>
              <ac:spMk id="4" creationId="{EE2B0D18-989A-55C1-EB89-6B84AE5C0616}"/>
            </ac:spMkLst>
          </pc:spChg>
          <pc:spChg chg="del mod">
            <ac:chgData name="Falcão Lacerda, Rafael" userId="40181ff7-4694-4c53-a944-7b7d63582359" providerId="ADAL" clId="{3B4D5F63-EA56-4616-8A78-0C43AB7049E7}" dt="2025-12-08T12:50:53.301" v="29939" actId="478"/>
            <ac:spMkLst>
              <pc:docMk/>
              <pc:sldMasterMk cId="2457110672" sldId="2147483709"/>
              <pc:sldLayoutMk cId="3548074746" sldId="2147483879"/>
              <ac:spMk id="5" creationId="{5B94EC14-19BD-4059-DC76-FAB415316C6A}"/>
            </ac:spMkLst>
          </pc:spChg>
          <pc:spChg chg="add del mod">
            <ac:chgData name="Falcão Lacerda, Rafael" userId="40181ff7-4694-4c53-a944-7b7d63582359" providerId="ADAL" clId="{3B4D5F63-EA56-4616-8A78-0C43AB7049E7}" dt="2025-12-08T12:50:54.690" v="29940" actId="478"/>
            <ac:spMkLst>
              <pc:docMk/>
              <pc:sldMasterMk cId="2457110672" sldId="2147483709"/>
              <pc:sldLayoutMk cId="3548074746" sldId="2147483879"/>
              <ac:spMk id="6" creationId="{C1506053-DCA0-33FA-DD1E-7F08544E36FC}"/>
            </ac:spMkLst>
          </pc:spChg>
          <pc:spChg chg="mod">
            <ac:chgData name="Falcão Lacerda, Rafael" userId="40181ff7-4694-4c53-a944-7b7d63582359" providerId="ADAL" clId="{3B4D5F63-EA56-4616-8A78-0C43AB7049E7}" dt="2025-12-08T00:26:43.405" v="6752" actId="948"/>
            <ac:spMkLst>
              <pc:docMk/>
              <pc:sldMasterMk cId="2457110672" sldId="2147483709"/>
              <pc:sldLayoutMk cId="3548074746" sldId="2147483879"/>
              <ac:spMk id="7" creationId="{A7088337-B770-9033-B18E-F20E290B6743}"/>
            </ac:spMkLst>
          </pc:spChg>
          <pc:spChg chg="mod">
            <ac:chgData name="Falcão Lacerda, Rafael" userId="40181ff7-4694-4c53-a944-7b7d63582359" providerId="ADAL" clId="{3B4D5F63-EA56-4616-8A78-0C43AB7049E7}" dt="2025-12-08T00:26:32.248" v="2920"/>
            <ac:spMkLst>
              <pc:docMk/>
              <pc:sldMasterMk cId="2457110672" sldId="2147483709"/>
              <pc:sldLayoutMk cId="3548074746" sldId="2147483879"/>
              <ac:spMk id="20" creationId="{B399DA3F-4572-D252-06D8-F77FDA3E4F31}"/>
            </ac:spMkLst>
          </pc:spChg>
          <pc:spChg chg="mod">
            <ac:chgData name="Falcão Lacerda, Rafael" userId="40181ff7-4694-4c53-a944-7b7d63582359" providerId="ADAL" clId="{3B4D5F63-EA56-4616-8A78-0C43AB7049E7}" dt="2025-12-08T00:26:32.248" v="2922"/>
            <ac:spMkLst>
              <pc:docMk/>
              <pc:sldMasterMk cId="2457110672" sldId="2147483709"/>
              <pc:sldLayoutMk cId="3548074746" sldId="2147483879"/>
              <ac:spMk id="21" creationId="{6325E3FE-E322-E468-99F4-AB54161673A1}"/>
            </ac:spMkLst>
          </pc:spChg>
          <pc:spChg chg="mod">
            <ac:chgData name="Falcão Lacerda, Rafael" userId="40181ff7-4694-4c53-a944-7b7d63582359" providerId="ADAL" clId="{3B4D5F63-EA56-4616-8A78-0C43AB7049E7}" dt="2025-12-08T00:26:32.264" v="2924"/>
            <ac:spMkLst>
              <pc:docMk/>
              <pc:sldMasterMk cId="2457110672" sldId="2147483709"/>
              <pc:sldLayoutMk cId="3548074746" sldId="2147483879"/>
              <ac:spMk id="22" creationId="{05F341DC-1615-BF26-3E11-E7C93BBCA3BD}"/>
            </ac:spMkLst>
          </pc:spChg>
          <pc:spChg chg="mod">
            <ac:chgData name="Falcão Lacerda, Rafael" userId="40181ff7-4694-4c53-a944-7b7d63582359" providerId="ADAL" clId="{3B4D5F63-EA56-4616-8A78-0C43AB7049E7}" dt="2025-12-08T00:26:32.270" v="2926"/>
            <ac:spMkLst>
              <pc:docMk/>
              <pc:sldMasterMk cId="2457110672" sldId="2147483709"/>
              <pc:sldLayoutMk cId="3548074746" sldId="2147483879"/>
              <ac:spMk id="23" creationId="{346A6073-19DD-BFEA-265B-416448C27FF5}"/>
            </ac:spMkLst>
          </pc:spChg>
          <pc:spChg chg="mod">
            <ac:chgData name="Falcão Lacerda, Rafael" userId="40181ff7-4694-4c53-a944-7b7d63582359" providerId="ADAL" clId="{3B4D5F63-EA56-4616-8A78-0C43AB7049E7}" dt="2025-12-08T00:26:32.279" v="2928"/>
            <ac:spMkLst>
              <pc:docMk/>
              <pc:sldMasterMk cId="2457110672" sldId="2147483709"/>
              <pc:sldLayoutMk cId="3548074746" sldId="2147483879"/>
              <ac:spMk id="24" creationId="{CC817BB1-741A-B4D2-8998-7808F772A725}"/>
            </ac:spMkLst>
          </pc:spChg>
          <pc:spChg chg="mod">
            <ac:chgData name="Falcão Lacerda, Rafael" userId="40181ff7-4694-4c53-a944-7b7d63582359" providerId="ADAL" clId="{3B4D5F63-EA56-4616-8A78-0C43AB7049E7}" dt="2025-12-08T00:26:32.279" v="2930"/>
            <ac:spMkLst>
              <pc:docMk/>
              <pc:sldMasterMk cId="2457110672" sldId="2147483709"/>
              <pc:sldLayoutMk cId="3548074746" sldId="2147483879"/>
              <ac:spMk id="25" creationId="{81E65BC6-F788-3A86-EAB2-5E9C6AA562A6}"/>
            </ac:spMkLst>
          </pc:spChg>
          <pc:spChg chg="mod">
            <ac:chgData name="Falcão Lacerda, Rafael" userId="40181ff7-4694-4c53-a944-7b7d63582359" providerId="ADAL" clId="{3B4D5F63-EA56-4616-8A78-0C43AB7049E7}" dt="2025-12-08T00:26:32.295" v="2932"/>
            <ac:spMkLst>
              <pc:docMk/>
              <pc:sldMasterMk cId="2457110672" sldId="2147483709"/>
              <pc:sldLayoutMk cId="3548074746" sldId="2147483879"/>
              <ac:spMk id="26" creationId="{78A59011-034B-A4E1-6C3C-7B8CC2C9083E}"/>
            </ac:spMkLst>
          </pc:spChg>
          <pc:spChg chg="mod">
            <ac:chgData name="Falcão Lacerda, Rafael" userId="40181ff7-4694-4c53-a944-7b7d63582359" providerId="ADAL" clId="{3B4D5F63-EA56-4616-8A78-0C43AB7049E7}" dt="2025-12-08T00:26:32.295" v="2934"/>
            <ac:spMkLst>
              <pc:docMk/>
              <pc:sldMasterMk cId="2457110672" sldId="2147483709"/>
              <pc:sldLayoutMk cId="3548074746" sldId="2147483879"/>
              <ac:spMk id="27" creationId="{2995DA47-C5B7-57CE-BB2F-D8DF22C66EEB}"/>
            </ac:spMkLst>
          </pc:spChg>
          <pc:spChg chg="mod">
            <ac:chgData name="Falcão Lacerda, Rafael" userId="40181ff7-4694-4c53-a944-7b7d63582359" providerId="ADAL" clId="{3B4D5F63-EA56-4616-8A78-0C43AB7049E7}" dt="2025-12-08T00:26:32.295" v="2936"/>
            <ac:spMkLst>
              <pc:docMk/>
              <pc:sldMasterMk cId="2457110672" sldId="2147483709"/>
              <pc:sldLayoutMk cId="3548074746" sldId="2147483879"/>
              <ac:spMk id="28" creationId="{3791AE70-D198-977B-3194-D99863B9AF2E}"/>
            </ac:spMkLst>
          </pc:spChg>
          <pc:spChg chg="mod">
            <ac:chgData name="Falcão Lacerda, Rafael" userId="40181ff7-4694-4c53-a944-7b7d63582359" providerId="ADAL" clId="{3B4D5F63-EA56-4616-8A78-0C43AB7049E7}" dt="2025-12-08T00:26:32.311" v="2938"/>
            <ac:spMkLst>
              <pc:docMk/>
              <pc:sldMasterMk cId="2457110672" sldId="2147483709"/>
              <pc:sldLayoutMk cId="3548074746" sldId="2147483879"/>
              <ac:spMk id="29" creationId="{55334FA3-2E0A-0615-2560-B2DC41B4690C}"/>
            </ac:spMkLst>
          </pc:spChg>
          <pc:spChg chg="mod">
            <ac:chgData name="Falcão Lacerda, Rafael" userId="40181ff7-4694-4c53-a944-7b7d63582359" providerId="ADAL" clId="{3B4D5F63-EA56-4616-8A78-0C43AB7049E7}" dt="2025-12-08T00:26:32.311" v="2940"/>
            <ac:spMkLst>
              <pc:docMk/>
              <pc:sldMasterMk cId="2457110672" sldId="2147483709"/>
              <pc:sldLayoutMk cId="3548074746" sldId="2147483879"/>
              <ac:spMk id="30" creationId="{5F5DE397-D6A0-D7D6-85BF-7FE7AFED826E}"/>
            </ac:spMkLst>
          </pc:spChg>
          <pc:spChg chg="mod">
            <ac:chgData name="Falcão Lacerda, Rafael" userId="40181ff7-4694-4c53-a944-7b7d63582359" providerId="ADAL" clId="{3B4D5F63-EA56-4616-8A78-0C43AB7049E7}" dt="2025-12-08T00:26:32.327" v="2942"/>
            <ac:spMkLst>
              <pc:docMk/>
              <pc:sldMasterMk cId="2457110672" sldId="2147483709"/>
              <pc:sldLayoutMk cId="3548074746" sldId="2147483879"/>
              <ac:spMk id="31" creationId="{E93286B5-3D1C-B060-1798-83F5D175BF03}"/>
            </ac:spMkLst>
          </pc:spChg>
          <pc:spChg chg="mod">
            <ac:chgData name="Falcão Lacerda, Rafael" userId="40181ff7-4694-4c53-a944-7b7d63582359" providerId="ADAL" clId="{3B4D5F63-EA56-4616-8A78-0C43AB7049E7}" dt="2025-12-08T00:26:32.327" v="2944"/>
            <ac:spMkLst>
              <pc:docMk/>
              <pc:sldMasterMk cId="2457110672" sldId="2147483709"/>
              <pc:sldLayoutMk cId="3548074746" sldId="2147483879"/>
              <ac:spMk id="32" creationId="{B84C73AF-390F-770C-CE5B-5193037C14B1}"/>
            </ac:spMkLst>
          </pc:spChg>
          <pc:spChg chg="mod">
            <ac:chgData name="Falcão Lacerda, Rafael" userId="40181ff7-4694-4c53-a944-7b7d63582359" providerId="ADAL" clId="{3B4D5F63-EA56-4616-8A78-0C43AB7049E7}" dt="2025-12-08T00:26:32.347" v="2946"/>
            <ac:spMkLst>
              <pc:docMk/>
              <pc:sldMasterMk cId="2457110672" sldId="2147483709"/>
              <pc:sldLayoutMk cId="3548074746" sldId="2147483879"/>
              <ac:spMk id="33" creationId="{C7D3162B-A725-7B11-308B-B829F919CAF0}"/>
            </ac:spMkLst>
          </pc:spChg>
          <pc:spChg chg="mod">
            <ac:chgData name="Falcão Lacerda, Rafael" userId="40181ff7-4694-4c53-a944-7b7d63582359" providerId="ADAL" clId="{3B4D5F63-EA56-4616-8A78-0C43AB7049E7}" dt="2025-12-08T00:26:32.359" v="2948"/>
            <ac:spMkLst>
              <pc:docMk/>
              <pc:sldMasterMk cId="2457110672" sldId="2147483709"/>
              <pc:sldLayoutMk cId="3548074746" sldId="2147483879"/>
              <ac:spMk id="34" creationId="{F1036F6C-1EB0-4671-DED0-7D383AB6A059}"/>
            </ac:spMkLst>
          </pc:spChg>
          <pc:spChg chg="mod">
            <ac:chgData name="Falcão Lacerda, Rafael" userId="40181ff7-4694-4c53-a944-7b7d63582359" providerId="ADAL" clId="{3B4D5F63-EA56-4616-8A78-0C43AB7049E7}" dt="2025-12-08T00:26:32.359" v="2950"/>
            <ac:spMkLst>
              <pc:docMk/>
              <pc:sldMasterMk cId="2457110672" sldId="2147483709"/>
              <pc:sldLayoutMk cId="3548074746" sldId="2147483879"/>
              <ac:spMk id="35" creationId="{0C635698-D554-679D-6A5E-E4E69ABF662E}"/>
            </ac:spMkLst>
          </pc:spChg>
          <pc:graphicFrameChg chg="add mod ord modVis">
            <ac:chgData name="Falcão Lacerda, Rafael" userId="40181ff7-4694-4c53-a944-7b7d63582359" providerId="ADAL" clId="{3B4D5F63-EA56-4616-8A78-0C43AB7049E7}" dt="2025-12-08T00:26:49.762" v="9405"/>
            <ac:graphicFrameMkLst>
              <pc:docMk/>
              <pc:sldMasterMk cId="2457110672" sldId="2147483709"/>
              <pc:sldLayoutMk cId="3548074746" sldId="2147483879"/>
              <ac:graphicFrameMk id="3" creationId="{B7C9F08A-8AA5-0EEC-4171-8E539BBF13A7}"/>
            </ac:graphicFrameMkLst>
          </pc:graphicFrameChg>
        </pc:sldLayoutChg>
        <pc:sldLayoutChg chg="addSp delSp modSp mod">
          <pc:chgData name="Falcão Lacerda, Rafael" userId="40181ff7-4694-4c53-a944-7b7d63582359" providerId="ADAL" clId="{3B4D5F63-EA56-4616-8A78-0C43AB7049E7}" dt="2025-12-08T12:47:29.615" v="29886" actId="478"/>
          <pc:sldLayoutMkLst>
            <pc:docMk/>
            <pc:sldMasterMk cId="2457110672" sldId="2147483709"/>
            <pc:sldLayoutMk cId="1892477570" sldId="2147483880"/>
          </pc:sldLayoutMkLst>
          <pc:spChg chg="mod">
            <ac:chgData name="Falcão Lacerda, Rafael" userId="40181ff7-4694-4c53-a944-7b7d63582359" providerId="ADAL" clId="{3B4D5F63-EA56-4616-8A78-0C43AB7049E7}" dt="2025-12-08T00:26:32.835" v="3060" actId="947"/>
            <ac:spMkLst>
              <pc:docMk/>
              <pc:sldMasterMk cId="2457110672" sldId="2147483709"/>
              <pc:sldLayoutMk cId="1892477570" sldId="2147483880"/>
              <ac:spMk id="2" creationId="{7CADDCEF-8841-4D73-EAEB-25E159BD364A}"/>
            </ac:spMkLst>
          </pc:spChg>
          <pc:spChg chg="del mod">
            <ac:chgData name="Falcão Lacerda, Rafael" userId="40181ff7-4694-4c53-a944-7b7d63582359" providerId="ADAL" clId="{3B4D5F63-EA56-4616-8A78-0C43AB7049E7}" dt="2025-12-08T12:47:29.615" v="29886" actId="478"/>
            <ac:spMkLst>
              <pc:docMk/>
              <pc:sldMasterMk cId="2457110672" sldId="2147483709"/>
              <pc:sldLayoutMk cId="1892477570" sldId="2147483880"/>
              <ac:spMk id="3" creationId="{CE15062E-1BE5-ECEF-BF47-4CDD412B3BA7}"/>
            </ac:spMkLst>
          </pc:spChg>
          <pc:spChg chg="add del mod modVis">
            <ac:chgData name="Falcão Lacerda, Rafael" userId="40181ff7-4694-4c53-a944-7b7d63582359" providerId="ADAL" clId="{3B4D5F63-EA56-4616-8A78-0C43AB7049E7}" dt="2025-12-08T00:26:50.212" v="9519"/>
            <ac:spMkLst>
              <pc:docMk/>
              <pc:sldMasterMk cId="2457110672" sldId="2147483709"/>
              <pc:sldLayoutMk cId="1892477570" sldId="2147483880"/>
              <ac:spMk id="4" creationId="{C8A4A8F1-EBE2-3BF5-C1BB-8B5AFC6700EA}"/>
            </ac:spMkLst>
          </pc:spChg>
          <pc:spChg chg="mod">
            <ac:chgData name="Falcão Lacerda, Rafael" userId="40181ff7-4694-4c53-a944-7b7d63582359" providerId="ADAL" clId="{3B4D5F63-EA56-4616-8A78-0C43AB7049E7}" dt="2025-12-08T00:26:43.816" v="6912" actId="948"/>
            <ac:spMkLst>
              <pc:docMk/>
              <pc:sldMasterMk cId="2457110672" sldId="2147483709"/>
              <pc:sldLayoutMk cId="1892477570" sldId="2147483880"/>
              <ac:spMk id="6" creationId="{9596D82E-71B7-FF51-B8E9-B259B21B69EB}"/>
            </ac:spMkLst>
          </pc:spChg>
          <pc:spChg chg="mod">
            <ac:chgData name="Falcão Lacerda, Rafael" userId="40181ff7-4694-4c53-a944-7b7d63582359" providerId="ADAL" clId="{3B4D5F63-EA56-4616-8A78-0C43AB7049E7}" dt="2025-12-08T00:26:32.867" v="3066"/>
            <ac:spMkLst>
              <pc:docMk/>
              <pc:sldMasterMk cId="2457110672" sldId="2147483709"/>
              <pc:sldLayoutMk cId="1892477570" sldId="2147483880"/>
              <ac:spMk id="15" creationId="{3269863B-5234-38BF-0D34-E538ACE4EA2B}"/>
            </ac:spMkLst>
          </pc:spChg>
          <pc:spChg chg="mod">
            <ac:chgData name="Falcão Lacerda, Rafael" userId="40181ff7-4694-4c53-a944-7b7d63582359" providerId="ADAL" clId="{3B4D5F63-EA56-4616-8A78-0C43AB7049E7}" dt="2025-12-08T00:26:32.851" v="3064"/>
            <ac:spMkLst>
              <pc:docMk/>
              <pc:sldMasterMk cId="2457110672" sldId="2147483709"/>
              <pc:sldLayoutMk cId="1892477570" sldId="2147483880"/>
              <ac:spMk id="16" creationId="{FAAE1576-C1B9-0E2B-83B0-F7C54B8589E8}"/>
            </ac:spMkLst>
          </pc:spChg>
          <pc:graphicFrameChg chg="add mod ord modVis">
            <ac:chgData name="Falcão Lacerda, Rafael" userId="40181ff7-4694-4c53-a944-7b7d63582359" providerId="ADAL" clId="{3B4D5F63-EA56-4616-8A78-0C43AB7049E7}" dt="2025-12-08T00:26:50.258" v="9533"/>
            <ac:graphicFrameMkLst>
              <pc:docMk/>
              <pc:sldMasterMk cId="2457110672" sldId="2147483709"/>
              <pc:sldLayoutMk cId="1892477570" sldId="2147483880"/>
              <ac:graphicFrameMk id="5" creationId="{D9A66011-F421-D8B9-30D3-BA7E7D5D8707}"/>
            </ac:graphicFrameMkLst>
          </pc:graphicFrameChg>
        </pc:sldLayoutChg>
        <pc:sldLayoutChg chg="addSp delSp modSp mod">
          <pc:chgData name="Falcão Lacerda, Rafael" userId="40181ff7-4694-4c53-a944-7b7d63582359" providerId="ADAL" clId="{3B4D5F63-EA56-4616-8A78-0C43AB7049E7}" dt="2025-12-08T00:26:48.981" v="9197"/>
          <pc:sldLayoutMkLst>
            <pc:docMk/>
            <pc:sldMasterMk cId="2457110672" sldId="2147483709"/>
            <pc:sldLayoutMk cId="3462864822" sldId="2147483882"/>
          </pc:sldLayoutMkLst>
          <pc:spChg chg="add del mod modVis">
            <ac:chgData name="Falcão Lacerda, Rafael" userId="40181ff7-4694-4c53-a944-7b7d63582359" providerId="ADAL" clId="{3B4D5F63-EA56-4616-8A78-0C43AB7049E7}" dt="2025-12-08T00:26:48.935" v="9183"/>
            <ac:spMkLst>
              <pc:docMk/>
              <pc:sldMasterMk cId="2457110672" sldId="2147483709"/>
              <pc:sldLayoutMk cId="3462864822" sldId="2147483882"/>
              <ac:spMk id="2" creationId="{7058850A-93C7-BBC3-AE58-DE66BF3EED83}"/>
            </ac:spMkLst>
          </pc:spChg>
          <pc:spChg chg="mod">
            <ac:chgData name="Falcão Lacerda, Rafael" userId="40181ff7-4694-4c53-a944-7b7d63582359" providerId="ADAL" clId="{3B4D5F63-EA56-4616-8A78-0C43AB7049E7}" dt="2025-12-08T00:26:31.224" v="2728"/>
            <ac:spMkLst>
              <pc:docMk/>
              <pc:sldMasterMk cId="2457110672" sldId="2147483709"/>
              <pc:sldLayoutMk cId="3462864822" sldId="2147483882"/>
              <ac:spMk id="3" creationId="{2823CF50-4615-0652-00EC-47F06086B36E}"/>
            </ac:spMkLst>
          </pc:spChg>
          <pc:spChg chg="mod">
            <ac:chgData name="Falcão Lacerda, Rafael" userId="40181ff7-4694-4c53-a944-7b7d63582359" providerId="ADAL" clId="{3B4D5F63-EA56-4616-8A78-0C43AB7049E7}" dt="2025-12-08T00:26:42.715" v="6492" actId="948"/>
            <ac:spMkLst>
              <pc:docMk/>
              <pc:sldMasterMk cId="2457110672" sldId="2147483709"/>
              <pc:sldLayoutMk cId="3462864822" sldId="2147483882"/>
              <ac:spMk id="7" creationId="{1F18E800-DE3F-7813-356B-5ABD491337A5}"/>
            </ac:spMkLst>
          </pc:spChg>
          <pc:spChg chg="mod">
            <ac:chgData name="Falcão Lacerda, Rafael" userId="40181ff7-4694-4c53-a944-7b7d63582359" providerId="ADAL" clId="{3B4D5F63-EA56-4616-8A78-0C43AB7049E7}" dt="2025-12-08T00:26:31.207" v="2724"/>
            <ac:spMkLst>
              <pc:docMk/>
              <pc:sldMasterMk cId="2457110672" sldId="2147483709"/>
              <pc:sldLayoutMk cId="3462864822" sldId="2147483882"/>
              <ac:spMk id="11" creationId="{C1C7CFCC-2C79-7017-C82B-A74A23285174}"/>
            </ac:spMkLst>
          </pc:spChg>
          <pc:spChg chg="mod">
            <ac:chgData name="Falcão Lacerda, Rafael" userId="40181ff7-4694-4c53-a944-7b7d63582359" providerId="ADAL" clId="{3B4D5F63-EA56-4616-8A78-0C43AB7049E7}" dt="2025-12-08T00:26:31.224" v="2726"/>
            <ac:spMkLst>
              <pc:docMk/>
              <pc:sldMasterMk cId="2457110672" sldId="2147483709"/>
              <pc:sldLayoutMk cId="3462864822" sldId="2147483882"/>
              <ac:spMk id="12" creationId="{A631764B-7AB2-0534-6571-AAD04310DAF4}"/>
            </ac:spMkLst>
          </pc:spChg>
          <pc:graphicFrameChg chg="add mod ord modVis">
            <ac:chgData name="Falcão Lacerda, Rafael" userId="40181ff7-4694-4c53-a944-7b7d63582359" providerId="ADAL" clId="{3B4D5F63-EA56-4616-8A78-0C43AB7049E7}" dt="2025-12-08T00:26:48.981" v="9197"/>
            <ac:graphicFrameMkLst>
              <pc:docMk/>
              <pc:sldMasterMk cId="2457110672" sldId="2147483709"/>
              <pc:sldLayoutMk cId="3462864822" sldId="2147483882"/>
              <ac:graphicFrameMk id="4" creationId="{77C7A36F-53EB-E787-47BA-E7A0102AFCF3}"/>
            </ac:graphicFrameMkLst>
          </pc:graphicFrameChg>
        </pc:sldLayoutChg>
        <pc:sldLayoutChg chg="addSp delSp modSp mod">
          <pc:chgData name="Falcão Lacerda, Rafael" userId="40181ff7-4694-4c53-a944-7b7d63582359" providerId="ADAL" clId="{3B4D5F63-EA56-4616-8A78-0C43AB7049E7}" dt="2025-12-08T00:26:49.990" v="9469"/>
          <pc:sldLayoutMkLst>
            <pc:docMk/>
            <pc:sldMasterMk cId="2457110672" sldId="2147483709"/>
            <pc:sldLayoutMk cId="2925679546" sldId="2147483883"/>
          </pc:sldLayoutMkLst>
          <pc:spChg chg="mod">
            <ac:chgData name="Falcão Lacerda, Rafael" userId="40181ff7-4694-4c53-a944-7b7d63582359" providerId="ADAL" clId="{3B4D5F63-EA56-4616-8A78-0C43AB7049E7}" dt="2025-12-08T00:26:43.592" v="6832" actId="948"/>
            <ac:spMkLst>
              <pc:docMk/>
              <pc:sldMasterMk cId="2457110672" sldId="2147483709"/>
              <pc:sldLayoutMk cId="2925679546" sldId="2147483883"/>
              <ac:spMk id="2" creationId="{1A550722-1BF3-D08F-D5F2-F357EE4FD5A8}"/>
            </ac:spMkLst>
          </pc:spChg>
          <pc:spChg chg="add del mod modVis">
            <ac:chgData name="Falcão Lacerda, Rafael" userId="40181ff7-4694-4c53-a944-7b7d63582359" providerId="ADAL" clId="{3B4D5F63-EA56-4616-8A78-0C43AB7049E7}" dt="2025-12-08T00:26:49.952" v="9455"/>
            <ac:spMkLst>
              <pc:docMk/>
              <pc:sldMasterMk cId="2457110672" sldId="2147483709"/>
              <pc:sldLayoutMk cId="2925679546" sldId="2147483883"/>
              <ac:spMk id="3" creationId="{9C9A297E-74E7-17DA-AE00-2246AEE8665D}"/>
            </ac:spMkLst>
          </pc:spChg>
          <pc:spChg chg="mod">
            <ac:chgData name="Falcão Lacerda, Rafael" userId="40181ff7-4694-4c53-a944-7b7d63582359" providerId="ADAL" clId="{3B4D5F63-EA56-4616-8A78-0C43AB7049E7}" dt="2025-12-08T00:26:32.550" v="2994"/>
            <ac:spMkLst>
              <pc:docMk/>
              <pc:sldMasterMk cId="2457110672" sldId="2147483709"/>
              <pc:sldLayoutMk cId="2925679546" sldId="2147483883"/>
              <ac:spMk id="5" creationId="{85F087B1-CDA4-427D-C33A-06F752C0B04F}"/>
            </ac:spMkLst>
          </pc:spChg>
          <pc:graphicFrameChg chg="add mod ord modVis">
            <ac:chgData name="Falcão Lacerda, Rafael" userId="40181ff7-4694-4c53-a944-7b7d63582359" providerId="ADAL" clId="{3B4D5F63-EA56-4616-8A78-0C43AB7049E7}" dt="2025-12-08T00:26:49.990" v="9469"/>
            <ac:graphicFrameMkLst>
              <pc:docMk/>
              <pc:sldMasterMk cId="2457110672" sldId="2147483709"/>
              <pc:sldLayoutMk cId="2925679546" sldId="2147483883"/>
              <ac:graphicFrameMk id="4" creationId="{6B7689AF-3D48-C0B3-0C11-EE6FFC063B52}"/>
            </ac:graphicFrameMkLst>
          </pc:graphicFrameChg>
        </pc:sldLayoutChg>
        <pc:sldLayoutChg chg="addSp delSp modSp mod">
          <pc:chgData name="Falcão Lacerda, Rafael" userId="40181ff7-4694-4c53-a944-7b7d63582359" providerId="ADAL" clId="{3B4D5F63-EA56-4616-8A78-0C43AB7049E7}" dt="2025-12-08T12:49:34.175" v="29921" actId="478"/>
          <pc:sldLayoutMkLst>
            <pc:docMk/>
            <pc:sldMasterMk cId="2457110672" sldId="2147483709"/>
            <pc:sldLayoutMk cId="2184675223" sldId="2147483890"/>
          </pc:sldLayoutMkLst>
          <pc:spChg chg="add del mod modVis">
            <ac:chgData name="Falcão Lacerda, Rafael" userId="40181ff7-4694-4c53-a944-7b7d63582359" providerId="ADAL" clId="{3B4D5F63-EA56-4616-8A78-0C43AB7049E7}" dt="2025-12-08T00:26:48.543" v="9071"/>
            <ac:spMkLst>
              <pc:docMk/>
              <pc:sldMasterMk cId="2457110672" sldId="2147483709"/>
              <pc:sldLayoutMk cId="2184675223" sldId="2147483890"/>
              <ac:spMk id="3" creationId="{A5911E2E-FBCC-1DF0-9516-CB0C6F736235}"/>
            </ac:spMkLst>
          </pc:spChg>
          <pc:spChg chg="mod">
            <ac:chgData name="Falcão Lacerda, Rafael" userId="40181ff7-4694-4c53-a944-7b7d63582359" providerId="ADAL" clId="{3B4D5F63-EA56-4616-8A78-0C43AB7049E7}" dt="2025-12-08T00:26:42.275" v="6352" actId="948"/>
            <ac:spMkLst>
              <pc:docMk/>
              <pc:sldMasterMk cId="2457110672" sldId="2147483709"/>
              <pc:sldLayoutMk cId="2184675223" sldId="2147483890"/>
              <ac:spMk id="8" creationId="{131B3895-321B-8CAC-83C2-50F886A2CDA3}"/>
            </ac:spMkLst>
          </pc:spChg>
          <pc:spChg chg="mod">
            <ac:chgData name="Falcão Lacerda, Rafael" userId="40181ff7-4694-4c53-a944-7b7d63582359" providerId="ADAL" clId="{3B4D5F63-EA56-4616-8A78-0C43AB7049E7}" dt="2025-12-08T00:26:30.349" v="2582"/>
            <ac:spMkLst>
              <pc:docMk/>
              <pc:sldMasterMk cId="2457110672" sldId="2147483709"/>
              <pc:sldLayoutMk cId="2184675223" sldId="2147483890"/>
              <ac:spMk id="9" creationId="{79424AF0-EE9F-A1A8-B5A5-CF437B9F5DBA}"/>
            </ac:spMkLst>
          </pc:spChg>
          <pc:spChg chg="mod">
            <ac:chgData name="Falcão Lacerda, Rafael" userId="40181ff7-4694-4c53-a944-7b7d63582359" providerId="ADAL" clId="{3B4D5F63-EA56-4616-8A78-0C43AB7049E7}" dt="2025-12-08T00:26:30.349" v="2584"/>
            <ac:spMkLst>
              <pc:docMk/>
              <pc:sldMasterMk cId="2457110672" sldId="2147483709"/>
              <pc:sldLayoutMk cId="2184675223" sldId="2147483890"/>
              <ac:spMk id="11" creationId="{349A45E5-70FE-79EB-8E7A-1A2061B62B79}"/>
            </ac:spMkLst>
          </pc:spChg>
          <pc:spChg chg="mod">
            <ac:chgData name="Falcão Lacerda, Rafael" userId="40181ff7-4694-4c53-a944-7b7d63582359" providerId="ADAL" clId="{3B4D5F63-EA56-4616-8A78-0C43AB7049E7}" dt="2025-12-08T00:26:30.368" v="2586"/>
            <ac:spMkLst>
              <pc:docMk/>
              <pc:sldMasterMk cId="2457110672" sldId="2147483709"/>
              <pc:sldLayoutMk cId="2184675223" sldId="2147483890"/>
              <ac:spMk id="22" creationId="{57A6BE55-E9EF-68A2-0448-87EF125B2BE9}"/>
            </ac:spMkLst>
          </pc:spChg>
          <pc:graphicFrameChg chg="add mod ord modVis">
            <ac:chgData name="Falcão Lacerda, Rafael" userId="40181ff7-4694-4c53-a944-7b7d63582359" providerId="ADAL" clId="{3B4D5F63-EA56-4616-8A78-0C43AB7049E7}" dt="2025-12-08T00:26:48.601" v="9085"/>
            <ac:graphicFrameMkLst>
              <pc:docMk/>
              <pc:sldMasterMk cId="2457110672" sldId="2147483709"/>
              <pc:sldLayoutMk cId="2184675223" sldId="2147483890"/>
              <ac:graphicFrameMk id="4" creationId="{5D286A12-7D6E-F726-9E09-5FB31C125013}"/>
            </ac:graphicFrameMkLst>
          </pc:graphicFrameChg>
          <pc:picChg chg="del">
            <ac:chgData name="Falcão Lacerda, Rafael" userId="40181ff7-4694-4c53-a944-7b7d63582359" providerId="ADAL" clId="{3B4D5F63-EA56-4616-8A78-0C43AB7049E7}" dt="2025-12-08T12:49:34.175" v="29921" actId="478"/>
            <ac:picMkLst>
              <pc:docMk/>
              <pc:sldMasterMk cId="2457110672" sldId="2147483709"/>
              <pc:sldLayoutMk cId="2184675223" sldId="2147483890"/>
              <ac:picMk id="2" creationId="{B93529DF-12F1-3D03-117A-86D7C5AD9A10}"/>
            </ac:picMkLst>
          </pc:picChg>
        </pc:sldLayoutChg>
        <pc:sldLayoutChg chg="addSp delSp modSp mod">
          <pc:chgData name="Falcão Lacerda, Rafael" userId="40181ff7-4694-4c53-a944-7b7d63582359" providerId="ADAL" clId="{3B4D5F63-EA56-4616-8A78-0C43AB7049E7}" dt="2025-12-08T12:49:40.811" v="29923" actId="478"/>
          <pc:sldLayoutMkLst>
            <pc:docMk/>
            <pc:sldMasterMk cId="2457110672" sldId="2147483709"/>
            <pc:sldLayoutMk cId="3995038853" sldId="2147483893"/>
          </pc:sldLayoutMkLst>
          <pc:spChg chg="mod">
            <ac:chgData name="Falcão Lacerda, Rafael" userId="40181ff7-4694-4c53-a944-7b7d63582359" providerId="ADAL" clId="{3B4D5F63-EA56-4616-8A78-0C43AB7049E7}" dt="2025-12-08T00:26:42.330" v="6372" actId="948"/>
            <ac:spMkLst>
              <pc:docMk/>
              <pc:sldMasterMk cId="2457110672" sldId="2147483709"/>
              <pc:sldLayoutMk cId="3995038853" sldId="2147483893"/>
              <ac:spMk id="3" creationId="{2878D30E-951E-72C4-5535-66637753BE55}"/>
            </ac:spMkLst>
          </pc:spChg>
          <pc:spChg chg="mod">
            <ac:chgData name="Falcão Lacerda, Rafael" userId="40181ff7-4694-4c53-a944-7b7d63582359" providerId="ADAL" clId="{3B4D5F63-EA56-4616-8A78-0C43AB7049E7}" dt="2025-12-08T00:26:30.385" v="2590"/>
            <ac:spMkLst>
              <pc:docMk/>
              <pc:sldMasterMk cId="2457110672" sldId="2147483709"/>
              <pc:sldLayoutMk cId="3995038853" sldId="2147483893"/>
              <ac:spMk id="4" creationId="{5775FD5F-4D58-7741-C57A-08997F3E1DD6}"/>
            </ac:spMkLst>
          </pc:spChg>
          <pc:spChg chg="mod">
            <ac:chgData name="Falcão Lacerda, Rafael" userId="40181ff7-4694-4c53-a944-7b7d63582359" providerId="ADAL" clId="{3B4D5F63-EA56-4616-8A78-0C43AB7049E7}" dt="2025-12-08T00:26:30.396" v="2594"/>
            <ac:spMkLst>
              <pc:docMk/>
              <pc:sldMasterMk cId="2457110672" sldId="2147483709"/>
              <pc:sldLayoutMk cId="3995038853" sldId="2147483893"/>
              <ac:spMk id="5" creationId="{D266AB3E-F8D9-4648-CDC8-BDA8246735A6}"/>
            </ac:spMkLst>
          </pc:spChg>
          <pc:spChg chg="mod">
            <ac:chgData name="Falcão Lacerda, Rafael" userId="40181ff7-4694-4c53-a944-7b7d63582359" providerId="ADAL" clId="{3B4D5F63-EA56-4616-8A78-0C43AB7049E7}" dt="2025-12-08T00:26:30.396" v="2592"/>
            <ac:spMkLst>
              <pc:docMk/>
              <pc:sldMasterMk cId="2457110672" sldId="2147483709"/>
              <pc:sldLayoutMk cId="3995038853" sldId="2147483893"/>
              <ac:spMk id="6" creationId="{EA105FD1-CA09-BDBB-C408-AB40400DB336}"/>
            </ac:spMkLst>
          </pc:spChg>
          <pc:spChg chg="add del mod modVis">
            <ac:chgData name="Falcão Lacerda, Rafael" userId="40181ff7-4694-4c53-a944-7b7d63582359" providerId="ADAL" clId="{3B4D5F63-EA56-4616-8A78-0C43AB7049E7}" dt="2025-12-08T00:26:48.607" v="9087"/>
            <ac:spMkLst>
              <pc:docMk/>
              <pc:sldMasterMk cId="2457110672" sldId="2147483709"/>
              <pc:sldLayoutMk cId="3995038853" sldId="2147483893"/>
              <ac:spMk id="9" creationId="{4B9714F1-4645-6A3C-2092-3CD1B81C5512}"/>
            </ac:spMkLst>
          </pc:spChg>
          <pc:graphicFrameChg chg="add mod ord modVis">
            <ac:chgData name="Falcão Lacerda, Rafael" userId="40181ff7-4694-4c53-a944-7b7d63582359" providerId="ADAL" clId="{3B4D5F63-EA56-4616-8A78-0C43AB7049E7}" dt="2025-12-08T00:26:48.668" v="9101"/>
            <ac:graphicFrameMkLst>
              <pc:docMk/>
              <pc:sldMasterMk cId="2457110672" sldId="2147483709"/>
              <pc:sldLayoutMk cId="3995038853" sldId="2147483893"/>
              <ac:graphicFrameMk id="10" creationId="{53F70233-1F9B-6217-A719-D23575F29ABC}"/>
            </ac:graphicFrameMkLst>
          </pc:graphicFrameChg>
          <pc:picChg chg="del">
            <ac:chgData name="Falcão Lacerda, Rafael" userId="40181ff7-4694-4c53-a944-7b7d63582359" providerId="ADAL" clId="{3B4D5F63-EA56-4616-8A78-0C43AB7049E7}" dt="2025-12-08T12:49:38.697" v="29922" actId="478"/>
            <ac:picMkLst>
              <pc:docMk/>
              <pc:sldMasterMk cId="2457110672" sldId="2147483709"/>
              <pc:sldLayoutMk cId="3995038853" sldId="2147483893"/>
              <ac:picMk id="7" creationId="{145CAD81-7743-A093-B6F5-E98233328E56}"/>
            </ac:picMkLst>
          </pc:picChg>
          <pc:picChg chg="del">
            <ac:chgData name="Falcão Lacerda, Rafael" userId="40181ff7-4694-4c53-a944-7b7d63582359" providerId="ADAL" clId="{3B4D5F63-EA56-4616-8A78-0C43AB7049E7}" dt="2025-12-08T12:49:40.811" v="29923" actId="478"/>
            <ac:picMkLst>
              <pc:docMk/>
              <pc:sldMasterMk cId="2457110672" sldId="2147483709"/>
              <pc:sldLayoutMk cId="3995038853" sldId="2147483893"/>
              <ac:picMk id="8" creationId="{BAE43744-0C39-A052-7487-659CA9C80BAB}"/>
            </ac:picMkLst>
          </pc:picChg>
        </pc:sldLayoutChg>
        <pc:sldLayoutChg chg="addSp delSp modSp mod">
          <pc:chgData name="Falcão Lacerda, Rafael" userId="40181ff7-4694-4c53-a944-7b7d63582359" providerId="ADAL" clId="{3B4D5F63-EA56-4616-8A78-0C43AB7049E7}" dt="2025-12-08T12:49:53.042" v="29925" actId="478"/>
          <pc:sldLayoutMkLst>
            <pc:docMk/>
            <pc:sldMasterMk cId="2457110672" sldId="2147483709"/>
            <pc:sldLayoutMk cId="3050888403" sldId="2147483897"/>
          </pc:sldLayoutMkLst>
          <pc:spChg chg="mod">
            <ac:chgData name="Falcão Lacerda, Rafael" userId="40181ff7-4694-4c53-a944-7b7d63582359" providerId="ADAL" clId="{3B4D5F63-EA56-4616-8A78-0C43AB7049E7}" dt="2025-12-08T00:26:31.805" v="2810"/>
            <ac:spMkLst>
              <pc:docMk/>
              <pc:sldMasterMk cId="2457110672" sldId="2147483709"/>
              <pc:sldLayoutMk cId="3050888403" sldId="2147483897"/>
              <ac:spMk id="3" creationId="{C5FB3CF4-DD64-BD63-23C6-97F8FC097FD4}"/>
            </ac:spMkLst>
          </pc:spChg>
          <pc:spChg chg="add del mod modVis">
            <ac:chgData name="Falcão Lacerda, Rafael" userId="40181ff7-4694-4c53-a944-7b7d63582359" providerId="ADAL" clId="{3B4D5F63-EA56-4616-8A78-0C43AB7049E7}" dt="2025-12-08T00:26:49.033" v="9215"/>
            <ac:spMkLst>
              <pc:docMk/>
              <pc:sldMasterMk cId="2457110672" sldId="2147483709"/>
              <pc:sldLayoutMk cId="3050888403" sldId="2147483897"/>
              <ac:spMk id="5" creationId="{4CCEDDDD-A396-F832-6687-F4D03488E297}"/>
            </ac:spMkLst>
          </pc:spChg>
          <pc:spChg chg="mod">
            <ac:chgData name="Falcão Lacerda, Rafael" userId="40181ff7-4694-4c53-a944-7b7d63582359" providerId="ADAL" clId="{3B4D5F63-EA56-4616-8A78-0C43AB7049E7}" dt="2025-12-08T00:26:31.821" v="2814"/>
            <ac:spMkLst>
              <pc:docMk/>
              <pc:sldMasterMk cId="2457110672" sldId="2147483709"/>
              <pc:sldLayoutMk cId="3050888403" sldId="2147483897"/>
              <ac:spMk id="6" creationId="{36794D19-B699-311B-25DD-C0D60FC7889B}"/>
            </ac:spMkLst>
          </pc:spChg>
          <pc:spChg chg="mod">
            <ac:chgData name="Falcão Lacerda, Rafael" userId="40181ff7-4694-4c53-a944-7b7d63582359" providerId="ADAL" clId="{3B4D5F63-EA56-4616-8A78-0C43AB7049E7}" dt="2025-12-08T00:26:31.815" v="2812"/>
            <ac:spMkLst>
              <pc:docMk/>
              <pc:sldMasterMk cId="2457110672" sldId="2147483709"/>
              <pc:sldLayoutMk cId="3050888403" sldId="2147483897"/>
              <ac:spMk id="9" creationId="{EF8263C3-A1F7-3492-0FC4-3EB7054D3058}"/>
            </ac:spMkLst>
          </pc:spChg>
          <pc:spChg chg="mod">
            <ac:chgData name="Falcão Lacerda, Rafael" userId="40181ff7-4694-4c53-a944-7b7d63582359" providerId="ADAL" clId="{3B4D5F63-EA56-4616-8A78-0C43AB7049E7}" dt="2025-12-08T00:26:31.789" v="2808"/>
            <ac:spMkLst>
              <pc:docMk/>
              <pc:sldMasterMk cId="2457110672" sldId="2147483709"/>
              <pc:sldLayoutMk cId="3050888403" sldId="2147483897"/>
              <ac:spMk id="10" creationId="{71313E0C-79AC-2382-CFF0-C1879E03CA7D}"/>
            </ac:spMkLst>
          </pc:spChg>
          <pc:spChg chg="mod">
            <ac:chgData name="Falcão Lacerda, Rafael" userId="40181ff7-4694-4c53-a944-7b7d63582359" providerId="ADAL" clId="{3B4D5F63-EA56-4616-8A78-0C43AB7049E7}" dt="2025-12-08T00:26:42.823" v="6532" actId="948"/>
            <ac:spMkLst>
              <pc:docMk/>
              <pc:sldMasterMk cId="2457110672" sldId="2147483709"/>
              <pc:sldLayoutMk cId="3050888403" sldId="2147483897"/>
              <ac:spMk id="11" creationId="{441759CF-E2D4-0A80-7950-4AF5952D5985}"/>
            </ac:spMkLst>
          </pc:spChg>
          <pc:graphicFrameChg chg="add mod ord modVis">
            <ac:chgData name="Falcão Lacerda, Rafael" userId="40181ff7-4694-4c53-a944-7b7d63582359" providerId="ADAL" clId="{3B4D5F63-EA56-4616-8A78-0C43AB7049E7}" dt="2025-12-08T00:26:49.082" v="9229"/>
            <ac:graphicFrameMkLst>
              <pc:docMk/>
              <pc:sldMasterMk cId="2457110672" sldId="2147483709"/>
              <pc:sldLayoutMk cId="3050888403" sldId="2147483897"/>
              <ac:graphicFrameMk id="7" creationId="{CC1B8CA4-A5F9-0306-20B0-CB44AA37D1F4}"/>
            </ac:graphicFrameMkLst>
          </pc:graphicFrameChg>
          <pc:picChg chg="del">
            <ac:chgData name="Falcão Lacerda, Rafael" userId="40181ff7-4694-4c53-a944-7b7d63582359" providerId="ADAL" clId="{3B4D5F63-EA56-4616-8A78-0C43AB7049E7}" dt="2025-12-08T12:49:53.042" v="29925" actId="478"/>
            <ac:picMkLst>
              <pc:docMk/>
              <pc:sldMasterMk cId="2457110672" sldId="2147483709"/>
              <pc:sldLayoutMk cId="3050888403" sldId="2147483897"/>
              <ac:picMk id="2" creationId="{F9A1CCE7-7706-F83F-4541-BDA00F682BFA}"/>
            </ac:picMkLst>
          </pc:picChg>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chartUserShapes" Target="../drawings/drawing2.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0.xml"/><Relationship Id="rId1" Type="http://schemas.microsoft.com/office/2011/relationships/chartStyle" Target="style10.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4.xml"/><Relationship Id="rId1" Type="http://schemas.microsoft.com/office/2011/relationships/chartStyle" Target="style14.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5.xml"/><Relationship Id="rId1" Type="http://schemas.microsoft.com/office/2011/relationships/chartStyle" Target="style15.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8.xml"/><Relationship Id="rId1" Type="http://schemas.microsoft.com/office/2011/relationships/chartStyle" Target="style18.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9.xml"/><Relationship Id="rId1" Type="http://schemas.microsoft.com/office/2011/relationships/chartStyle" Target="style19.xml"/></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6.xml"/><Relationship Id="rId1" Type="http://schemas.microsoft.com/office/2011/relationships/chartStyle" Target="style6.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7.xml"/><Relationship Id="rId1" Type="http://schemas.microsoft.com/office/2011/relationships/chartStyle" Target="style7.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8.xml"/><Relationship Id="rId1" Type="http://schemas.microsoft.com/office/2011/relationships/chartStyle" Target="style8.xml"/></Relationships>
</file>

<file path=ppt/charts/_rels/chartEx1.xml.rels><?xml version="1.0" encoding="UTF-8" standalone="yes"?>
<Relationships xmlns="http://schemas.openxmlformats.org/package/2006/relationships"><Relationship Id="rId3" Type="http://schemas.microsoft.com/office/2011/relationships/chartColorStyle" Target="colors11.xml"/><Relationship Id="rId2" Type="http://schemas.microsoft.com/office/2011/relationships/chartStyle" Target="style11.xml"/><Relationship Id="rId1" Type="http://schemas.openxmlformats.org/officeDocument/2006/relationships/package" Target="../embeddings/Microsoft_Excel_Worksheet11.xlsx"/></Relationships>
</file>

<file path=ppt/charts/_rels/chartEx2.xml.rels><?xml version="1.0" encoding="UTF-8" standalone="yes"?>
<Relationships xmlns="http://schemas.openxmlformats.org/package/2006/relationships"><Relationship Id="rId3" Type="http://schemas.microsoft.com/office/2011/relationships/chartColorStyle" Target="colors12.xml"/><Relationship Id="rId2" Type="http://schemas.microsoft.com/office/2011/relationships/chartStyle" Target="style12.xml"/><Relationship Id="rId1" Type="http://schemas.openxmlformats.org/officeDocument/2006/relationships/package" Target="../embeddings/Microsoft_Excel_Worksheet12.xlsx"/></Relationships>
</file>

<file path=ppt/charts/_rels/chartEx3.xml.rels><?xml version="1.0" encoding="UTF-8" standalone="yes"?>
<Relationships xmlns="http://schemas.openxmlformats.org/package/2006/relationships"><Relationship Id="rId3" Type="http://schemas.microsoft.com/office/2011/relationships/chartColorStyle" Target="colors13.xml"/><Relationship Id="rId2" Type="http://schemas.microsoft.com/office/2011/relationships/chartStyle" Target="style13.xml"/><Relationship Id="rId1" Type="http://schemas.openxmlformats.org/officeDocument/2006/relationships/package" Target="../embeddings/Microsoft_Excel_Worksheet13.xlsx"/></Relationships>
</file>

<file path=ppt/charts/_rels/chartEx4.xml.rels><?xml version="1.0" encoding="UTF-8" standalone="yes"?>
<Relationships xmlns="http://schemas.openxmlformats.org/package/2006/relationships"><Relationship Id="rId3" Type="http://schemas.microsoft.com/office/2011/relationships/chartColorStyle" Target="colors16.xml"/><Relationship Id="rId2" Type="http://schemas.microsoft.com/office/2011/relationships/chartStyle" Target="style16.xml"/><Relationship Id="rId1" Type="http://schemas.openxmlformats.org/officeDocument/2006/relationships/package" Target="../embeddings/Microsoft_Excel_Worksheet16.xlsx"/></Relationships>
</file>

<file path=ppt/charts/_rels/chartEx5.xml.rels><?xml version="1.0" encoding="UTF-8" standalone="yes"?>
<Relationships xmlns="http://schemas.openxmlformats.org/package/2006/relationships"><Relationship Id="rId3" Type="http://schemas.microsoft.com/office/2011/relationships/chartColorStyle" Target="colors17.xml"/><Relationship Id="rId2" Type="http://schemas.microsoft.com/office/2011/relationships/chartStyle" Target="style17.xml"/><Relationship Id="rId1" Type="http://schemas.openxmlformats.org/officeDocument/2006/relationships/package" Target="../embeddings/Microsoft_Excel_Worksheet17.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pt-BR" noProof="1"/>
              <a:t>Title placeholder</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s-AR"/>
        </a:p>
      </c:txPr>
    </c:title>
    <c:autoTitleDeleted val="0"/>
    <c:plotArea>
      <c:layout/>
      <c:barChart>
        <c:barDir val="bar"/>
        <c:grouping val="stacked"/>
        <c:varyColors val="0"/>
        <c:ser>
          <c:idx val="0"/>
          <c:order val="0"/>
          <c:tx>
            <c:strRef>
              <c:f>Hoja1!$B$1</c:f>
              <c:strCache>
                <c:ptCount val="1"/>
                <c:pt idx="0">
                  <c:v>Series 1</c:v>
                </c:pt>
              </c:strCache>
            </c:strRef>
          </c:tx>
          <c:spPr>
            <a:solidFill>
              <a:schemeClr val="tx1">
                <a:lumMod val="65000"/>
                <a:lumOff val="35000"/>
              </a:schemeClr>
            </a:solidFill>
            <a:ln>
              <a:noFill/>
            </a:ln>
            <a:effectLst/>
          </c:spPr>
          <c:invertIfNegative val="0"/>
          <c:cat>
            <c:strRef>
              <c:f>Hoja1!$A$2:$A$5</c:f>
              <c:strCache>
                <c:ptCount val="4"/>
                <c:pt idx="0">
                  <c:v>Category 1</c:v>
                </c:pt>
                <c:pt idx="1">
                  <c:v>Category 2</c:v>
                </c:pt>
                <c:pt idx="2">
                  <c:v>Category 3</c:v>
                </c:pt>
                <c:pt idx="3">
                  <c:v>Category 4</c:v>
                </c:pt>
              </c:strCache>
            </c:strRef>
          </c:cat>
          <c:val>
            <c:numRef>
              <c:f>Hoja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BA3D-9B4B-8ED5-E37CC4300263}"/>
            </c:ext>
          </c:extLst>
        </c:ser>
        <c:ser>
          <c:idx val="1"/>
          <c:order val="1"/>
          <c:tx>
            <c:strRef>
              <c:f>Hoja1!$C$1</c:f>
              <c:strCache>
                <c:ptCount val="1"/>
                <c:pt idx="0">
                  <c:v>Series 2</c:v>
                </c:pt>
              </c:strCache>
            </c:strRef>
          </c:tx>
          <c:spPr>
            <a:solidFill>
              <a:schemeClr val="bg1">
                <a:lumMod val="85000"/>
              </a:schemeClr>
            </a:solidFill>
            <a:ln>
              <a:noFill/>
            </a:ln>
            <a:effectLst/>
          </c:spPr>
          <c:invertIfNegative val="0"/>
          <c:cat>
            <c:strRef>
              <c:f>Hoja1!$A$2:$A$5</c:f>
              <c:strCache>
                <c:ptCount val="4"/>
                <c:pt idx="0">
                  <c:v>Category 1</c:v>
                </c:pt>
                <c:pt idx="1">
                  <c:v>Category 2</c:v>
                </c:pt>
                <c:pt idx="2">
                  <c:v>Category 3</c:v>
                </c:pt>
                <c:pt idx="3">
                  <c:v>Category 4</c:v>
                </c:pt>
              </c:strCache>
            </c:strRef>
          </c:cat>
          <c:val>
            <c:numRef>
              <c:f>Hoja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BA3D-9B4B-8ED5-E37CC4300263}"/>
            </c:ext>
          </c:extLst>
        </c:ser>
        <c:ser>
          <c:idx val="2"/>
          <c:order val="2"/>
          <c:tx>
            <c:strRef>
              <c:f>Hoja1!$D$1</c:f>
              <c:strCache>
                <c:ptCount val="1"/>
                <c:pt idx="0">
                  <c:v>Series 3</c:v>
                </c:pt>
              </c:strCache>
            </c:strRef>
          </c:tx>
          <c:spPr>
            <a:solidFill>
              <a:schemeClr val="bg1">
                <a:lumMod val="50000"/>
              </a:schemeClr>
            </a:solidFill>
            <a:ln>
              <a:noFill/>
            </a:ln>
            <a:effectLst/>
          </c:spPr>
          <c:invertIfNegative val="0"/>
          <c:cat>
            <c:strRef>
              <c:f>Hoja1!$A$2:$A$5</c:f>
              <c:strCache>
                <c:ptCount val="4"/>
                <c:pt idx="0">
                  <c:v>Category 1</c:v>
                </c:pt>
                <c:pt idx="1">
                  <c:v>Category 2</c:v>
                </c:pt>
                <c:pt idx="2">
                  <c:v>Category 3</c:v>
                </c:pt>
                <c:pt idx="3">
                  <c:v>Category 4</c:v>
                </c:pt>
              </c:strCache>
            </c:strRef>
          </c:cat>
          <c:val>
            <c:numRef>
              <c:f>Hoja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BA3D-9B4B-8ED5-E37CC4300263}"/>
            </c:ext>
          </c:extLst>
        </c:ser>
        <c:ser>
          <c:idx val="3"/>
          <c:order val="3"/>
          <c:tx>
            <c:strRef>
              <c:f>Hoja1!$E$1</c:f>
              <c:strCache>
                <c:ptCount val="1"/>
                <c:pt idx="0">
                  <c:v>Highlighted series</c:v>
                </c:pt>
              </c:strCache>
            </c:strRef>
          </c:tx>
          <c:spPr>
            <a:solidFill>
              <a:schemeClr val="bg2"/>
            </a:solidFill>
            <a:ln>
              <a:noFill/>
            </a:ln>
            <a:effectLst/>
          </c:spPr>
          <c:invertIfNegative val="0"/>
          <c:dPt>
            <c:idx val="0"/>
            <c:invertIfNegative val="0"/>
            <c:bubble3D val="0"/>
            <c:spPr>
              <a:solidFill>
                <a:schemeClr val="bg2"/>
              </a:solidFill>
              <a:ln>
                <a:noFill/>
              </a:ln>
              <a:effectLst/>
            </c:spPr>
            <c:extLst>
              <c:ext xmlns:c16="http://schemas.microsoft.com/office/drawing/2014/chart" uri="{C3380CC4-5D6E-409C-BE32-E72D297353CC}">
                <c16:uniqueId val="{00000002-8CF0-0846-8737-103463E29B9F}"/>
              </c:ext>
            </c:extLst>
          </c:dPt>
          <c:dPt>
            <c:idx val="1"/>
            <c:invertIfNegative val="0"/>
            <c:bubble3D val="0"/>
            <c:spPr>
              <a:solidFill>
                <a:schemeClr val="bg2"/>
              </a:solidFill>
              <a:ln>
                <a:noFill/>
              </a:ln>
              <a:effectLst/>
            </c:spPr>
            <c:extLst>
              <c:ext xmlns:c16="http://schemas.microsoft.com/office/drawing/2014/chart" uri="{C3380CC4-5D6E-409C-BE32-E72D297353CC}">
                <c16:uniqueId val="{00000001-8CF0-0846-8737-103463E29B9F}"/>
              </c:ext>
            </c:extLst>
          </c:dPt>
          <c:dPt>
            <c:idx val="2"/>
            <c:invertIfNegative val="0"/>
            <c:bubble3D val="0"/>
            <c:spPr>
              <a:solidFill>
                <a:schemeClr val="bg2"/>
              </a:solidFill>
              <a:ln>
                <a:noFill/>
              </a:ln>
              <a:effectLst/>
            </c:spPr>
            <c:extLst>
              <c:ext xmlns:c16="http://schemas.microsoft.com/office/drawing/2014/chart" uri="{C3380CC4-5D6E-409C-BE32-E72D297353CC}">
                <c16:uniqueId val="{00000000-8CF0-0846-8737-103463E29B9F}"/>
              </c:ext>
            </c:extLst>
          </c:dPt>
          <c:cat>
            <c:strRef>
              <c:f>Hoja1!$A$2:$A$5</c:f>
              <c:strCache>
                <c:ptCount val="4"/>
                <c:pt idx="0">
                  <c:v>Category 1</c:v>
                </c:pt>
                <c:pt idx="1">
                  <c:v>Category 2</c:v>
                </c:pt>
                <c:pt idx="2">
                  <c:v>Category 3</c:v>
                </c:pt>
                <c:pt idx="3">
                  <c:v>Category 4</c:v>
                </c:pt>
              </c:strCache>
            </c:strRef>
          </c:cat>
          <c:val>
            <c:numRef>
              <c:f>Hoja1!$E$2:$E$5</c:f>
              <c:numCache>
                <c:formatCode>General</c:formatCode>
                <c:ptCount val="4"/>
                <c:pt idx="0">
                  <c:v>1</c:v>
                </c:pt>
                <c:pt idx="1">
                  <c:v>1.8</c:v>
                </c:pt>
                <c:pt idx="2">
                  <c:v>5</c:v>
                </c:pt>
                <c:pt idx="3">
                  <c:v>6</c:v>
                </c:pt>
              </c:numCache>
            </c:numRef>
          </c:val>
          <c:extLst>
            <c:ext xmlns:c16="http://schemas.microsoft.com/office/drawing/2014/chart" uri="{C3380CC4-5D6E-409C-BE32-E72D297353CC}">
              <c16:uniqueId val="{00000000-101E-7E44-8547-2EA0B130DE76}"/>
            </c:ext>
          </c:extLst>
        </c:ser>
        <c:dLbls>
          <c:showLegendKey val="0"/>
          <c:showVal val="0"/>
          <c:showCatName val="0"/>
          <c:showSerName val="0"/>
          <c:showPercent val="0"/>
          <c:showBubbleSize val="0"/>
        </c:dLbls>
        <c:gapWidth val="150"/>
        <c:overlap val="100"/>
        <c:axId val="418073967"/>
        <c:axId val="417359663"/>
      </c:barChart>
      <c:catAx>
        <c:axId val="418073967"/>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AR"/>
          </a:p>
        </c:txPr>
        <c:crossAx val="417359663"/>
        <c:crosses val="autoZero"/>
        <c:auto val="1"/>
        <c:lblAlgn val="ctr"/>
        <c:lblOffset val="100"/>
        <c:noMultiLvlLbl val="0"/>
      </c:catAx>
      <c:valAx>
        <c:axId val="417359663"/>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AR"/>
          </a:p>
        </c:txPr>
        <c:crossAx val="41807396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AR"/>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AR"/>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95657172016414"/>
          <c:y val="0"/>
          <c:w val="0.61228615774963302"/>
          <c:h val="1"/>
        </c:manualLayout>
      </c:layout>
      <c:doughnutChart>
        <c:varyColors val="1"/>
        <c:ser>
          <c:idx val="0"/>
          <c:order val="0"/>
          <c:tx>
            <c:strRef>
              <c:f>Sheet1!$B$1</c:f>
              <c:strCache>
                <c:ptCount val="1"/>
                <c:pt idx="0">
                  <c:v>Name 1</c:v>
                </c:pt>
              </c:strCache>
            </c:strRef>
          </c:tx>
          <c:spPr>
            <a:ln w="25400">
              <a:solidFill>
                <a:schemeClr val="bg1"/>
              </a:solidFill>
            </a:ln>
          </c:spPr>
          <c:dPt>
            <c:idx val="0"/>
            <c:bubble3D val="0"/>
            <c:spPr>
              <a:solidFill>
                <a:schemeClr val="accent2">
                  <a:lumMod val="50000"/>
                </a:schemeClr>
              </a:solidFill>
              <a:ln w="25400">
                <a:solidFill>
                  <a:schemeClr val="bg1"/>
                </a:solidFill>
              </a:ln>
              <a:effectLst/>
            </c:spPr>
            <c:extLst>
              <c:ext xmlns:c16="http://schemas.microsoft.com/office/drawing/2014/chart" uri="{C3380CC4-5D6E-409C-BE32-E72D297353CC}">
                <c16:uniqueId val="{00000001-41DC-43DC-8AB8-D2D92F8BC00C}"/>
              </c:ext>
            </c:extLst>
          </c:dPt>
          <c:dPt>
            <c:idx val="1"/>
            <c:bubble3D val="0"/>
            <c:spPr>
              <a:solidFill>
                <a:schemeClr val="bg1"/>
              </a:solidFill>
              <a:ln w="25400">
                <a:solidFill>
                  <a:schemeClr val="bg1"/>
                </a:solidFill>
              </a:ln>
              <a:effectLst/>
            </c:spPr>
            <c:extLst>
              <c:ext xmlns:c16="http://schemas.microsoft.com/office/drawing/2014/chart" uri="{C3380CC4-5D6E-409C-BE32-E72D297353CC}">
                <c16:uniqueId val="{00000003-41DC-43DC-8AB8-D2D92F8BC00C}"/>
              </c:ext>
            </c:extLst>
          </c:dPt>
          <c:cat>
            <c:strRef>
              <c:f>Sheet1!$A$2:$A$3</c:f>
              <c:strCache>
                <c:ptCount val="2"/>
                <c:pt idx="0">
                  <c:v>Active</c:v>
                </c:pt>
                <c:pt idx="1">
                  <c:v>other</c:v>
                </c:pt>
              </c:strCache>
            </c:strRef>
          </c:cat>
          <c:val>
            <c:numRef>
              <c:f>Sheet1!$B$2:$B$3</c:f>
              <c:numCache>
                <c:formatCode>0%</c:formatCode>
                <c:ptCount val="2"/>
                <c:pt idx="0">
                  <c:v>0.52</c:v>
                </c:pt>
                <c:pt idx="1">
                  <c:v>0.48</c:v>
                </c:pt>
              </c:numCache>
            </c:numRef>
          </c:val>
          <c:extLst>
            <c:ext xmlns:c16="http://schemas.microsoft.com/office/drawing/2014/chart" uri="{C3380CC4-5D6E-409C-BE32-E72D297353CC}">
              <c16:uniqueId val="{00000004-41DC-43DC-8AB8-D2D92F8BC00C}"/>
            </c:ext>
          </c:extLst>
        </c:ser>
        <c:ser>
          <c:idx val="1"/>
          <c:order val="1"/>
          <c:tx>
            <c:strRef>
              <c:f>Sheet1!$C$1</c:f>
              <c:strCache>
                <c:ptCount val="1"/>
                <c:pt idx="0">
                  <c:v>Name 2</c:v>
                </c:pt>
              </c:strCache>
            </c:strRef>
          </c:tx>
          <c:spPr>
            <a:solidFill>
              <a:schemeClr val="accent1"/>
            </a:solidFill>
            <a:ln w="25400">
              <a:solidFill>
                <a:schemeClr val="bg1"/>
              </a:solidFill>
            </a:ln>
          </c:spPr>
          <c:dPt>
            <c:idx val="0"/>
            <c:bubble3D val="0"/>
            <c:spPr>
              <a:solidFill>
                <a:schemeClr val="tx2">
                  <a:lumMod val="20000"/>
                  <a:lumOff val="80000"/>
                </a:schemeClr>
              </a:solidFill>
              <a:ln w="25400">
                <a:solidFill>
                  <a:schemeClr val="bg1"/>
                </a:solidFill>
              </a:ln>
              <a:effectLst/>
            </c:spPr>
            <c:extLst>
              <c:ext xmlns:c16="http://schemas.microsoft.com/office/drawing/2014/chart" uri="{C3380CC4-5D6E-409C-BE32-E72D297353CC}">
                <c16:uniqueId val="{00000006-41DC-43DC-8AB8-D2D92F8BC00C}"/>
              </c:ext>
            </c:extLst>
          </c:dPt>
          <c:dPt>
            <c:idx val="1"/>
            <c:bubble3D val="0"/>
            <c:spPr>
              <a:solidFill>
                <a:schemeClr val="bg1"/>
              </a:solidFill>
              <a:ln w="25400">
                <a:solidFill>
                  <a:schemeClr val="bg1"/>
                </a:solidFill>
              </a:ln>
              <a:effectLst/>
            </c:spPr>
            <c:extLst>
              <c:ext xmlns:c16="http://schemas.microsoft.com/office/drawing/2014/chart" uri="{C3380CC4-5D6E-409C-BE32-E72D297353CC}">
                <c16:uniqueId val="{00000008-41DC-43DC-8AB8-D2D92F8BC00C}"/>
              </c:ext>
            </c:extLst>
          </c:dPt>
          <c:cat>
            <c:strRef>
              <c:f>Sheet1!$A$2:$A$3</c:f>
              <c:strCache>
                <c:ptCount val="2"/>
                <c:pt idx="0">
                  <c:v>Active</c:v>
                </c:pt>
                <c:pt idx="1">
                  <c:v>other</c:v>
                </c:pt>
              </c:strCache>
            </c:strRef>
          </c:cat>
          <c:val>
            <c:numRef>
              <c:f>Sheet1!$C$2:$C$3</c:f>
              <c:numCache>
                <c:formatCode>0%</c:formatCode>
                <c:ptCount val="2"/>
                <c:pt idx="0">
                  <c:v>0.53</c:v>
                </c:pt>
                <c:pt idx="1">
                  <c:v>0.47</c:v>
                </c:pt>
              </c:numCache>
            </c:numRef>
          </c:val>
          <c:extLst>
            <c:ext xmlns:c16="http://schemas.microsoft.com/office/drawing/2014/chart" uri="{C3380CC4-5D6E-409C-BE32-E72D297353CC}">
              <c16:uniqueId val="{00000009-41DC-43DC-8AB8-D2D92F8BC00C}"/>
            </c:ext>
          </c:extLst>
        </c:ser>
        <c:ser>
          <c:idx val="2"/>
          <c:order val="2"/>
          <c:tx>
            <c:strRef>
              <c:f>Sheet1!$D$1</c:f>
              <c:strCache>
                <c:ptCount val="1"/>
                <c:pt idx="0">
                  <c:v>Name 3</c:v>
                </c:pt>
              </c:strCache>
            </c:strRef>
          </c:tx>
          <c:spPr>
            <a:solidFill>
              <a:schemeClr val="tx2"/>
            </a:solidFill>
            <a:ln w="25400">
              <a:solidFill>
                <a:schemeClr val="bg1"/>
              </a:solidFill>
            </a:ln>
          </c:spPr>
          <c:dPt>
            <c:idx val="0"/>
            <c:bubble3D val="0"/>
            <c:spPr>
              <a:solidFill>
                <a:schemeClr val="tx2"/>
              </a:solidFill>
              <a:ln w="25400">
                <a:solidFill>
                  <a:schemeClr val="bg1"/>
                </a:solidFill>
              </a:ln>
              <a:effectLst/>
            </c:spPr>
            <c:extLst>
              <c:ext xmlns:c16="http://schemas.microsoft.com/office/drawing/2014/chart" uri="{C3380CC4-5D6E-409C-BE32-E72D297353CC}">
                <c16:uniqueId val="{0000000B-41DC-43DC-8AB8-D2D92F8BC00C}"/>
              </c:ext>
            </c:extLst>
          </c:dPt>
          <c:dPt>
            <c:idx val="1"/>
            <c:bubble3D val="0"/>
            <c:spPr>
              <a:solidFill>
                <a:schemeClr val="bg1"/>
              </a:solidFill>
              <a:ln w="25400">
                <a:solidFill>
                  <a:schemeClr val="bg1"/>
                </a:solidFill>
              </a:ln>
              <a:effectLst/>
            </c:spPr>
            <c:extLst>
              <c:ext xmlns:c16="http://schemas.microsoft.com/office/drawing/2014/chart" uri="{C3380CC4-5D6E-409C-BE32-E72D297353CC}">
                <c16:uniqueId val="{0000000D-41DC-43DC-8AB8-D2D92F8BC00C}"/>
              </c:ext>
            </c:extLst>
          </c:dPt>
          <c:cat>
            <c:strRef>
              <c:f>Sheet1!$A$2:$A$3</c:f>
              <c:strCache>
                <c:ptCount val="2"/>
                <c:pt idx="0">
                  <c:v>Active</c:v>
                </c:pt>
                <c:pt idx="1">
                  <c:v>other</c:v>
                </c:pt>
              </c:strCache>
            </c:strRef>
          </c:cat>
          <c:val>
            <c:numRef>
              <c:f>Sheet1!$D$2:$D$3</c:f>
              <c:numCache>
                <c:formatCode>0%</c:formatCode>
                <c:ptCount val="2"/>
                <c:pt idx="0">
                  <c:v>0.72</c:v>
                </c:pt>
                <c:pt idx="1">
                  <c:v>0.28000000000000003</c:v>
                </c:pt>
              </c:numCache>
            </c:numRef>
          </c:val>
          <c:extLst>
            <c:ext xmlns:c16="http://schemas.microsoft.com/office/drawing/2014/chart" uri="{C3380CC4-5D6E-409C-BE32-E72D297353CC}">
              <c16:uniqueId val="{0000000E-41DC-43DC-8AB8-D2D92F8BC00C}"/>
            </c:ext>
          </c:extLst>
        </c:ser>
        <c:ser>
          <c:idx val="3"/>
          <c:order val="3"/>
          <c:tx>
            <c:strRef>
              <c:f>Sheet1!$E$1</c:f>
              <c:strCache>
                <c:ptCount val="1"/>
                <c:pt idx="0">
                  <c:v>Name 4</c:v>
                </c:pt>
              </c:strCache>
            </c:strRef>
          </c:tx>
          <c:spPr>
            <a:solidFill>
              <a:schemeClr val="accent2"/>
            </a:solidFill>
            <a:ln w="25400">
              <a:solidFill>
                <a:schemeClr val="bg1"/>
              </a:solidFill>
            </a:ln>
          </c:spPr>
          <c:dPt>
            <c:idx val="0"/>
            <c:bubble3D val="0"/>
            <c:spPr>
              <a:solidFill>
                <a:schemeClr val="accent2"/>
              </a:solidFill>
              <a:ln w="25400">
                <a:solidFill>
                  <a:schemeClr val="bg1"/>
                </a:solidFill>
              </a:ln>
              <a:effectLst/>
            </c:spPr>
            <c:extLst>
              <c:ext xmlns:c16="http://schemas.microsoft.com/office/drawing/2014/chart" uri="{C3380CC4-5D6E-409C-BE32-E72D297353CC}">
                <c16:uniqueId val="{00000010-41DC-43DC-8AB8-D2D92F8BC00C}"/>
              </c:ext>
            </c:extLst>
          </c:dPt>
          <c:dPt>
            <c:idx val="1"/>
            <c:bubble3D val="0"/>
            <c:spPr>
              <a:solidFill>
                <a:schemeClr val="bg1"/>
              </a:solidFill>
              <a:ln w="25400">
                <a:solidFill>
                  <a:schemeClr val="bg1"/>
                </a:solidFill>
              </a:ln>
              <a:effectLst/>
            </c:spPr>
            <c:extLst>
              <c:ext xmlns:c16="http://schemas.microsoft.com/office/drawing/2014/chart" uri="{C3380CC4-5D6E-409C-BE32-E72D297353CC}">
                <c16:uniqueId val="{00000012-41DC-43DC-8AB8-D2D92F8BC00C}"/>
              </c:ext>
            </c:extLst>
          </c:dPt>
          <c:cat>
            <c:strRef>
              <c:f>Sheet1!$A$2:$A$3</c:f>
              <c:strCache>
                <c:ptCount val="2"/>
                <c:pt idx="0">
                  <c:v>Active</c:v>
                </c:pt>
                <c:pt idx="1">
                  <c:v>other</c:v>
                </c:pt>
              </c:strCache>
            </c:strRef>
          </c:cat>
          <c:val>
            <c:numRef>
              <c:f>Sheet1!$E$2:$E$3</c:f>
              <c:numCache>
                <c:formatCode>0%</c:formatCode>
                <c:ptCount val="2"/>
                <c:pt idx="0">
                  <c:v>0.75</c:v>
                </c:pt>
                <c:pt idx="1">
                  <c:v>0.25</c:v>
                </c:pt>
              </c:numCache>
            </c:numRef>
          </c:val>
          <c:extLst>
            <c:ext xmlns:c16="http://schemas.microsoft.com/office/drawing/2014/chart" uri="{C3380CC4-5D6E-409C-BE32-E72D297353CC}">
              <c16:uniqueId val="{00000013-41DC-43DC-8AB8-D2D92F8BC00C}"/>
            </c:ext>
          </c:extLst>
        </c:ser>
        <c:ser>
          <c:idx val="4"/>
          <c:order val="4"/>
          <c:tx>
            <c:strRef>
              <c:f>Sheet1!$F$1</c:f>
              <c:strCache>
                <c:ptCount val="1"/>
                <c:pt idx="0">
                  <c:v>Name 5</c:v>
                </c:pt>
              </c:strCache>
            </c:strRef>
          </c:tx>
          <c:spPr>
            <a:solidFill>
              <a:schemeClr val="accent3"/>
            </a:solidFill>
            <a:ln w="25400">
              <a:solidFill>
                <a:schemeClr val="bg1"/>
              </a:solidFill>
            </a:ln>
          </c:spPr>
          <c:dPt>
            <c:idx val="0"/>
            <c:bubble3D val="0"/>
            <c:spPr>
              <a:solidFill>
                <a:schemeClr val="tx1"/>
              </a:solidFill>
              <a:ln w="25400">
                <a:solidFill>
                  <a:schemeClr val="bg1"/>
                </a:solidFill>
              </a:ln>
              <a:effectLst/>
            </c:spPr>
            <c:extLst>
              <c:ext xmlns:c16="http://schemas.microsoft.com/office/drawing/2014/chart" uri="{C3380CC4-5D6E-409C-BE32-E72D297353CC}">
                <c16:uniqueId val="{00000015-41DC-43DC-8AB8-D2D92F8BC00C}"/>
              </c:ext>
            </c:extLst>
          </c:dPt>
          <c:dPt>
            <c:idx val="1"/>
            <c:bubble3D val="0"/>
            <c:spPr>
              <a:solidFill>
                <a:schemeClr val="bg1"/>
              </a:solidFill>
              <a:ln w="25400">
                <a:solidFill>
                  <a:schemeClr val="bg1"/>
                </a:solidFill>
              </a:ln>
              <a:effectLst/>
            </c:spPr>
            <c:extLst>
              <c:ext xmlns:c16="http://schemas.microsoft.com/office/drawing/2014/chart" uri="{C3380CC4-5D6E-409C-BE32-E72D297353CC}">
                <c16:uniqueId val="{00000017-41DC-43DC-8AB8-D2D92F8BC00C}"/>
              </c:ext>
            </c:extLst>
          </c:dPt>
          <c:cat>
            <c:strRef>
              <c:f>Sheet1!$A$2:$A$3</c:f>
              <c:strCache>
                <c:ptCount val="2"/>
                <c:pt idx="0">
                  <c:v>Active</c:v>
                </c:pt>
                <c:pt idx="1">
                  <c:v>other</c:v>
                </c:pt>
              </c:strCache>
            </c:strRef>
          </c:cat>
          <c:val>
            <c:numRef>
              <c:f>Sheet1!$F$2:$F$3</c:f>
              <c:numCache>
                <c:formatCode>0%</c:formatCode>
                <c:ptCount val="2"/>
                <c:pt idx="0">
                  <c:v>0.8</c:v>
                </c:pt>
                <c:pt idx="1">
                  <c:v>0.2</c:v>
                </c:pt>
              </c:numCache>
            </c:numRef>
          </c:val>
          <c:extLst>
            <c:ext xmlns:c16="http://schemas.microsoft.com/office/drawing/2014/chart" uri="{C3380CC4-5D6E-409C-BE32-E72D297353CC}">
              <c16:uniqueId val="{00000018-41DC-43DC-8AB8-D2D92F8BC00C}"/>
            </c:ext>
          </c:extLst>
        </c:ser>
        <c:dLbls>
          <c:showLegendKey val="0"/>
          <c:showVal val="0"/>
          <c:showCatName val="0"/>
          <c:showSerName val="0"/>
          <c:showPercent val="0"/>
          <c:showBubbleSize val="0"/>
          <c:showLeaderLines val="1"/>
        </c:dLbls>
        <c:firstSliceAng val="0"/>
        <c:holeSize val="47"/>
      </c:doughnutChart>
      <c:spPr>
        <a:noFill/>
        <a:ln>
          <a:noFill/>
        </a:ln>
        <a:effectLst/>
      </c:spPr>
    </c:plotArea>
    <c:plotVisOnly val="1"/>
    <c:dispBlanksAs val="gap"/>
    <c:showDLblsOverMax val="0"/>
  </c:chart>
  <c:spPr>
    <a:noFill/>
    <a:ln>
      <a:noFill/>
    </a:ln>
    <a:effectLst/>
  </c:spPr>
  <c:txPr>
    <a:bodyPr/>
    <a:lstStyle/>
    <a:p>
      <a:pPr>
        <a:defRPr b="1"/>
      </a:pPr>
      <a:endParaRPr lang="en-US"/>
    </a:p>
  </c:txPr>
  <c:externalData r:id="rId3">
    <c:autoUpdate val="0"/>
  </c:externalData>
  <c:userShapes r:id="rId4"/>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6190763068649502"/>
          <c:y val="3.2564394788434019E-3"/>
          <c:w val="0.52149511197340437"/>
          <c:h val="0.90854574860960535"/>
        </c:manualLayout>
      </c:layout>
      <c:doughnutChart>
        <c:varyColors val="1"/>
        <c:ser>
          <c:idx val="0"/>
          <c:order val="0"/>
          <c:tx>
            <c:strRef>
              <c:f>Sheet1!$B$1</c:f>
              <c:strCache>
                <c:ptCount val="1"/>
                <c:pt idx="0">
                  <c:v>Sales</c:v>
                </c:pt>
              </c:strCache>
            </c:strRef>
          </c:tx>
          <c:spPr>
            <a:ln>
              <a:noFill/>
            </a:ln>
          </c:spPr>
          <c:dPt>
            <c:idx val="0"/>
            <c:bubble3D val="0"/>
            <c:spPr>
              <a:solidFill>
                <a:schemeClr val="bg2">
                  <a:alpha val="80000"/>
                </a:schemeClr>
              </a:solidFill>
              <a:ln w="19050">
                <a:noFill/>
              </a:ln>
              <a:effectLst/>
            </c:spPr>
            <c:extLst>
              <c:ext xmlns:c16="http://schemas.microsoft.com/office/drawing/2014/chart" uri="{C3380CC4-5D6E-409C-BE32-E72D297353CC}">
                <c16:uniqueId val="{00000001-7E8F-A543-BFA1-816AE8D9F347}"/>
              </c:ext>
            </c:extLst>
          </c:dPt>
          <c:dPt>
            <c:idx val="1"/>
            <c:bubble3D val="0"/>
            <c:spPr>
              <a:solidFill>
                <a:schemeClr val="tx1">
                  <a:lumMod val="65000"/>
                  <a:lumOff val="35000"/>
                  <a:alpha val="60000"/>
                </a:schemeClr>
              </a:solidFill>
              <a:ln w="19050">
                <a:noFill/>
              </a:ln>
              <a:effectLst/>
            </c:spPr>
            <c:extLst>
              <c:ext xmlns:c16="http://schemas.microsoft.com/office/drawing/2014/chart" uri="{C3380CC4-5D6E-409C-BE32-E72D297353CC}">
                <c16:uniqueId val="{00000003-7E8F-A543-BFA1-816AE8D9F347}"/>
              </c:ext>
            </c:extLst>
          </c:dPt>
          <c:dPt>
            <c:idx val="2"/>
            <c:bubble3D val="0"/>
            <c:spPr>
              <a:solidFill>
                <a:schemeClr val="tx1">
                  <a:lumMod val="65000"/>
                  <a:lumOff val="35000"/>
                  <a:alpha val="80000"/>
                </a:schemeClr>
              </a:solidFill>
              <a:ln w="19050">
                <a:noFill/>
              </a:ln>
              <a:effectLst/>
            </c:spPr>
            <c:extLst>
              <c:ext xmlns:c16="http://schemas.microsoft.com/office/drawing/2014/chart" uri="{C3380CC4-5D6E-409C-BE32-E72D297353CC}">
                <c16:uniqueId val="{00000005-7E8F-A543-BFA1-816AE8D9F347}"/>
              </c:ext>
            </c:extLst>
          </c:dPt>
          <c:dPt>
            <c:idx val="3"/>
            <c:bubble3D val="0"/>
            <c:spPr>
              <a:solidFill>
                <a:schemeClr val="tx1">
                  <a:alpha val="80000"/>
                </a:schemeClr>
              </a:solidFill>
              <a:ln w="19050">
                <a:noFill/>
              </a:ln>
              <a:effectLst/>
            </c:spPr>
            <c:extLst>
              <c:ext xmlns:c16="http://schemas.microsoft.com/office/drawing/2014/chart" uri="{C3380CC4-5D6E-409C-BE32-E72D297353CC}">
                <c16:uniqueId val="{00000007-7E8F-A543-BFA1-816AE8D9F347}"/>
              </c:ext>
            </c:extLst>
          </c:dPt>
          <c:dPt>
            <c:idx val="4"/>
            <c:bubble3D val="0"/>
            <c:spPr>
              <a:solidFill>
                <a:schemeClr val="tx1">
                  <a:alpha val="60000"/>
                </a:schemeClr>
              </a:solidFill>
              <a:ln w="19050">
                <a:noFill/>
              </a:ln>
              <a:effectLst/>
            </c:spPr>
            <c:extLst>
              <c:ext xmlns:c16="http://schemas.microsoft.com/office/drawing/2014/chart" uri="{C3380CC4-5D6E-409C-BE32-E72D297353CC}">
                <c16:uniqueId val="{00000009-7E8F-A543-BFA1-816AE8D9F347}"/>
              </c:ext>
            </c:extLst>
          </c:dPt>
          <c:dPt>
            <c:idx val="5"/>
            <c:bubble3D val="0"/>
            <c:spPr>
              <a:solidFill>
                <a:schemeClr val="bg1">
                  <a:lumMod val="75000"/>
                  <a:alpha val="80000"/>
                </a:schemeClr>
              </a:solidFill>
              <a:ln w="19050">
                <a:noFill/>
              </a:ln>
              <a:effectLst/>
            </c:spPr>
            <c:extLst>
              <c:ext xmlns:c16="http://schemas.microsoft.com/office/drawing/2014/chart" uri="{C3380CC4-5D6E-409C-BE32-E72D297353CC}">
                <c16:uniqueId val="{0000000B-7E8F-A543-BFA1-816AE8D9F347}"/>
              </c:ext>
            </c:extLst>
          </c:dPt>
          <c:dPt>
            <c:idx val="6"/>
            <c:bubble3D val="0"/>
            <c:spPr>
              <a:solidFill>
                <a:schemeClr val="bg1">
                  <a:lumMod val="75000"/>
                  <a:alpha val="60000"/>
                </a:schemeClr>
              </a:solidFill>
              <a:ln w="19050">
                <a:noFill/>
              </a:ln>
              <a:effectLst/>
            </c:spPr>
            <c:extLst>
              <c:ext xmlns:c16="http://schemas.microsoft.com/office/drawing/2014/chart" uri="{C3380CC4-5D6E-409C-BE32-E72D297353CC}">
                <c16:uniqueId val="{0000000D-7E8F-A543-BFA1-816AE8D9F347}"/>
              </c:ext>
            </c:extLst>
          </c:dPt>
          <c:dLbls>
            <c:dLbl>
              <c:idx val="0"/>
              <c:tx>
                <c:rich>
                  <a:bodyPr rot="0" spcFirstLastPara="1" vertOverflow="ellipsis" vert="horz" wrap="square" lIns="38100" tIns="19050" rIns="38100" bIns="19050" anchor="ctr" anchorCtr="1">
                    <a:spAutoFit/>
                  </a:bodyPr>
                  <a:lstStyle/>
                  <a:p>
                    <a:pPr>
                      <a:defRPr sz="1000" b="0" i="0" u="none" strike="noStrike" kern="1200" baseline="0">
                        <a:solidFill>
                          <a:srgbClr val="FFFFFF"/>
                        </a:solidFill>
                        <a:latin typeface="Graphik" panose="020B0503030202060203" pitchFamily="34" charset="77"/>
                        <a:ea typeface="+mn-ea"/>
                        <a:cs typeface="+mn-cs"/>
                      </a:defRPr>
                    </a:pPr>
                    <a:fld id="{819FB025-E1BA-2141-8BC1-596D1FC51416}" type="VALUE">
                      <a:rPr lang="en-US">
                        <a:solidFill>
                          <a:srgbClr val="FFFFFF"/>
                        </a:solidFill>
                      </a:rPr>
                      <a:pPr>
                        <a:defRPr sz="1000">
                          <a:solidFill>
                            <a:srgbClr val="FFFFFF"/>
                          </a:solidFill>
                          <a:latin typeface="Graphik" panose="020B0503030202060203" pitchFamily="34" charset="77"/>
                        </a:defRPr>
                      </a:pPr>
                      <a:t>[VALUE]</a:t>
                    </a:fld>
                    <a:endParaRPr lang="pt-BR"/>
                  </a:p>
                </c:rich>
              </c:tx>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FFFFFF"/>
                      </a:solidFill>
                      <a:latin typeface="Graphik" panose="020B0503030202060203" pitchFamily="34" charset="77"/>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7E8F-A543-BFA1-816AE8D9F347}"/>
                </c:ext>
              </c:extLst>
            </c:dLbl>
            <c:dLbl>
              <c:idx val="3"/>
              <c:layout>
                <c:manualLayout>
                  <c:x val="-4.1239819921220248E-3"/>
                  <c:y val="-5.3531346020541208E-3"/>
                </c:manualLayout>
              </c:layout>
              <c:tx>
                <c:rich>
                  <a:bodyPr/>
                  <a:lstStyle/>
                  <a:p>
                    <a:fld id="{7051093F-DA42-5540-821C-CD08CBDC9E8C}" type="VALUE">
                      <a:rPr lang="en-US" b="0" i="0">
                        <a:solidFill>
                          <a:schemeClr val="bg1"/>
                        </a:solidFill>
                        <a:latin typeface="Graphik" panose="020B0503030202060203" pitchFamily="34" charset="77"/>
                      </a:rPr>
                      <a:pPr/>
                      <a:t>[VALUE]</a:t>
                    </a:fld>
                    <a:endParaRPr lang="pt-B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7E8F-A543-BFA1-816AE8D9F347}"/>
                </c:ext>
              </c:extLst>
            </c:dLbl>
            <c:dLbl>
              <c:idx val="4"/>
              <c:tx>
                <c:rich>
                  <a:bodyPr/>
                  <a:lstStyle/>
                  <a:p>
                    <a:fld id="{7BCDEC6B-F729-1049-9705-1622FACC433C}" type="VALUE">
                      <a:rPr lang="en-US" sz="800">
                        <a:solidFill>
                          <a:schemeClr val="bg1"/>
                        </a:solidFill>
                      </a:rPr>
                      <a:pPr/>
                      <a:t>[VALUE]</a:t>
                    </a:fld>
                    <a:endParaRPr lang="pt-B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7E8F-A543-BFA1-816AE8D9F347}"/>
                </c:ext>
              </c:extLst>
            </c:dLbl>
            <c:dLbl>
              <c:idx val="5"/>
              <c:tx>
                <c:rich>
                  <a:bodyPr rot="0" spcFirstLastPara="1" vertOverflow="ellipsis" vert="horz" wrap="square" lIns="38100" tIns="19050" rIns="38100" bIns="19050" anchor="ctr" anchorCtr="1">
                    <a:spAutoFit/>
                  </a:bodyPr>
                  <a:lstStyle/>
                  <a:p>
                    <a:pPr>
                      <a:defRPr sz="1000" b="0" i="0" u="none" strike="noStrike" kern="1200" baseline="0">
                        <a:solidFill>
                          <a:schemeClr val="tx1">
                            <a:lumMod val="95000"/>
                            <a:lumOff val="5000"/>
                          </a:schemeClr>
                        </a:solidFill>
                        <a:latin typeface="Graphik" panose="020B0503030202060203" pitchFamily="34" charset="77"/>
                        <a:ea typeface="+mn-ea"/>
                        <a:cs typeface="+mn-cs"/>
                      </a:defRPr>
                    </a:pPr>
                    <a:fld id="{152A42CD-F0E2-D444-97AF-813FAB219D34}" type="VALUE">
                      <a:rPr lang="en-US">
                        <a:solidFill>
                          <a:schemeClr val="tx1">
                            <a:lumMod val="95000"/>
                            <a:lumOff val="5000"/>
                          </a:schemeClr>
                        </a:solidFill>
                      </a:rPr>
                      <a:pPr>
                        <a:defRPr sz="1000">
                          <a:solidFill>
                            <a:schemeClr val="tx1">
                              <a:lumMod val="95000"/>
                              <a:lumOff val="5000"/>
                            </a:schemeClr>
                          </a:solidFill>
                          <a:latin typeface="Graphik" panose="020B0503030202060203" pitchFamily="34" charset="77"/>
                        </a:defRPr>
                      </a:pPr>
                      <a:t>[VALUE]</a:t>
                    </a:fld>
                    <a:endParaRPr lang="pt-BR"/>
                  </a:p>
                </c:rich>
              </c:tx>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95000"/>
                          <a:lumOff val="5000"/>
                        </a:schemeClr>
                      </a:solidFill>
                      <a:latin typeface="Graphik" panose="020B0503030202060203" pitchFamily="34" charset="77"/>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7E8F-A543-BFA1-816AE8D9F347}"/>
                </c:ext>
              </c:extLst>
            </c:dLbl>
            <c:dLbl>
              <c:idx val="6"/>
              <c:tx>
                <c:rich>
                  <a:bodyPr rot="0" spcFirstLastPara="1" vertOverflow="ellipsis" vert="horz" wrap="square" lIns="38100" tIns="19050" rIns="38100" bIns="19050" anchor="ctr" anchorCtr="1">
                    <a:spAutoFit/>
                  </a:bodyPr>
                  <a:lstStyle/>
                  <a:p>
                    <a:pPr>
                      <a:defRPr sz="1000" b="0" i="0" u="none" strike="noStrike" kern="1200" baseline="0">
                        <a:solidFill>
                          <a:srgbClr val="000000"/>
                        </a:solidFill>
                        <a:latin typeface="Graphik" panose="020B0503030202060203" pitchFamily="34" charset="77"/>
                        <a:ea typeface="+mn-ea"/>
                        <a:cs typeface="+mn-cs"/>
                      </a:defRPr>
                    </a:pPr>
                    <a:fld id="{710C1C43-FA97-C447-A88B-5579706D31F8}" type="VALUE">
                      <a:rPr lang="en-US">
                        <a:solidFill>
                          <a:srgbClr val="000000"/>
                        </a:solidFill>
                      </a:rPr>
                      <a:pPr>
                        <a:defRPr sz="1000">
                          <a:solidFill>
                            <a:srgbClr val="000000"/>
                          </a:solidFill>
                          <a:latin typeface="Graphik" panose="020B0503030202060203" pitchFamily="34" charset="77"/>
                        </a:defRPr>
                      </a:pPr>
                      <a:t>[VALUE]</a:t>
                    </a:fld>
                    <a:endParaRPr lang="pt-BR"/>
                  </a:p>
                </c:rich>
              </c:tx>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000000"/>
                      </a:solidFill>
                      <a:latin typeface="Graphik" panose="020B0503030202060203" pitchFamily="34" charset="77"/>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7E8F-A543-BFA1-816AE8D9F347}"/>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Graphik" panose="020B0503030202060203" pitchFamily="34" charset="77"/>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8</c:f>
              <c:strCache>
                <c:ptCount val="7"/>
                <c:pt idx="0">
                  <c:v>Item 1</c:v>
                </c:pt>
                <c:pt idx="1">
                  <c:v>Item 2</c:v>
                </c:pt>
                <c:pt idx="2">
                  <c:v>Item 3</c:v>
                </c:pt>
                <c:pt idx="3">
                  <c:v>Item 4</c:v>
                </c:pt>
                <c:pt idx="4">
                  <c:v>Item 5</c:v>
                </c:pt>
                <c:pt idx="5">
                  <c:v>Item 6</c:v>
                </c:pt>
                <c:pt idx="6">
                  <c:v>Item 7</c:v>
                </c:pt>
              </c:strCache>
            </c:strRef>
          </c:cat>
          <c:val>
            <c:numRef>
              <c:f>Sheet1!$B$2:$B$8</c:f>
              <c:numCache>
                <c:formatCode>0%</c:formatCode>
                <c:ptCount val="7"/>
                <c:pt idx="0">
                  <c:v>7.0000000000000007E-2</c:v>
                </c:pt>
                <c:pt idx="1">
                  <c:v>0.12</c:v>
                </c:pt>
                <c:pt idx="2">
                  <c:v>0.18</c:v>
                </c:pt>
                <c:pt idx="3">
                  <c:v>0.32</c:v>
                </c:pt>
                <c:pt idx="4">
                  <c:v>0.03</c:v>
                </c:pt>
                <c:pt idx="5">
                  <c:v>0.21</c:v>
                </c:pt>
                <c:pt idx="6">
                  <c:v>7.0000000000000007E-2</c:v>
                </c:pt>
              </c:numCache>
            </c:numRef>
          </c:val>
          <c:extLst>
            <c:ext xmlns:c16="http://schemas.microsoft.com/office/drawing/2014/chart" uri="{C3380CC4-5D6E-409C-BE32-E72D297353CC}">
              <c16:uniqueId val="{0000000E-7E8F-A543-BFA1-816AE8D9F347}"/>
            </c:ext>
          </c:extLst>
        </c:ser>
        <c:ser>
          <c:idx val="1"/>
          <c:order val="1"/>
          <c:tx>
            <c:strRef>
              <c:f>Sheet1!$C$1</c:f>
              <c:strCache>
                <c:ptCount val="1"/>
                <c:pt idx="0">
                  <c:v>Column1</c:v>
                </c:pt>
              </c:strCache>
            </c:strRef>
          </c:tx>
          <c:spPr>
            <a:ln>
              <a:noFill/>
            </a:ln>
          </c:spPr>
          <c:dPt>
            <c:idx val="0"/>
            <c:bubble3D val="0"/>
            <c:spPr>
              <a:solidFill>
                <a:schemeClr val="bg2"/>
              </a:solidFill>
              <a:ln w="19050">
                <a:noFill/>
              </a:ln>
              <a:effectLst/>
            </c:spPr>
            <c:extLst>
              <c:ext xmlns:c16="http://schemas.microsoft.com/office/drawing/2014/chart" uri="{C3380CC4-5D6E-409C-BE32-E72D297353CC}">
                <c16:uniqueId val="{00000010-7E8F-A543-BFA1-816AE8D9F347}"/>
              </c:ext>
            </c:extLst>
          </c:dPt>
          <c:dPt>
            <c:idx val="1"/>
            <c:bubble3D val="0"/>
            <c:spPr>
              <a:solidFill>
                <a:schemeClr val="tx1">
                  <a:lumMod val="65000"/>
                  <a:lumOff val="35000"/>
                </a:schemeClr>
              </a:solidFill>
              <a:ln w="19050">
                <a:noFill/>
              </a:ln>
              <a:effectLst/>
            </c:spPr>
            <c:extLst>
              <c:ext xmlns:c16="http://schemas.microsoft.com/office/drawing/2014/chart" uri="{C3380CC4-5D6E-409C-BE32-E72D297353CC}">
                <c16:uniqueId val="{00000012-7E8F-A543-BFA1-816AE8D9F347}"/>
              </c:ext>
            </c:extLst>
          </c:dPt>
          <c:dPt>
            <c:idx val="2"/>
            <c:bubble3D val="0"/>
            <c:spPr>
              <a:solidFill>
                <a:schemeClr val="tx1"/>
              </a:solidFill>
              <a:ln w="19050">
                <a:noFill/>
              </a:ln>
              <a:effectLst/>
            </c:spPr>
            <c:extLst>
              <c:ext xmlns:c16="http://schemas.microsoft.com/office/drawing/2014/chart" uri="{C3380CC4-5D6E-409C-BE32-E72D297353CC}">
                <c16:uniqueId val="{00000014-7E8F-A543-BFA1-816AE8D9F347}"/>
              </c:ext>
            </c:extLst>
          </c:dPt>
          <c:dPt>
            <c:idx val="3"/>
            <c:bubble3D val="0"/>
            <c:spPr>
              <a:solidFill>
                <a:schemeClr val="bg1">
                  <a:lumMod val="75000"/>
                </a:schemeClr>
              </a:solidFill>
              <a:ln w="19050">
                <a:noFill/>
              </a:ln>
              <a:effectLst/>
            </c:spPr>
            <c:extLst>
              <c:ext xmlns:c16="http://schemas.microsoft.com/office/drawing/2014/chart" uri="{C3380CC4-5D6E-409C-BE32-E72D297353CC}">
                <c16:uniqueId val="{00000016-7E8F-A543-BFA1-816AE8D9F347}"/>
              </c:ext>
            </c:extLst>
          </c:dPt>
          <c:dPt>
            <c:idx val="4"/>
            <c:bubble3D val="0"/>
            <c:spPr>
              <a:solidFill>
                <a:schemeClr val="accent5"/>
              </a:solidFill>
              <a:ln w="19050">
                <a:noFill/>
              </a:ln>
              <a:effectLst/>
            </c:spPr>
            <c:extLst>
              <c:ext xmlns:c16="http://schemas.microsoft.com/office/drawing/2014/chart" uri="{C3380CC4-5D6E-409C-BE32-E72D297353CC}">
                <c16:uniqueId val="{00000018-7E8F-A543-BFA1-816AE8D9F347}"/>
              </c:ext>
            </c:extLst>
          </c:dPt>
          <c:dPt>
            <c:idx val="5"/>
            <c:bubble3D val="0"/>
            <c:spPr>
              <a:solidFill>
                <a:schemeClr val="accent6"/>
              </a:solidFill>
              <a:ln w="19050">
                <a:noFill/>
              </a:ln>
              <a:effectLst/>
            </c:spPr>
            <c:extLst>
              <c:ext xmlns:c16="http://schemas.microsoft.com/office/drawing/2014/chart" uri="{C3380CC4-5D6E-409C-BE32-E72D297353CC}">
                <c16:uniqueId val="{0000001A-7E8F-A543-BFA1-816AE8D9F347}"/>
              </c:ext>
            </c:extLst>
          </c:dPt>
          <c:dPt>
            <c:idx val="6"/>
            <c:bubble3D val="0"/>
            <c:spPr>
              <a:solidFill>
                <a:schemeClr val="accent1">
                  <a:lumMod val="60000"/>
                </a:schemeClr>
              </a:solidFill>
              <a:ln w="19050">
                <a:noFill/>
              </a:ln>
              <a:effectLst/>
            </c:spPr>
            <c:extLst>
              <c:ext xmlns:c16="http://schemas.microsoft.com/office/drawing/2014/chart" uri="{C3380CC4-5D6E-409C-BE32-E72D297353CC}">
                <c16:uniqueId val="{0000001C-7E8F-A543-BFA1-816AE8D9F347}"/>
              </c:ext>
            </c:extLst>
          </c:dPt>
          <c:dLbls>
            <c:dLbl>
              <c:idx val="0"/>
              <c:tx>
                <c:rich>
                  <a:bodyPr/>
                  <a:lstStyle/>
                  <a:p>
                    <a:fld id="{1267842E-51A9-7F49-8547-24B2B7DF0A7E}" type="VALUE">
                      <a:rPr lang="en-US" sz="1400" b="1" i="0">
                        <a:solidFill>
                          <a:srgbClr val="FFFFFF"/>
                        </a:solidFill>
                        <a:latin typeface="Graphik Semibold" panose="020B0503030202060203" pitchFamily="34" charset="77"/>
                      </a:rPr>
                      <a:pPr/>
                      <a:t>[VALUE]</a:t>
                    </a:fld>
                    <a:endParaRPr lang="pt-B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0-7E8F-A543-BFA1-816AE8D9F347}"/>
                </c:ext>
              </c:extLst>
            </c:dLbl>
            <c:dLbl>
              <c:idx val="1"/>
              <c:layout>
                <c:manualLayout>
                  <c:x val="5.4005043192740972E-3"/>
                  <c:y val="1.1267988665488931E-2"/>
                </c:manualLayout>
              </c:layout>
              <c:tx>
                <c:rich>
                  <a:bodyPr/>
                  <a:lstStyle/>
                  <a:p>
                    <a:fld id="{0FBD1485-0A74-9144-9D68-93933641B930}" type="VALUE">
                      <a:rPr lang="en-US" b="0" i="0">
                        <a:solidFill>
                          <a:srgbClr val="FFFFFF"/>
                        </a:solidFill>
                        <a:latin typeface="Graphik" panose="020B0503030202060203" pitchFamily="34" charset="77"/>
                      </a:rPr>
                      <a:pPr/>
                      <a:t>[VALUE]</a:t>
                    </a:fld>
                    <a:endParaRPr lang="pt-B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2-7E8F-A543-BFA1-816AE8D9F347}"/>
                </c:ext>
              </c:extLst>
            </c:dLbl>
            <c:dLbl>
              <c:idx val="2"/>
              <c:layout>
                <c:manualLayout>
                  <c:x val="-1.2369339764999659E-2"/>
                  <c:y val="-2.6764545512355346E-3"/>
                </c:manualLayout>
              </c:layout>
              <c:tx>
                <c:rich>
                  <a:bodyPr/>
                  <a:lstStyle/>
                  <a:p>
                    <a:fld id="{17DCF248-FF6C-3243-BAD6-B70E43B785FB}" type="VALUE">
                      <a:rPr lang="en-US" b="0" i="0">
                        <a:latin typeface="Graphik" panose="020B0503030202060203" pitchFamily="34" charset="77"/>
                      </a:rPr>
                      <a:pPr/>
                      <a:t>[VALUE]</a:t>
                    </a:fld>
                    <a:endParaRPr lang="pt-B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4-7E8F-A543-BFA1-816AE8D9F347}"/>
                </c:ext>
              </c:extLst>
            </c:dLbl>
            <c:dLbl>
              <c:idx val="3"/>
              <c:tx>
                <c:rich>
                  <a:bodyPr rot="0" spcFirstLastPara="1" vertOverflow="ellipsis" vert="horz" wrap="square" lIns="38100" tIns="19050" rIns="38100" bIns="19050" anchor="ctr" anchorCtr="1">
                    <a:spAutoFit/>
                  </a:bodyPr>
                  <a:lstStyle/>
                  <a:p>
                    <a:pPr>
                      <a:defRPr sz="1000" b="0" i="0" u="none" strike="noStrike" kern="1200" baseline="0">
                        <a:solidFill>
                          <a:schemeClr val="tx1">
                            <a:lumMod val="95000"/>
                            <a:lumOff val="5000"/>
                          </a:schemeClr>
                        </a:solidFill>
                        <a:latin typeface="Graphik" panose="020B0503030202060203" pitchFamily="34" charset="77"/>
                        <a:ea typeface="+mn-ea"/>
                        <a:cs typeface="+mn-cs"/>
                      </a:defRPr>
                    </a:pPr>
                    <a:fld id="{6E5DDCE9-5CFA-6C4C-94C0-3B54ECA1A8FE}" type="VALUE">
                      <a:rPr lang="en-US">
                        <a:solidFill>
                          <a:schemeClr val="tx1">
                            <a:lumMod val="95000"/>
                            <a:lumOff val="5000"/>
                          </a:schemeClr>
                        </a:solidFill>
                      </a:rPr>
                      <a:pPr>
                        <a:defRPr sz="1000">
                          <a:solidFill>
                            <a:schemeClr val="tx1">
                              <a:lumMod val="95000"/>
                              <a:lumOff val="5000"/>
                            </a:schemeClr>
                          </a:solidFill>
                          <a:latin typeface="Graphik" panose="020B0503030202060203" pitchFamily="34" charset="77"/>
                        </a:defRPr>
                      </a:pPr>
                      <a:t>[VALUE]</a:t>
                    </a:fld>
                    <a:endParaRPr lang="pt-BR"/>
                  </a:p>
                </c:rich>
              </c:tx>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95000"/>
                          <a:lumOff val="5000"/>
                        </a:schemeClr>
                      </a:solidFill>
                      <a:latin typeface="Graphik" panose="020B0503030202060203" pitchFamily="34" charset="77"/>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6-7E8F-A543-BFA1-816AE8D9F347}"/>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FFFFFF"/>
                    </a:solidFill>
                    <a:latin typeface="Graphik" panose="020B0503030202060203" pitchFamily="34" charset="77"/>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extLst>
          </c:dLbls>
          <c:cat>
            <c:strRef>
              <c:f>Sheet1!$A$2:$A$8</c:f>
              <c:strCache>
                <c:ptCount val="7"/>
                <c:pt idx="0">
                  <c:v>Item 1</c:v>
                </c:pt>
                <c:pt idx="1">
                  <c:v>Item 2</c:v>
                </c:pt>
                <c:pt idx="2">
                  <c:v>Item 3</c:v>
                </c:pt>
                <c:pt idx="3">
                  <c:v>Item 4</c:v>
                </c:pt>
                <c:pt idx="4">
                  <c:v>Item 5</c:v>
                </c:pt>
                <c:pt idx="5">
                  <c:v>Item 6</c:v>
                </c:pt>
                <c:pt idx="6">
                  <c:v>Item 7</c:v>
                </c:pt>
              </c:strCache>
            </c:strRef>
          </c:cat>
          <c:val>
            <c:numRef>
              <c:f>Sheet1!$C$2:$C$8</c:f>
              <c:numCache>
                <c:formatCode>0%</c:formatCode>
                <c:ptCount val="7"/>
                <c:pt idx="0">
                  <c:v>7.0000000000000007E-2</c:v>
                </c:pt>
                <c:pt idx="1">
                  <c:v>0.3</c:v>
                </c:pt>
                <c:pt idx="2">
                  <c:v>0.35</c:v>
                </c:pt>
                <c:pt idx="3">
                  <c:v>0.28000000000000003</c:v>
                </c:pt>
              </c:numCache>
            </c:numRef>
          </c:val>
          <c:extLst>
            <c:ext xmlns:c16="http://schemas.microsoft.com/office/drawing/2014/chart" uri="{C3380CC4-5D6E-409C-BE32-E72D297353CC}">
              <c16:uniqueId val="{0000001D-7E8F-A543-BFA1-816AE8D9F347}"/>
            </c:ext>
          </c:extLst>
        </c:ser>
        <c:dLbls>
          <c:showLegendKey val="0"/>
          <c:showVal val="0"/>
          <c:showCatName val="0"/>
          <c:showSerName val="0"/>
          <c:showPercent val="0"/>
          <c:showBubbleSize val="0"/>
          <c:showLeaderLines val="1"/>
        </c:dLbls>
        <c:firstSliceAng val="335"/>
        <c:holeSize val="51"/>
      </c:doughnutChart>
      <c:spPr>
        <a:noFill/>
        <a:ln>
          <a:noFill/>
        </a:ln>
        <a:effectLst/>
      </c:spPr>
    </c:plotArea>
    <c:legend>
      <c:legendPos val="r"/>
      <c:layout>
        <c:manualLayout>
          <c:xMode val="edge"/>
          <c:yMode val="edge"/>
          <c:x val="0.70263113627725815"/>
          <c:y val="0.2435231519430269"/>
          <c:w val="0.17916506646402405"/>
          <c:h val="0.42761125134679628"/>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95000"/>
                  <a:lumOff val="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pt-BR" noProof="1"/>
              <a:t>Y-values title placeholder</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AR"/>
        </a:p>
      </c:txPr>
    </c:title>
    <c:autoTitleDeleted val="0"/>
    <c:plotArea>
      <c:layout>
        <c:manualLayout>
          <c:layoutTarget val="inner"/>
          <c:xMode val="edge"/>
          <c:yMode val="edge"/>
          <c:x val="8.6348412072778227E-2"/>
          <c:y val="0.17942233513051861"/>
          <c:w val="0.8851527155473623"/>
          <c:h val="0.7092983561955587"/>
        </c:manualLayout>
      </c:layout>
      <c:scatterChart>
        <c:scatterStyle val="lineMarker"/>
        <c:varyColors val="0"/>
        <c:ser>
          <c:idx val="0"/>
          <c:order val="0"/>
          <c:tx>
            <c:strRef>
              <c:f>Sheet1!$B$1</c:f>
              <c:strCache>
                <c:ptCount val="1"/>
                <c:pt idx="0">
                  <c:v>Y-Values</c:v>
                </c:pt>
              </c:strCache>
            </c:strRef>
          </c:tx>
          <c:spPr>
            <a:ln w="19050" cap="rnd">
              <a:solidFill>
                <a:schemeClr val="accent2"/>
              </a:solidFill>
              <a:round/>
            </a:ln>
            <a:effectLst/>
          </c:spPr>
          <c:marker>
            <c:symbol val="circle"/>
            <c:size val="5"/>
            <c:spPr>
              <a:solidFill>
                <a:schemeClr val="accent2"/>
              </a:solidFill>
              <a:ln w="9525">
                <a:noFill/>
              </a:ln>
              <a:effectLst/>
            </c:spPr>
          </c:marker>
          <c:dPt>
            <c:idx val="1"/>
            <c:marker>
              <c:symbol val="circle"/>
              <c:size val="5"/>
              <c:spPr>
                <a:solidFill>
                  <a:schemeClr val="accent2"/>
                </a:solidFill>
                <a:ln w="12700">
                  <a:solidFill>
                    <a:schemeClr val="tx1"/>
                  </a:solidFill>
                </a:ln>
                <a:effectLst/>
              </c:spPr>
            </c:marker>
            <c:bubble3D val="0"/>
            <c:spPr>
              <a:ln w="12700" cap="rnd">
                <a:solidFill>
                  <a:schemeClr val="accent2"/>
                </a:solidFill>
                <a:round/>
              </a:ln>
              <a:effectLst/>
            </c:spPr>
            <c:extLst>
              <c:ext xmlns:c16="http://schemas.microsoft.com/office/drawing/2014/chart" uri="{C3380CC4-5D6E-409C-BE32-E72D297353CC}">
                <c16:uniqueId val="{00000000-EEA1-8C46-BC55-1A3A69B7EEEC}"/>
              </c:ext>
            </c:extLst>
          </c:dPt>
          <c:dPt>
            <c:idx val="2"/>
            <c:marker>
              <c:symbol val="circle"/>
              <c:size val="5"/>
              <c:spPr>
                <a:solidFill>
                  <a:schemeClr val="tx1"/>
                </a:solidFill>
                <a:ln w="9525">
                  <a:solidFill>
                    <a:schemeClr val="bg2"/>
                  </a:solidFill>
                </a:ln>
                <a:effectLst/>
              </c:spPr>
            </c:marker>
            <c:bubble3D val="0"/>
            <c:spPr>
              <a:ln w="50800" cap="rnd">
                <a:solidFill>
                  <a:schemeClr val="bg2"/>
                </a:solidFill>
                <a:round/>
              </a:ln>
              <a:effectLst/>
            </c:spPr>
            <c:extLst>
              <c:ext xmlns:c16="http://schemas.microsoft.com/office/drawing/2014/chart" uri="{C3380CC4-5D6E-409C-BE32-E72D297353CC}">
                <c16:uniqueId val="{00000001-EEA1-8C46-BC55-1A3A69B7EEEC}"/>
              </c:ext>
            </c:extLst>
          </c:dPt>
          <c:xVal>
            <c:numRef>
              <c:f>Sheet1!$A$2:$A$4</c:f>
              <c:numCache>
                <c:formatCode>General</c:formatCode>
                <c:ptCount val="3"/>
                <c:pt idx="0">
                  <c:v>0.7</c:v>
                </c:pt>
                <c:pt idx="1">
                  <c:v>1.8</c:v>
                </c:pt>
                <c:pt idx="2">
                  <c:v>2.6</c:v>
                </c:pt>
              </c:numCache>
            </c:numRef>
          </c:xVal>
          <c:yVal>
            <c:numRef>
              <c:f>Sheet1!$B$2:$B$4</c:f>
              <c:numCache>
                <c:formatCode>General</c:formatCode>
                <c:ptCount val="3"/>
                <c:pt idx="0">
                  <c:v>2.7</c:v>
                </c:pt>
                <c:pt idx="1">
                  <c:v>3.2</c:v>
                </c:pt>
                <c:pt idx="2">
                  <c:v>0.8</c:v>
                </c:pt>
              </c:numCache>
            </c:numRef>
          </c:yVal>
          <c:smooth val="0"/>
          <c:extLst>
            <c:ext xmlns:c16="http://schemas.microsoft.com/office/drawing/2014/chart" uri="{C3380CC4-5D6E-409C-BE32-E72D297353CC}">
              <c16:uniqueId val="{00000000-81C5-2941-A8B1-90DAA6178A56}"/>
            </c:ext>
          </c:extLst>
        </c:ser>
        <c:dLbls>
          <c:showLegendKey val="0"/>
          <c:showVal val="0"/>
          <c:showCatName val="0"/>
          <c:showSerName val="0"/>
          <c:showPercent val="0"/>
          <c:showBubbleSize val="0"/>
        </c:dLbls>
        <c:axId val="569077728"/>
        <c:axId val="569079440"/>
      </c:scatterChart>
      <c:valAx>
        <c:axId val="56907772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AR"/>
          </a:p>
        </c:txPr>
        <c:crossAx val="569079440"/>
        <c:crosses val="autoZero"/>
        <c:crossBetween val="midCat"/>
      </c:valAx>
      <c:valAx>
        <c:axId val="56907944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AR"/>
          </a:p>
        </c:txPr>
        <c:crossAx val="569077728"/>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AR"/>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pt-BR" noProof="1"/>
              <a:t>Y-values title placeholder</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AR"/>
        </a:p>
      </c:txPr>
    </c:title>
    <c:autoTitleDeleted val="0"/>
    <c:plotArea>
      <c:layout/>
      <c:bubbleChart>
        <c:varyColors val="0"/>
        <c:ser>
          <c:idx val="0"/>
          <c:order val="0"/>
          <c:tx>
            <c:strRef>
              <c:f>Sheet1!$B$1</c:f>
              <c:strCache>
                <c:ptCount val="1"/>
                <c:pt idx="0">
                  <c:v>Y-Values</c:v>
                </c:pt>
              </c:strCache>
            </c:strRef>
          </c:tx>
          <c:spPr>
            <a:solidFill>
              <a:schemeClr val="accent5"/>
            </a:solidFill>
            <a:ln>
              <a:noFill/>
            </a:ln>
            <a:effectLst/>
          </c:spPr>
          <c:invertIfNegative val="0"/>
          <c:dPt>
            <c:idx val="0"/>
            <c:invertIfNegative val="0"/>
            <c:bubble3D val="0"/>
            <c:spPr>
              <a:solidFill>
                <a:schemeClr val="bg2"/>
              </a:solidFill>
              <a:ln>
                <a:noFill/>
              </a:ln>
              <a:effectLst/>
            </c:spPr>
            <c:extLst>
              <c:ext xmlns:c16="http://schemas.microsoft.com/office/drawing/2014/chart" uri="{C3380CC4-5D6E-409C-BE32-E72D297353CC}">
                <c16:uniqueId val="{00000002-1A05-674A-96D6-9281C5884405}"/>
              </c:ext>
            </c:extLst>
          </c:dPt>
          <c:dPt>
            <c:idx val="1"/>
            <c:invertIfNegative val="0"/>
            <c:bubble3D val="0"/>
            <c:spPr>
              <a:solidFill>
                <a:schemeClr val="bg2">
                  <a:lumMod val="60000"/>
                  <a:lumOff val="40000"/>
                </a:schemeClr>
              </a:solidFill>
              <a:ln>
                <a:noFill/>
              </a:ln>
              <a:effectLst/>
            </c:spPr>
            <c:extLst>
              <c:ext xmlns:c16="http://schemas.microsoft.com/office/drawing/2014/chart" uri="{C3380CC4-5D6E-409C-BE32-E72D297353CC}">
                <c16:uniqueId val="{00000003-1A05-674A-96D6-9281C5884405}"/>
              </c:ext>
            </c:extLst>
          </c:dPt>
          <c:dPt>
            <c:idx val="2"/>
            <c:invertIfNegative val="0"/>
            <c:bubble3D val="0"/>
            <c:spPr>
              <a:solidFill>
                <a:schemeClr val="accent3"/>
              </a:solidFill>
              <a:ln>
                <a:noFill/>
              </a:ln>
              <a:effectLst/>
            </c:spPr>
            <c:extLst>
              <c:ext xmlns:c16="http://schemas.microsoft.com/office/drawing/2014/chart" uri="{C3380CC4-5D6E-409C-BE32-E72D297353CC}">
                <c16:uniqueId val="{00000004-1A05-674A-96D6-9281C5884405}"/>
              </c:ext>
            </c:extLst>
          </c:dPt>
          <c:xVal>
            <c:numRef>
              <c:f>Sheet1!$A$2:$A$4</c:f>
              <c:numCache>
                <c:formatCode>General</c:formatCode>
                <c:ptCount val="3"/>
                <c:pt idx="0">
                  <c:v>0.7</c:v>
                </c:pt>
                <c:pt idx="1">
                  <c:v>1.8</c:v>
                </c:pt>
                <c:pt idx="2">
                  <c:v>2.6</c:v>
                </c:pt>
              </c:numCache>
            </c:numRef>
          </c:xVal>
          <c:yVal>
            <c:numRef>
              <c:f>Sheet1!$B$2:$B$4</c:f>
              <c:numCache>
                <c:formatCode>General</c:formatCode>
                <c:ptCount val="3"/>
                <c:pt idx="0">
                  <c:v>2.7</c:v>
                </c:pt>
                <c:pt idx="1">
                  <c:v>3.2</c:v>
                </c:pt>
                <c:pt idx="2">
                  <c:v>0.8</c:v>
                </c:pt>
              </c:numCache>
            </c:numRef>
          </c:yVal>
          <c:bubbleSize>
            <c:numRef>
              <c:f>Sheet1!$C$2:$C$4</c:f>
              <c:numCache>
                <c:formatCode>General</c:formatCode>
                <c:ptCount val="3"/>
                <c:pt idx="0">
                  <c:v>10</c:v>
                </c:pt>
                <c:pt idx="1">
                  <c:v>4</c:v>
                </c:pt>
                <c:pt idx="2">
                  <c:v>8</c:v>
                </c:pt>
              </c:numCache>
            </c:numRef>
          </c:bubbleSize>
          <c:bubble3D val="0"/>
          <c:extLst>
            <c:ext xmlns:c16="http://schemas.microsoft.com/office/drawing/2014/chart" uri="{C3380CC4-5D6E-409C-BE32-E72D297353CC}">
              <c16:uniqueId val="{00000000-1A05-674A-96D6-9281C5884405}"/>
            </c:ext>
          </c:extLst>
        </c:ser>
        <c:dLbls>
          <c:showLegendKey val="0"/>
          <c:showVal val="0"/>
          <c:showCatName val="0"/>
          <c:showSerName val="0"/>
          <c:showPercent val="0"/>
          <c:showBubbleSize val="0"/>
        </c:dLbls>
        <c:bubbleScale val="100"/>
        <c:showNegBubbles val="0"/>
        <c:axId val="558843040"/>
        <c:axId val="558844752"/>
      </c:bubbleChart>
      <c:valAx>
        <c:axId val="55884304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AR"/>
          </a:p>
        </c:txPr>
        <c:crossAx val="558844752"/>
        <c:crosses val="autoZero"/>
        <c:crossBetween val="midCat"/>
      </c:valAx>
      <c:valAx>
        <c:axId val="55884475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AR"/>
          </a:p>
        </c:txPr>
        <c:crossAx val="558843040"/>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AR"/>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pt-BR" noProof="1"/>
              <a:t>Stock</a:t>
            </a:r>
            <a:r>
              <a:rPr lang="pt-BR" baseline="0" noProof="1"/>
              <a:t> c</a:t>
            </a:r>
            <a:r>
              <a:rPr lang="pt-BR" noProof="1"/>
              <a:t>hart title placeholder</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AR"/>
        </a:p>
      </c:txPr>
    </c:title>
    <c:autoTitleDeleted val="0"/>
    <c:plotArea>
      <c:layout/>
      <c:barChart>
        <c:barDir val="col"/>
        <c:grouping val="clustered"/>
        <c:varyColors val="0"/>
        <c:ser>
          <c:idx val="0"/>
          <c:order val="0"/>
          <c:tx>
            <c:strRef>
              <c:f>Sheet1!$B$1</c:f>
              <c:strCache>
                <c:ptCount val="1"/>
                <c:pt idx="0">
                  <c:v>Volume</c:v>
                </c:pt>
              </c:strCache>
            </c:strRef>
          </c:tx>
          <c:spPr>
            <a:solidFill>
              <a:srgbClr val="F2F2F0"/>
            </a:solidFill>
            <a:ln w="19050">
              <a:noFill/>
            </a:ln>
            <a:effectLst/>
          </c:spPr>
          <c:invertIfNegative val="0"/>
          <c:cat>
            <c:strRef>
              <c:f>Sheet1!$A$2:$A$6</c:f>
              <c:strCache>
                <c:ptCount val="5"/>
                <c:pt idx="0">
                  <c:v>01.05.2002</c:v>
                </c:pt>
                <c:pt idx="1">
                  <c:v>01.06.2002</c:v>
                </c:pt>
                <c:pt idx="2">
                  <c:v>01.07.2002</c:v>
                </c:pt>
                <c:pt idx="3">
                  <c:v>01.08.2002</c:v>
                </c:pt>
                <c:pt idx="4">
                  <c:v>01.09.2002</c:v>
                </c:pt>
              </c:strCache>
            </c:strRef>
          </c:cat>
          <c:val>
            <c:numRef>
              <c:f>Sheet1!$B$2:$B$6</c:f>
              <c:numCache>
                <c:formatCode>General</c:formatCode>
                <c:ptCount val="5"/>
                <c:pt idx="0">
                  <c:v>70</c:v>
                </c:pt>
                <c:pt idx="1">
                  <c:v>120</c:v>
                </c:pt>
                <c:pt idx="2">
                  <c:v>150</c:v>
                </c:pt>
                <c:pt idx="3">
                  <c:v>135</c:v>
                </c:pt>
                <c:pt idx="4">
                  <c:v>148</c:v>
                </c:pt>
              </c:numCache>
            </c:numRef>
          </c:val>
          <c:extLst>
            <c:ext xmlns:c16="http://schemas.microsoft.com/office/drawing/2014/chart" uri="{C3380CC4-5D6E-409C-BE32-E72D297353CC}">
              <c16:uniqueId val="{00000000-A664-7B47-8201-17CEEE292A63}"/>
            </c:ext>
          </c:extLst>
        </c:ser>
        <c:dLbls>
          <c:showLegendKey val="0"/>
          <c:showVal val="0"/>
          <c:showCatName val="0"/>
          <c:showSerName val="0"/>
          <c:showPercent val="0"/>
          <c:showBubbleSize val="0"/>
        </c:dLbls>
        <c:gapWidth val="150"/>
        <c:axId val="558868912"/>
        <c:axId val="558870624"/>
      </c:barChart>
      <c:stockChart>
        <c:ser>
          <c:idx val="1"/>
          <c:order val="1"/>
          <c:tx>
            <c:strRef>
              <c:f>Sheet1!$C$1</c:f>
              <c:strCache>
                <c:ptCount val="1"/>
                <c:pt idx="0">
                  <c:v>Open</c:v>
                </c:pt>
              </c:strCache>
            </c:strRef>
          </c:tx>
          <c:spPr>
            <a:ln w="19050" cap="rnd">
              <a:noFill/>
              <a:round/>
            </a:ln>
            <a:effectLst/>
          </c:spPr>
          <c:marker>
            <c:symbol val="none"/>
          </c:marker>
          <c:cat>
            <c:strRef>
              <c:f>Sheet1!$A$2:$A$6</c:f>
              <c:strCache>
                <c:ptCount val="5"/>
                <c:pt idx="0">
                  <c:v>01.05.2002</c:v>
                </c:pt>
                <c:pt idx="1">
                  <c:v>01.06.2002</c:v>
                </c:pt>
                <c:pt idx="2">
                  <c:v>01.07.2002</c:v>
                </c:pt>
                <c:pt idx="3">
                  <c:v>01.08.2002</c:v>
                </c:pt>
                <c:pt idx="4">
                  <c:v>01.09.2002</c:v>
                </c:pt>
              </c:strCache>
            </c:strRef>
          </c:cat>
          <c:val>
            <c:numRef>
              <c:f>Sheet1!$C$2:$C$6</c:f>
              <c:numCache>
                <c:formatCode>General</c:formatCode>
                <c:ptCount val="5"/>
                <c:pt idx="0">
                  <c:v>44</c:v>
                </c:pt>
                <c:pt idx="1">
                  <c:v>25</c:v>
                </c:pt>
                <c:pt idx="2">
                  <c:v>38</c:v>
                </c:pt>
                <c:pt idx="3">
                  <c:v>50</c:v>
                </c:pt>
                <c:pt idx="4">
                  <c:v>34</c:v>
                </c:pt>
              </c:numCache>
            </c:numRef>
          </c:val>
          <c:smooth val="0"/>
          <c:extLst>
            <c:ext xmlns:c16="http://schemas.microsoft.com/office/drawing/2014/chart" uri="{C3380CC4-5D6E-409C-BE32-E72D297353CC}">
              <c16:uniqueId val="{00000001-A664-7B47-8201-17CEEE292A63}"/>
            </c:ext>
          </c:extLst>
        </c:ser>
        <c:ser>
          <c:idx val="2"/>
          <c:order val="2"/>
          <c:tx>
            <c:strRef>
              <c:f>Sheet1!$D$1</c:f>
              <c:strCache>
                <c:ptCount val="1"/>
                <c:pt idx="0">
                  <c:v>High</c:v>
                </c:pt>
              </c:strCache>
            </c:strRef>
          </c:tx>
          <c:spPr>
            <a:ln w="19050" cap="rnd">
              <a:noFill/>
              <a:round/>
            </a:ln>
            <a:effectLst/>
          </c:spPr>
          <c:marker>
            <c:symbol val="none"/>
          </c:marker>
          <c:cat>
            <c:strRef>
              <c:f>Sheet1!$A$2:$A$6</c:f>
              <c:strCache>
                <c:ptCount val="5"/>
                <c:pt idx="0">
                  <c:v>01.05.2002</c:v>
                </c:pt>
                <c:pt idx="1">
                  <c:v>01.06.2002</c:v>
                </c:pt>
                <c:pt idx="2">
                  <c:v>01.07.2002</c:v>
                </c:pt>
                <c:pt idx="3">
                  <c:v>01.08.2002</c:v>
                </c:pt>
                <c:pt idx="4">
                  <c:v>01.09.2002</c:v>
                </c:pt>
              </c:strCache>
            </c:strRef>
          </c:cat>
          <c:val>
            <c:numRef>
              <c:f>Sheet1!$D$2:$D$6</c:f>
              <c:numCache>
                <c:formatCode>General</c:formatCode>
                <c:ptCount val="5"/>
                <c:pt idx="0">
                  <c:v>55</c:v>
                </c:pt>
                <c:pt idx="1">
                  <c:v>57</c:v>
                </c:pt>
                <c:pt idx="2">
                  <c:v>57</c:v>
                </c:pt>
                <c:pt idx="3">
                  <c:v>58</c:v>
                </c:pt>
                <c:pt idx="4">
                  <c:v>58</c:v>
                </c:pt>
              </c:numCache>
            </c:numRef>
          </c:val>
          <c:smooth val="0"/>
          <c:extLst>
            <c:ext xmlns:c16="http://schemas.microsoft.com/office/drawing/2014/chart" uri="{C3380CC4-5D6E-409C-BE32-E72D297353CC}">
              <c16:uniqueId val="{00000002-A664-7B47-8201-17CEEE292A63}"/>
            </c:ext>
          </c:extLst>
        </c:ser>
        <c:ser>
          <c:idx val="3"/>
          <c:order val="3"/>
          <c:tx>
            <c:strRef>
              <c:f>Sheet1!$E$1</c:f>
              <c:strCache>
                <c:ptCount val="1"/>
                <c:pt idx="0">
                  <c:v>Low</c:v>
                </c:pt>
              </c:strCache>
            </c:strRef>
          </c:tx>
          <c:spPr>
            <a:ln w="19050" cap="rnd">
              <a:noFill/>
              <a:round/>
            </a:ln>
            <a:effectLst/>
          </c:spPr>
          <c:marker>
            <c:symbol val="none"/>
          </c:marker>
          <c:cat>
            <c:strRef>
              <c:f>Sheet1!$A$2:$A$6</c:f>
              <c:strCache>
                <c:ptCount val="5"/>
                <c:pt idx="0">
                  <c:v>01.05.2002</c:v>
                </c:pt>
                <c:pt idx="1">
                  <c:v>01.06.2002</c:v>
                </c:pt>
                <c:pt idx="2">
                  <c:v>01.07.2002</c:v>
                </c:pt>
                <c:pt idx="3">
                  <c:v>01.08.2002</c:v>
                </c:pt>
                <c:pt idx="4">
                  <c:v>01.09.2002</c:v>
                </c:pt>
              </c:strCache>
            </c:strRef>
          </c:cat>
          <c:val>
            <c:numRef>
              <c:f>Sheet1!$E$2:$E$6</c:f>
              <c:numCache>
                <c:formatCode>General</c:formatCode>
                <c:ptCount val="5"/>
                <c:pt idx="0">
                  <c:v>11</c:v>
                </c:pt>
                <c:pt idx="1">
                  <c:v>12</c:v>
                </c:pt>
                <c:pt idx="2">
                  <c:v>13</c:v>
                </c:pt>
                <c:pt idx="3">
                  <c:v>11</c:v>
                </c:pt>
                <c:pt idx="4">
                  <c:v>25</c:v>
                </c:pt>
              </c:numCache>
            </c:numRef>
          </c:val>
          <c:smooth val="0"/>
          <c:extLst>
            <c:ext xmlns:c16="http://schemas.microsoft.com/office/drawing/2014/chart" uri="{C3380CC4-5D6E-409C-BE32-E72D297353CC}">
              <c16:uniqueId val="{00000003-A664-7B47-8201-17CEEE292A63}"/>
            </c:ext>
          </c:extLst>
        </c:ser>
        <c:ser>
          <c:idx val="4"/>
          <c:order val="4"/>
          <c:tx>
            <c:strRef>
              <c:f>Sheet1!$F$1</c:f>
              <c:strCache>
                <c:ptCount val="1"/>
                <c:pt idx="0">
                  <c:v>Close</c:v>
                </c:pt>
              </c:strCache>
            </c:strRef>
          </c:tx>
          <c:spPr>
            <a:ln w="19050" cap="rnd">
              <a:noFill/>
              <a:round/>
            </a:ln>
            <a:effectLst/>
          </c:spPr>
          <c:marker>
            <c:symbol val="none"/>
          </c:marker>
          <c:cat>
            <c:strRef>
              <c:f>Sheet1!$A$2:$A$6</c:f>
              <c:strCache>
                <c:ptCount val="5"/>
                <c:pt idx="0">
                  <c:v>01.05.2002</c:v>
                </c:pt>
                <c:pt idx="1">
                  <c:v>01.06.2002</c:v>
                </c:pt>
                <c:pt idx="2">
                  <c:v>01.07.2002</c:v>
                </c:pt>
                <c:pt idx="3">
                  <c:v>01.08.2002</c:v>
                </c:pt>
                <c:pt idx="4">
                  <c:v>01.09.2002</c:v>
                </c:pt>
              </c:strCache>
            </c:strRef>
          </c:cat>
          <c:val>
            <c:numRef>
              <c:f>Sheet1!$F$2:$F$6</c:f>
              <c:numCache>
                <c:formatCode>General</c:formatCode>
                <c:ptCount val="5"/>
                <c:pt idx="0">
                  <c:v>25</c:v>
                </c:pt>
                <c:pt idx="1">
                  <c:v>38</c:v>
                </c:pt>
                <c:pt idx="2">
                  <c:v>50</c:v>
                </c:pt>
                <c:pt idx="3">
                  <c:v>35</c:v>
                </c:pt>
                <c:pt idx="4">
                  <c:v>43</c:v>
                </c:pt>
              </c:numCache>
            </c:numRef>
          </c:val>
          <c:smooth val="0"/>
          <c:extLst>
            <c:ext xmlns:c16="http://schemas.microsoft.com/office/drawing/2014/chart" uri="{C3380CC4-5D6E-409C-BE32-E72D297353CC}">
              <c16:uniqueId val="{00000004-A664-7B47-8201-17CEEE292A63}"/>
            </c:ext>
          </c:extLst>
        </c:ser>
        <c:dLbls>
          <c:showLegendKey val="0"/>
          <c:showVal val="0"/>
          <c:showCatName val="0"/>
          <c:showSerName val="0"/>
          <c:showPercent val="0"/>
          <c:showBubbleSize val="0"/>
        </c:dLbls>
        <c:hiLowLines>
          <c:spPr>
            <a:ln w="9525" cap="flat" cmpd="sng" algn="ctr">
              <a:solidFill>
                <a:schemeClr val="tx1">
                  <a:lumMod val="75000"/>
                  <a:lumOff val="25000"/>
                </a:schemeClr>
              </a:solidFill>
              <a:round/>
            </a:ln>
            <a:effectLst/>
          </c:spPr>
        </c:hiLowLines>
        <c:upDownBars>
          <c:gapWidth val="150"/>
          <c:upBars>
            <c:spPr>
              <a:solidFill>
                <a:schemeClr val="accent2"/>
              </a:solidFill>
              <a:ln w="9525" cap="flat" cmpd="sng" algn="ctr">
                <a:solidFill>
                  <a:schemeClr val="tx1">
                    <a:lumMod val="65000"/>
                    <a:lumOff val="35000"/>
                  </a:schemeClr>
                </a:solidFill>
                <a:round/>
              </a:ln>
              <a:effectLst/>
            </c:spPr>
          </c:upBars>
          <c:downBars>
            <c:spPr>
              <a:solidFill>
                <a:schemeClr val="accent1"/>
              </a:solidFill>
              <a:ln w="9525" cap="flat" cmpd="sng" algn="ctr">
                <a:solidFill>
                  <a:schemeClr val="tx1">
                    <a:lumMod val="65000"/>
                    <a:lumOff val="35000"/>
                  </a:schemeClr>
                </a:solidFill>
                <a:round/>
              </a:ln>
              <a:effectLst/>
            </c:spPr>
          </c:downBars>
        </c:upDownBars>
        <c:axId val="546637728"/>
        <c:axId val="546480736"/>
      </c:stockChart>
      <c:catAx>
        <c:axId val="55886891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AR"/>
          </a:p>
        </c:txPr>
        <c:crossAx val="558870624"/>
        <c:crosses val="autoZero"/>
        <c:auto val="1"/>
        <c:lblAlgn val="ctr"/>
        <c:lblOffset val="100"/>
        <c:noMultiLvlLbl val="1"/>
      </c:catAx>
      <c:valAx>
        <c:axId val="55887062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AR"/>
          </a:p>
        </c:txPr>
        <c:crossAx val="558868912"/>
        <c:crosses val="autoZero"/>
        <c:crossBetween val="between"/>
      </c:valAx>
      <c:valAx>
        <c:axId val="546480736"/>
        <c:scaling>
          <c:orientation val="minMax"/>
        </c:scaling>
        <c:delete val="0"/>
        <c:axPos val="r"/>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AR"/>
          </a:p>
        </c:txPr>
        <c:crossAx val="546637728"/>
        <c:crosses val="max"/>
        <c:crossBetween val="between"/>
      </c:valAx>
      <c:catAx>
        <c:axId val="546637728"/>
        <c:scaling>
          <c:orientation val="minMax"/>
        </c:scaling>
        <c:delete val="1"/>
        <c:axPos val="b"/>
        <c:numFmt formatCode="General" sourceLinked="1"/>
        <c:majorTickMark val="out"/>
        <c:minorTickMark val="none"/>
        <c:tickLblPos val="nextTo"/>
        <c:crossAx val="546480736"/>
        <c:crosses val="autoZero"/>
        <c:auto val="1"/>
        <c:lblAlgn val="ctr"/>
        <c:lblOffset val="100"/>
        <c:noMultiLvlLbl val="1"/>
      </c:cat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AR"/>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AR"/>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875401596522691"/>
          <c:y val="8.1162060717914486E-2"/>
          <c:w val="0.47865651387213509"/>
          <c:h val="0.80245206939466318"/>
        </c:manualLayout>
      </c:layout>
      <c:radarChart>
        <c:radarStyle val="filled"/>
        <c:varyColors val="0"/>
        <c:ser>
          <c:idx val="0"/>
          <c:order val="0"/>
          <c:tx>
            <c:strRef>
              <c:f>Sheet1!$A$2</c:f>
              <c:strCache>
                <c:ptCount val="1"/>
                <c:pt idx="0">
                  <c:v>Label A</c:v>
                </c:pt>
              </c:strCache>
            </c:strRef>
          </c:tx>
          <c:spPr>
            <a:solidFill>
              <a:schemeClr val="tx1">
                <a:lumMod val="50000"/>
                <a:lumOff val="50000"/>
              </a:schemeClr>
            </a:solidFill>
            <a:ln>
              <a:noFill/>
            </a:ln>
            <a:effectLst/>
          </c:spPr>
          <c:cat>
            <c:strRef>
              <c:f>Sheet1!$B$1:$F$1</c:f>
              <c:strCache>
                <c:ptCount val="5"/>
                <c:pt idx="0">
                  <c:v>Criterion 1</c:v>
                </c:pt>
                <c:pt idx="1">
                  <c:v>Criterion 2</c:v>
                </c:pt>
                <c:pt idx="2">
                  <c:v>Criterion 3</c:v>
                </c:pt>
                <c:pt idx="3">
                  <c:v>Criterion 4</c:v>
                </c:pt>
                <c:pt idx="4">
                  <c:v>Criterion 5</c:v>
                </c:pt>
              </c:strCache>
            </c:strRef>
          </c:cat>
          <c:val>
            <c:numRef>
              <c:f>Sheet1!$B$2:$F$2</c:f>
              <c:numCache>
                <c:formatCode>General</c:formatCode>
                <c:ptCount val="5"/>
                <c:pt idx="0">
                  <c:v>100</c:v>
                </c:pt>
                <c:pt idx="1">
                  <c:v>80</c:v>
                </c:pt>
                <c:pt idx="2">
                  <c:v>90</c:v>
                </c:pt>
                <c:pt idx="3">
                  <c:v>70</c:v>
                </c:pt>
                <c:pt idx="4">
                  <c:v>50</c:v>
                </c:pt>
              </c:numCache>
            </c:numRef>
          </c:val>
          <c:extLst>
            <c:ext xmlns:c16="http://schemas.microsoft.com/office/drawing/2014/chart" uri="{C3380CC4-5D6E-409C-BE32-E72D297353CC}">
              <c16:uniqueId val="{00000000-5B5D-442A-9502-74B5BDD2D376}"/>
            </c:ext>
          </c:extLst>
        </c:ser>
        <c:ser>
          <c:idx val="1"/>
          <c:order val="1"/>
          <c:tx>
            <c:strRef>
              <c:f>Sheet1!$A$3</c:f>
              <c:strCache>
                <c:ptCount val="1"/>
                <c:pt idx="0">
                  <c:v>Label B</c:v>
                </c:pt>
              </c:strCache>
            </c:strRef>
          </c:tx>
          <c:spPr>
            <a:solidFill>
              <a:schemeClr val="bg1">
                <a:lumMod val="85000"/>
              </a:schemeClr>
            </a:solidFill>
            <a:ln>
              <a:noFill/>
            </a:ln>
            <a:effectLst/>
          </c:spPr>
          <c:cat>
            <c:strRef>
              <c:f>Sheet1!$B$1:$F$1</c:f>
              <c:strCache>
                <c:ptCount val="5"/>
                <c:pt idx="0">
                  <c:v>Criterion 1</c:v>
                </c:pt>
                <c:pt idx="1">
                  <c:v>Criterion 2</c:v>
                </c:pt>
                <c:pt idx="2">
                  <c:v>Criterion 3</c:v>
                </c:pt>
                <c:pt idx="3">
                  <c:v>Criterion 4</c:v>
                </c:pt>
                <c:pt idx="4">
                  <c:v>Criterion 5</c:v>
                </c:pt>
              </c:strCache>
            </c:strRef>
          </c:cat>
          <c:val>
            <c:numRef>
              <c:f>Sheet1!$B$3:$F$3</c:f>
              <c:numCache>
                <c:formatCode>General</c:formatCode>
                <c:ptCount val="5"/>
                <c:pt idx="0">
                  <c:v>40</c:v>
                </c:pt>
                <c:pt idx="1">
                  <c:v>60</c:v>
                </c:pt>
                <c:pt idx="2">
                  <c:v>80</c:v>
                </c:pt>
                <c:pt idx="3">
                  <c:v>50</c:v>
                </c:pt>
                <c:pt idx="4">
                  <c:v>60</c:v>
                </c:pt>
              </c:numCache>
            </c:numRef>
          </c:val>
          <c:extLst>
            <c:ext xmlns:c16="http://schemas.microsoft.com/office/drawing/2014/chart" uri="{C3380CC4-5D6E-409C-BE32-E72D297353CC}">
              <c16:uniqueId val="{00000001-5B5D-442A-9502-74B5BDD2D376}"/>
            </c:ext>
          </c:extLst>
        </c:ser>
        <c:ser>
          <c:idx val="2"/>
          <c:order val="2"/>
          <c:tx>
            <c:strRef>
              <c:f>Sheet1!$A$4</c:f>
              <c:strCache>
                <c:ptCount val="1"/>
                <c:pt idx="0">
                  <c:v>Highlighted label</c:v>
                </c:pt>
              </c:strCache>
            </c:strRef>
          </c:tx>
          <c:spPr>
            <a:solidFill>
              <a:schemeClr val="bg2"/>
            </a:solidFill>
            <a:ln>
              <a:noFill/>
            </a:ln>
            <a:effectLst/>
          </c:spPr>
          <c:cat>
            <c:strRef>
              <c:f>Sheet1!$B$1:$F$1</c:f>
              <c:strCache>
                <c:ptCount val="5"/>
                <c:pt idx="0">
                  <c:v>Criterion 1</c:v>
                </c:pt>
                <c:pt idx="1">
                  <c:v>Criterion 2</c:v>
                </c:pt>
                <c:pt idx="2">
                  <c:v>Criterion 3</c:v>
                </c:pt>
                <c:pt idx="3">
                  <c:v>Criterion 4</c:v>
                </c:pt>
                <c:pt idx="4">
                  <c:v>Criterion 5</c:v>
                </c:pt>
              </c:strCache>
            </c:strRef>
          </c:cat>
          <c:val>
            <c:numRef>
              <c:f>Sheet1!$B$4:$F$4</c:f>
              <c:numCache>
                <c:formatCode>General</c:formatCode>
                <c:ptCount val="5"/>
                <c:pt idx="0">
                  <c:v>30</c:v>
                </c:pt>
                <c:pt idx="1">
                  <c:v>40</c:v>
                </c:pt>
                <c:pt idx="2">
                  <c:v>10</c:v>
                </c:pt>
                <c:pt idx="3">
                  <c:v>40</c:v>
                </c:pt>
                <c:pt idx="4">
                  <c:v>30</c:v>
                </c:pt>
              </c:numCache>
            </c:numRef>
          </c:val>
          <c:extLst>
            <c:ext xmlns:c16="http://schemas.microsoft.com/office/drawing/2014/chart" uri="{C3380CC4-5D6E-409C-BE32-E72D297353CC}">
              <c16:uniqueId val="{00000002-5B5D-442A-9502-74B5BDD2D376}"/>
            </c:ext>
          </c:extLst>
        </c:ser>
        <c:dLbls>
          <c:showLegendKey val="0"/>
          <c:showVal val="0"/>
          <c:showCatName val="0"/>
          <c:showSerName val="0"/>
          <c:showPercent val="0"/>
          <c:showBubbleSize val="0"/>
        </c:dLbls>
        <c:axId val="549485584"/>
        <c:axId val="637844352"/>
      </c:radarChart>
      <c:catAx>
        <c:axId val="549485584"/>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0" spcFirstLastPara="1" vertOverflow="ellipsis" wrap="square" anchor="ctr" anchorCtr="1"/>
          <a:lstStyle/>
          <a:p>
            <a:pPr>
              <a:defRPr sz="1400" b="0" i="0" u="none" strike="noStrike" kern="1200" baseline="0">
                <a:solidFill>
                  <a:schemeClr val="tx1"/>
                </a:solidFill>
                <a:latin typeface="+mn-lt"/>
                <a:ea typeface="+mn-ea"/>
                <a:cs typeface="+mn-cs"/>
              </a:defRPr>
            </a:pPr>
            <a:endParaRPr lang="en-US"/>
          </a:p>
        </c:txPr>
        <c:crossAx val="637844352"/>
        <c:crosses val="autoZero"/>
        <c:auto val="0"/>
        <c:lblAlgn val="ctr"/>
        <c:lblOffset val="100"/>
        <c:noMultiLvlLbl val="0"/>
      </c:catAx>
      <c:valAx>
        <c:axId val="637844352"/>
        <c:scaling>
          <c:orientation val="minMax"/>
        </c:scaling>
        <c:delete val="0"/>
        <c:axPos val="l"/>
        <c:minorGridlines>
          <c:spPr>
            <a:ln w="6350" cap="flat" cmpd="sng" algn="ctr">
              <a:solidFill>
                <a:srgbClr val="CFCFCF"/>
              </a:solidFill>
              <a:prstDash val="solid"/>
              <a:round/>
            </a:ln>
            <a:effectLst/>
          </c:spPr>
        </c:minorGridlines>
        <c:numFmt formatCode="General" sourceLinked="1"/>
        <c:majorTickMark val="none"/>
        <c:minorTickMark val="cross"/>
        <c:tickLblPos val="none"/>
        <c:spPr>
          <a:noFill/>
          <a:ln w="6350" cap="flat" cmpd="sng" algn="ctr">
            <a:solidFill>
              <a:schemeClr val="tx1">
                <a:lumMod val="50000"/>
                <a:lumOff val="50000"/>
              </a:schemeClr>
            </a:solidFill>
            <a:prstDash val="solid"/>
            <a:round/>
          </a:ln>
          <a:effectLst/>
        </c:spPr>
        <c:txPr>
          <a:bodyPr rot="-60000000" spcFirstLastPara="1" vertOverflow="ellipsis" vert="horz" wrap="square" anchor="ctr" anchorCtr="1"/>
          <a:lstStyle/>
          <a:p>
            <a:pPr>
              <a:defRPr sz="1400" b="0" i="0" u="none" strike="noStrike" kern="1200" baseline="0">
                <a:solidFill>
                  <a:schemeClr val="tx2"/>
                </a:solidFill>
                <a:latin typeface="+mn-lt"/>
                <a:ea typeface="+mn-ea"/>
                <a:cs typeface="+mn-cs"/>
              </a:defRPr>
            </a:pPr>
            <a:endParaRPr lang="en-US"/>
          </a:p>
        </c:txPr>
        <c:crossAx val="549485584"/>
        <c:crosses val="autoZero"/>
        <c:crossBetween val="between"/>
        <c:minorUnit val="20"/>
      </c:valAx>
      <c:spPr>
        <a:noFill/>
        <a:ln>
          <a:noFill/>
        </a:ln>
        <a:effectLst/>
      </c:spPr>
    </c:plotArea>
    <c:legend>
      <c:legendPos val="r"/>
      <c:layout>
        <c:manualLayout>
          <c:xMode val="edge"/>
          <c:yMode val="edge"/>
          <c:x val="0.31387980528346893"/>
          <c:y val="0.91063890603602404"/>
          <c:w val="0.49998061040142378"/>
          <c:h val="8.384751633164847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1400">
          <a:solidFill>
            <a:schemeClr val="tx2"/>
          </a:solidFill>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299638989169717"/>
          <c:y val="3.1180400890868598E-2"/>
          <c:w val="0.73092962534429617"/>
          <c:h val="0.84855233853006651"/>
        </c:manualLayout>
      </c:layout>
      <c:scatterChart>
        <c:scatterStyle val="lineMarker"/>
        <c:varyColors val="0"/>
        <c:ser>
          <c:idx val="0"/>
          <c:order val="0"/>
          <c:tx>
            <c:strRef>
              <c:f>Sheet1!$A$2</c:f>
              <c:strCache>
                <c:ptCount val="1"/>
                <c:pt idx="0">
                  <c:v>Y-Value</c:v>
                </c:pt>
              </c:strCache>
            </c:strRef>
          </c:tx>
          <c:spPr>
            <a:ln w="28575">
              <a:noFill/>
            </a:ln>
          </c:spPr>
          <c:marker>
            <c:symbol val="diamond"/>
            <c:size val="11"/>
            <c:spPr>
              <a:solidFill>
                <a:schemeClr val="accent1"/>
              </a:solidFill>
              <a:ln>
                <a:noFill/>
              </a:ln>
            </c:spPr>
          </c:marker>
          <c:dLbls>
            <c:dLbl>
              <c:idx val="4"/>
              <c:layout>
                <c:manualLayout>
                  <c:x val="-5.2015604681404422E-3"/>
                  <c:y val="-8.9119951009757128E-3"/>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5EE-4E71-9D8A-08A83D096BB8}"/>
                </c:ext>
              </c:extLst>
            </c:dLbl>
            <c:dLbl>
              <c:idx val="5"/>
              <c:layout>
                <c:manualLayout>
                  <c:x val="-5.2015604681404422E-3"/>
                  <c:y val="1.4853325168292861E-2"/>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5EE-4E71-9D8A-08A83D096BB8}"/>
                </c:ext>
              </c:extLst>
            </c:dLbl>
            <c:spPr>
              <a:noFill/>
              <a:ln>
                <a:noFill/>
              </a:ln>
              <a:effectLst/>
            </c:spPr>
            <c:txPr>
              <a:bodyPr/>
              <a:lstStyle/>
              <a:p>
                <a:pPr>
                  <a:defRPr b="0"/>
                </a:pPr>
                <a:endParaRPr lang="en-US"/>
              </a:p>
            </c:txPr>
            <c:showLegendKey val="0"/>
            <c:showVal val="0"/>
            <c:showCatName val="1"/>
            <c:showSerName val="0"/>
            <c:showPercent val="0"/>
            <c:showBubbleSize val="0"/>
            <c:showLeaderLines val="0"/>
            <c:extLst>
              <c:ext xmlns:c15="http://schemas.microsoft.com/office/drawing/2012/chart" uri="{CE6537A1-D6FC-4f65-9D91-7224C49458BB}">
                <c15:showLeaderLines val="0"/>
              </c:ext>
            </c:extLst>
          </c:dLbls>
          <c:xVal>
            <c:numRef>
              <c:f>Sheet1!$B$1:$J$1</c:f>
              <c:numCache>
                <c:formatCode>0%</c:formatCode>
                <c:ptCount val="9"/>
                <c:pt idx="0">
                  <c:v>0.70000000000000051</c:v>
                </c:pt>
                <c:pt idx="1">
                  <c:v>0.79</c:v>
                </c:pt>
                <c:pt idx="2">
                  <c:v>0.74000000000000055</c:v>
                </c:pt>
                <c:pt idx="3">
                  <c:v>0.54</c:v>
                </c:pt>
                <c:pt idx="4">
                  <c:v>0.5</c:v>
                </c:pt>
                <c:pt idx="5">
                  <c:v>0.44</c:v>
                </c:pt>
                <c:pt idx="6">
                  <c:v>0.68</c:v>
                </c:pt>
                <c:pt idx="7">
                  <c:v>0.3300000000000004</c:v>
                </c:pt>
                <c:pt idx="8">
                  <c:v>0.39000000000000035</c:v>
                </c:pt>
              </c:numCache>
            </c:numRef>
          </c:xVal>
          <c:yVal>
            <c:numRef>
              <c:f>Sheet1!$B$2:$J$2</c:f>
              <c:numCache>
                <c:formatCode>0%</c:formatCode>
                <c:ptCount val="9"/>
                <c:pt idx="0">
                  <c:v>0.45</c:v>
                </c:pt>
                <c:pt idx="1">
                  <c:v>0.3300000000000004</c:v>
                </c:pt>
                <c:pt idx="2">
                  <c:v>0.21000000000000013</c:v>
                </c:pt>
                <c:pt idx="3">
                  <c:v>0.29000000000000026</c:v>
                </c:pt>
                <c:pt idx="4">
                  <c:v>0.41000000000000025</c:v>
                </c:pt>
                <c:pt idx="5">
                  <c:v>0.38000000000000034</c:v>
                </c:pt>
                <c:pt idx="6">
                  <c:v>0.54</c:v>
                </c:pt>
                <c:pt idx="7">
                  <c:v>0.5</c:v>
                </c:pt>
                <c:pt idx="8">
                  <c:v>0.1</c:v>
                </c:pt>
              </c:numCache>
            </c:numRef>
          </c:yVal>
          <c:smooth val="0"/>
          <c:extLst>
            <c:ext xmlns:c16="http://schemas.microsoft.com/office/drawing/2014/chart" uri="{C3380CC4-5D6E-409C-BE32-E72D297353CC}">
              <c16:uniqueId val="{00000002-45EE-4E71-9D8A-08A83D096BB8}"/>
            </c:ext>
          </c:extLst>
        </c:ser>
        <c:dLbls>
          <c:showLegendKey val="0"/>
          <c:showVal val="0"/>
          <c:showCatName val="1"/>
          <c:showSerName val="0"/>
          <c:showPercent val="0"/>
          <c:showBubbleSize val="0"/>
        </c:dLbls>
        <c:axId val="176143920"/>
        <c:axId val="176144312"/>
      </c:scatterChart>
      <c:valAx>
        <c:axId val="176143920"/>
        <c:scaling>
          <c:orientation val="minMax"/>
          <c:max val="1"/>
          <c:min val="0"/>
        </c:scaling>
        <c:delete val="0"/>
        <c:axPos val="b"/>
        <c:minorGridlines/>
        <c:title>
          <c:tx>
            <c:rich>
              <a:bodyPr/>
              <a:lstStyle/>
              <a:p>
                <a:pPr>
                  <a:defRPr>
                    <a:solidFill>
                      <a:schemeClr val="tx1"/>
                    </a:solidFill>
                  </a:defRPr>
                </a:pPr>
                <a:r>
                  <a:rPr lang="pt-BR" sz="1000" b="1" i="0" noProof="1">
                    <a:solidFill>
                      <a:schemeClr val="tx1"/>
                    </a:solidFill>
                    <a:latin typeface="Graphik Semibold" panose="020B0503030202060203" pitchFamily="34" charset="77"/>
                  </a:rPr>
                  <a:t>X-axis</a:t>
                </a:r>
              </a:p>
            </c:rich>
          </c:tx>
          <c:layout>
            <c:manualLayout>
              <c:xMode val="edge"/>
              <c:yMode val="edge"/>
              <c:x val="0.48973551908092111"/>
              <c:y val="0.91257332805942826"/>
            </c:manualLayout>
          </c:layout>
          <c:overlay val="0"/>
        </c:title>
        <c:numFmt formatCode="0%" sourceLinked="1"/>
        <c:majorTickMark val="none"/>
        <c:minorTickMark val="none"/>
        <c:tickLblPos val="nextTo"/>
        <c:spPr>
          <a:ln>
            <a:solidFill>
              <a:schemeClr val="bg2"/>
            </a:solidFill>
          </a:ln>
        </c:spPr>
        <c:txPr>
          <a:bodyPr/>
          <a:lstStyle/>
          <a:p>
            <a:pPr>
              <a:defRPr>
                <a:solidFill>
                  <a:schemeClr val="tx2"/>
                </a:solidFill>
              </a:defRPr>
            </a:pPr>
            <a:endParaRPr lang="en-US"/>
          </a:p>
        </c:txPr>
        <c:crossAx val="176144312"/>
        <c:crosses val="autoZero"/>
        <c:crossBetween val="midCat"/>
        <c:majorUnit val="1"/>
        <c:minorUnit val="0.5"/>
      </c:valAx>
      <c:valAx>
        <c:axId val="176144312"/>
        <c:scaling>
          <c:orientation val="minMax"/>
          <c:max val="1"/>
          <c:min val="0"/>
        </c:scaling>
        <c:delete val="0"/>
        <c:axPos val="l"/>
        <c:minorGridlines/>
        <c:title>
          <c:tx>
            <c:rich>
              <a:bodyPr/>
              <a:lstStyle/>
              <a:p>
                <a:pPr>
                  <a:defRPr>
                    <a:solidFill>
                      <a:schemeClr val="tx1"/>
                    </a:solidFill>
                  </a:defRPr>
                </a:pPr>
                <a:r>
                  <a:rPr lang="pt-BR" b="1" i="0" noProof="1">
                    <a:solidFill>
                      <a:schemeClr val="tx1"/>
                    </a:solidFill>
                    <a:latin typeface="Graphik Semibold" panose="020B0503030202060203" pitchFamily="34" charset="77"/>
                  </a:rPr>
                  <a:t>Y-axis</a:t>
                </a:r>
              </a:p>
            </c:rich>
          </c:tx>
          <c:layout>
            <c:manualLayout>
              <c:xMode val="edge"/>
              <c:yMode val="edge"/>
              <c:x val="0.13229165600073722"/>
              <c:y val="0.38223687334464368"/>
            </c:manualLayout>
          </c:layout>
          <c:overlay val="0"/>
        </c:title>
        <c:numFmt formatCode="0%" sourceLinked="1"/>
        <c:majorTickMark val="out"/>
        <c:minorTickMark val="none"/>
        <c:tickLblPos val="nextTo"/>
        <c:spPr>
          <a:ln>
            <a:solidFill>
              <a:schemeClr val="bg2"/>
            </a:solidFill>
          </a:ln>
        </c:spPr>
        <c:txPr>
          <a:bodyPr/>
          <a:lstStyle/>
          <a:p>
            <a:pPr>
              <a:defRPr>
                <a:solidFill>
                  <a:schemeClr val="tx1">
                    <a:lumMod val="75000"/>
                    <a:lumOff val="25000"/>
                  </a:schemeClr>
                </a:solidFill>
              </a:defRPr>
            </a:pPr>
            <a:endParaRPr lang="en-US"/>
          </a:p>
        </c:txPr>
        <c:crossAx val="176143920"/>
        <c:crosses val="autoZero"/>
        <c:crossBetween val="midCat"/>
        <c:majorUnit val="1"/>
        <c:minorUnit val="0.5"/>
      </c:valAx>
      <c:spPr>
        <a:noFill/>
        <a:ln w="6350">
          <a:solidFill>
            <a:schemeClr val="tx2">
              <a:lumMod val="60000"/>
              <a:lumOff val="40000"/>
            </a:schemeClr>
          </a:solidFill>
        </a:ln>
      </c:spPr>
    </c:plotArea>
    <c:plotVisOnly val="1"/>
    <c:dispBlanksAs val="gap"/>
    <c:showDLblsOverMax val="0"/>
  </c:chart>
  <c:txPr>
    <a:bodyPr/>
    <a:lstStyle/>
    <a:p>
      <a:pPr>
        <a:defRPr sz="12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pt-BR" noProof="1"/>
              <a:t>Vertical stacked bars chart title placeholder</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s-AR"/>
        </a:p>
      </c:txPr>
    </c:title>
    <c:autoTitleDeleted val="0"/>
    <c:plotArea>
      <c:layout/>
      <c:barChart>
        <c:barDir val="col"/>
        <c:grouping val="stacked"/>
        <c:varyColors val="0"/>
        <c:ser>
          <c:idx val="0"/>
          <c:order val="0"/>
          <c:tx>
            <c:strRef>
              <c:f>Hoja1!$B$1</c:f>
              <c:strCache>
                <c:ptCount val="1"/>
                <c:pt idx="0">
                  <c:v>Series 1</c:v>
                </c:pt>
              </c:strCache>
            </c:strRef>
          </c:tx>
          <c:spPr>
            <a:solidFill>
              <a:schemeClr val="accent1"/>
            </a:solidFill>
            <a:ln>
              <a:noFill/>
            </a:ln>
            <a:effectLst/>
          </c:spPr>
          <c:invertIfNegative val="0"/>
          <c:cat>
            <c:strRef>
              <c:f>Hoja1!$A$2:$A$5</c:f>
              <c:strCache>
                <c:ptCount val="4"/>
                <c:pt idx="0">
                  <c:v>Category 1</c:v>
                </c:pt>
                <c:pt idx="1">
                  <c:v>Category 2</c:v>
                </c:pt>
                <c:pt idx="2">
                  <c:v>Category 3</c:v>
                </c:pt>
                <c:pt idx="3">
                  <c:v>Category 4</c:v>
                </c:pt>
              </c:strCache>
            </c:strRef>
          </c:cat>
          <c:val>
            <c:numRef>
              <c:f>Hoja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A7E0-714A-93F2-79288273BB68}"/>
            </c:ext>
          </c:extLst>
        </c:ser>
        <c:ser>
          <c:idx val="1"/>
          <c:order val="1"/>
          <c:tx>
            <c:strRef>
              <c:f>Hoja1!$C$1</c:f>
              <c:strCache>
                <c:ptCount val="1"/>
                <c:pt idx="0">
                  <c:v>Series 2</c:v>
                </c:pt>
              </c:strCache>
            </c:strRef>
          </c:tx>
          <c:spPr>
            <a:solidFill>
              <a:schemeClr val="accent2"/>
            </a:solidFill>
            <a:ln>
              <a:noFill/>
            </a:ln>
            <a:effectLst/>
          </c:spPr>
          <c:invertIfNegative val="0"/>
          <c:cat>
            <c:strRef>
              <c:f>Hoja1!$A$2:$A$5</c:f>
              <c:strCache>
                <c:ptCount val="4"/>
                <c:pt idx="0">
                  <c:v>Category 1</c:v>
                </c:pt>
                <c:pt idx="1">
                  <c:v>Category 2</c:v>
                </c:pt>
                <c:pt idx="2">
                  <c:v>Category 3</c:v>
                </c:pt>
                <c:pt idx="3">
                  <c:v>Category 4</c:v>
                </c:pt>
              </c:strCache>
            </c:strRef>
          </c:cat>
          <c:val>
            <c:numRef>
              <c:f>Hoja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A7E0-714A-93F2-79288273BB68}"/>
            </c:ext>
          </c:extLst>
        </c:ser>
        <c:ser>
          <c:idx val="2"/>
          <c:order val="2"/>
          <c:tx>
            <c:strRef>
              <c:f>Hoja1!$D$1</c:f>
              <c:strCache>
                <c:ptCount val="1"/>
                <c:pt idx="0">
                  <c:v>Series 3</c:v>
                </c:pt>
              </c:strCache>
            </c:strRef>
          </c:tx>
          <c:spPr>
            <a:solidFill>
              <a:schemeClr val="accent1">
                <a:lumMod val="60000"/>
                <a:lumOff val="40000"/>
              </a:schemeClr>
            </a:solidFill>
            <a:ln>
              <a:noFill/>
            </a:ln>
            <a:effectLst/>
          </c:spPr>
          <c:invertIfNegative val="0"/>
          <c:cat>
            <c:strRef>
              <c:f>Hoja1!$A$2:$A$5</c:f>
              <c:strCache>
                <c:ptCount val="4"/>
                <c:pt idx="0">
                  <c:v>Category 1</c:v>
                </c:pt>
                <c:pt idx="1">
                  <c:v>Category 2</c:v>
                </c:pt>
                <c:pt idx="2">
                  <c:v>Category 3</c:v>
                </c:pt>
                <c:pt idx="3">
                  <c:v>Category 4</c:v>
                </c:pt>
              </c:strCache>
            </c:strRef>
          </c:cat>
          <c:val>
            <c:numRef>
              <c:f>Hoja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A7E0-714A-93F2-79288273BB68}"/>
            </c:ext>
          </c:extLst>
        </c:ser>
        <c:dLbls>
          <c:showLegendKey val="0"/>
          <c:showVal val="0"/>
          <c:showCatName val="0"/>
          <c:showSerName val="0"/>
          <c:showPercent val="0"/>
          <c:showBubbleSize val="0"/>
        </c:dLbls>
        <c:gapWidth val="150"/>
        <c:overlap val="100"/>
        <c:axId val="418073967"/>
        <c:axId val="417359663"/>
      </c:barChart>
      <c:catAx>
        <c:axId val="4180739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s-AR"/>
          </a:p>
        </c:txPr>
        <c:crossAx val="417359663"/>
        <c:crosses val="autoZero"/>
        <c:auto val="1"/>
        <c:lblAlgn val="ctr"/>
        <c:lblOffset val="100"/>
        <c:noMultiLvlLbl val="0"/>
      </c:catAx>
      <c:valAx>
        <c:axId val="417359663"/>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AR"/>
          </a:p>
        </c:txPr>
        <c:crossAx val="418073967"/>
        <c:crosses val="autoZero"/>
        <c:crossBetween val="between"/>
      </c:valAx>
      <c:spPr>
        <a:noFill/>
        <a:ln>
          <a:noFill/>
        </a:ln>
        <a:effectLst/>
      </c:spPr>
    </c:plotArea>
    <c:legend>
      <c:legendPos val="b"/>
      <c:layout>
        <c:manualLayout>
          <c:xMode val="edge"/>
          <c:yMode val="edge"/>
          <c:x val="0.19227851690952422"/>
          <c:y val="0.90510735660450603"/>
          <c:w val="0.60624732253295921"/>
          <c:h val="9.2529205934056197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AR"/>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A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pt-BR" noProof="1"/>
              <a:t>Vertical clustered bars chart title placeholder</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AR"/>
        </a:p>
      </c:txPr>
    </c:title>
    <c:autoTitleDeleted val="0"/>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FD01-BA43-880C-1DA566DC0572}"/>
            </c:ext>
          </c:extLst>
        </c:ser>
        <c:ser>
          <c:idx val="1"/>
          <c:order val="1"/>
          <c:tx>
            <c:strRef>
              <c:f>Sheet1!$C$1</c:f>
              <c:strCache>
                <c:ptCount val="1"/>
                <c:pt idx="0">
                  <c:v>Series 2</c:v>
                </c:pt>
              </c:strCache>
            </c:strRef>
          </c:tx>
          <c:spPr>
            <a:solidFill>
              <a:schemeClr val="accent2"/>
            </a:solidFill>
            <a:ln>
              <a:noFill/>
            </a:ln>
            <a:effectLst/>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FD01-BA43-880C-1DA566DC0572}"/>
            </c:ext>
          </c:extLst>
        </c:ser>
        <c:ser>
          <c:idx val="2"/>
          <c:order val="2"/>
          <c:tx>
            <c:strRef>
              <c:f>Sheet1!$D$1</c:f>
              <c:strCache>
                <c:ptCount val="1"/>
                <c:pt idx="0">
                  <c:v>Series 3</c:v>
                </c:pt>
              </c:strCache>
            </c:strRef>
          </c:tx>
          <c:spPr>
            <a:solidFill>
              <a:schemeClr val="accent1">
                <a:lumMod val="60000"/>
                <a:lumOff val="40000"/>
              </a:schemeClr>
            </a:solidFill>
            <a:ln>
              <a:noFill/>
            </a:ln>
            <a:effectLst/>
          </c:spPr>
          <c:invertIfNegative val="0"/>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FD01-BA43-880C-1DA566DC0572}"/>
            </c:ext>
          </c:extLst>
        </c:ser>
        <c:dLbls>
          <c:showLegendKey val="0"/>
          <c:showVal val="0"/>
          <c:showCatName val="0"/>
          <c:showSerName val="0"/>
          <c:showPercent val="0"/>
          <c:showBubbleSize val="0"/>
        </c:dLbls>
        <c:gapWidth val="219"/>
        <c:overlap val="-27"/>
        <c:axId val="458966400"/>
        <c:axId val="459168416"/>
      </c:barChart>
      <c:catAx>
        <c:axId val="4589664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AR"/>
          </a:p>
        </c:txPr>
        <c:crossAx val="459168416"/>
        <c:crosses val="autoZero"/>
        <c:auto val="1"/>
        <c:lblAlgn val="ctr"/>
        <c:lblOffset val="100"/>
        <c:noMultiLvlLbl val="0"/>
      </c:catAx>
      <c:valAx>
        <c:axId val="45916841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AR"/>
          </a:p>
        </c:txPr>
        <c:crossAx val="4589664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AR"/>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A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34853576964289E-2"/>
          <c:y val="9.9977946931514627E-2"/>
          <c:w val="0.8385372134839818"/>
          <c:h val="0.82989492539565701"/>
        </c:manualLayout>
      </c:layout>
      <c:lineChart>
        <c:grouping val="standard"/>
        <c:varyColors val="0"/>
        <c:ser>
          <c:idx val="0"/>
          <c:order val="0"/>
          <c:tx>
            <c:strRef>
              <c:f>Sheet1!$A$2</c:f>
              <c:strCache>
                <c:ptCount val="1"/>
                <c:pt idx="0">
                  <c:v>Label A</c:v>
                </c:pt>
              </c:strCache>
            </c:strRef>
          </c:tx>
          <c:spPr>
            <a:ln w="57150">
              <a:solidFill>
                <a:schemeClr val="bg2"/>
              </a:solidFill>
              <a:prstDash val="solid"/>
            </a:ln>
          </c:spPr>
          <c:marker>
            <c:symbol val="none"/>
          </c:marker>
          <c:cat>
            <c:numRef>
              <c:f>Sheet1!$B$1:$E$1</c:f>
              <c:numCache>
                <c:formatCode>General</c:formatCode>
                <c:ptCount val="4"/>
                <c:pt idx="0">
                  <c:v>2000</c:v>
                </c:pt>
                <c:pt idx="1">
                  <c:v>2001</c:v>
                </c:pt>
                <c:pt idx="2">
                  <c:v>2002</c:v>
                </c:pt>
                <c:pt idx="3">
                  <c:v>2003</c:v>
                </c:pt>
              </c:numCache>
            </c:numRef>
          </c:cat>
          <c:val>
            <c:numRef>
              <c:f>Sheet1!$B$2:$E$2</c:f>
              <c:numCache>
                <c:formatCode>General</c:formatCode>
                <c:ptCount val="4"/>
                <c:pt idx="0">
                  <c:v>2</c:v>
                </c:pt>
                <c:pt idx="1">
                  <c:v>10</c:v>
                </c:pt>
                <c:pt idx="2">
                  <c:v>15</c:v>
                </c:pt>
                <c:pt idx="3">
                  <c:v>40</c:v>
                </c:pt>
              </c:numCache>
            </c:numRef>
          </c:val>
          <c:smooth val="0"/>
          <c:extLst>
            <c:ext xmlns:c16="http://schemas.microsoft.com/office/drawing/2014/chart" uri="{C3380CC4-5D6E-409C-BE32-E72D297353CC}">
              <c16:uniqueId val="{00000000-9942-9444-B7F6-BF8695B2E60F}"/>
            </c:ext>
          </c:extLst>
        </c:ser>
        <c:ser>
          <c:idx val="1"/>
          <c:order val="1"/>
          <c:tx>
            <c:strRef>
              <c:f>Sheet1!$A$3</c:f>
              <c:strCache>
                <c:ptCount val="1"/>
                <c:pt idx="0">
                  <c:v>Label B</c:v>
                </c:pt>
              </c:strCache>
            </c:strRef>
          </c:tx>
          <c:spPr>
            <a:ln w="38100">
              <a:solidFill>
                <a:schemeClr val="bg1">
                  <a:lumMod val="85000"/>
                </a:schemeClr>
              </a:solidFill>
            </a:ln>
          </c:spPr>
          <c:marker>
            <c:symbol val="none"/>
          </c:marker>
          <c:cat>
            <c:numRef>
              <c:f>Sheet1!$B$1:$E$1</c:f>
              <c:numCache>
                <c:formatCode>General</c:formatCode>
                <c:ptCount val="4"/>
                <c:pt idx="0">
                  <c:v>2000</c:v>
                </c:pt>
                <c:pt idx="1">
                  <c:v>2001</c:v>
                </c:pt>
                <c:pt idx="2">
                  <c:v>2002</c:v>
                </c:pt>
                <c:pt idx="3">
                  <c:v>2003</c:v>
                </c:pt>
              </c:numCache>
            </c:numRef>
          </c:cat>
          <c:val>
            <c:numRef>
              <c:f>Sheet1!$B$3:$E$3</c:f>
              <c:numCache>
                <c:formatCode>General</c:formatCode>
                <c:ptCount val="4"/>
                <c:pt idx="0">
                  <c:v>8</c:v>
                </c:pt>
                <c:pt idx="1">
                  <c:v>2</c:v>
                </c:pt>
                <c:pt idx="2">
                  <c:v>25</c:v>
                </c:pt>
                <c:pt idx="3">
                  <c:v>30</c:v>
                </c:pt>
              </c:numCache>
            </c:numRef>
          </c:val>
          <c:smooth val="0"/>
          <c:extLst>
            <c:ext xmlns:c16="http://schemas.microsoft.com/office/drawing/2014/chart" uri="{C3380CC4-5D6E-409C-BE32-E72D297353CC}">
              <c16:uniqueId val="{00000001-9942-9444-B7F6-BF8695B2E60F}"/>
            </c:ext>
          </c:extLst>
        </c:ser>
        <c:ser>
          <c:idx val="2"/>
          <c:order val="2"/>
          <c:tx>
            <c:strRef>
              <c:f>Sheet1!$A$4</c:f>
              <c:strCache>
                <c:ptCount val="1"/>
                <c:pt idx="0">
                  <c:v>Label C</c:v>
                </c:pt>
              </c:strCache>
            </c:strRef>
          </c:tx>
          <c:spPr>
            <a:ln w="12700">
              <a:solidFill>
                <a:schemeClr val="tx1">
                  <a:lumMod val="50000"/>
                  <a:lumOff val="50000"/>
                </a:schemeClr>
              </a:solidFill>
              <a:prstDash val="solid"/>
            </a:ln>
          </c:spPr>
          <c:marker>
            <c:symbol val="none"/>
          </c:marker>
          <c:cat>
            <c:numRef>
              <c:f>Sheet1!$B$1:$E$1</c:f>
              <c:numCache>
                <c:formatCode>General</c:formatCode>
                <c:ptCount val="4"/>
                <c:pt idx="0">
                  <c:v>2000</c:v>
                </c:pt>
                <c:pt idx="1">
                  <c:v>2001</c:v>
                </c:pt>
                <c:pt idx="2">
                  <c:v>2002</c:v>
                </c:pt>
                <c:pt idx="3">
                  <c:v>2003</c:v>
                </c:pt>
              </c:numCache>
            </c:numRef>
          </c:cat>
          <c:val>
            <c:numRef>
              <c:f>Sheet1!$B$4:$E$4</c:f>
              <c:numCache>
                <c:formatCode>General</c:formatCode>
                <c:ptCount val="4"/>
                <c:pt idx="0">
                  <c:v>45</c:v>
                </c:pt>
                <c:pt idx="1">
                  <c:v>35</c:v>
                </c:pt>
                <c:pt idx="2">
                  <c:v>45</c:v>
                </c:pt>
                <c:pt idx="3">
                  <c:v>43.9</c:v>
                </c:pt>
              </c:numCache>
            </c:numRef>
          </c:val>
          <c:smooth val="0"/>
          <c:extLst>
            <c:ext xmlns:c16="http://schemas.microsoft.com/office/drawing/2014/chart" uri="{C3380CC4-5D6E-409C-BE32-E72D297353CC}">
              <c16:uniqueId val="{00000002-9942-9444-B7F6-BF8695B2E60F}"/>
            </c:ext>
          </c:extLst>
        </c:ser>
        <c:ser>
          <c:idx val="3"/>
          <c:order val="3"/>
          <c:tx>
            <c:strRef>
              <c:f>Sheet1!$A$5</c:f>
              <c:strCache>
                <c:ptCount val="1"/>
                <c:pt idx="0">
                  <c:v>Label D</c:v>
                </c:pt>
              </c:strCache>
            </c:strRef>
          </c:tx>
          <c:spPr>
            <a:ln w="28575">
              <a:solidFill>
                <a:schemeClr val="tx1">
                  <a:lumMod val="65000"/>
                  <a:lumOff val="35000"/>
                </a:schemeClr>
              </a:solidFill>
              <a:prstDash val="solid"/>
            </a:ln>
          </c:spPr>
          <c:marker>
            <c:symbol val="none"/>
          </c:marker>
          <c:cat>
            <c:numRef>
              <c:f>Sheet1!$B$1:$E$1</c:f>
              <c:numCache>
                <c:formatCode>General</c:formatCode>
                <c:ptCount val="4"/>
                <c:pt idx="0">
                  <c:v>2000</c:v>
                </c:pt>
                <c:pt idx="1">
                  <c:v>2001</c:v>
                </c:pt>
                <c:pt idx="2">
                  <c:v>2002</c:v>
                </c:pt>
                <c:pt idx="3">
                  <c:v>2003</c:v>
                </c:pt>
              </c:numCache>
            </c:numRef>
          </c:cat>
          <c:val>
            <c:numRef>
              <c:f>Sheet1!$B$5:$E$5</c:f>
              <c:numCache>
                <c:formatCode>General</c:formatCode>
                <c:ptCount val="4"/>
                <c:pt idx="0">
                  <c:v>30</c:v>
                </c:pt>
                <c:pt idx="1">
                  <c:v>40</c:v>
                </c:pt>
                <c:pt idx="2">
                  <c:v>30</c:v>
                </c:pt>
                <c:pt idx="3">
                  <c:v>35</c:v>
                </c:pt>
              </c:numCache>
            </c:numRef>
          </c:val>
          <c:smooth val="0"/>
          <c:extLst>
            <c:ext xmlns:c16="http://schemas.microsoft.com/office/drawing/2014/chart" uri="{C3380CC4-5D6E-409C-BE32-E72D297353CC}">
              <c16:uniqueId val="{00000003-9942-9444-B7F6-BF8695B2E60F}"/>
            </c:ext>
          </c:extLst>
        </c:ser>
        <c:dLbls>
          <c:showLegendKey val="0"/>
          <c:showVal val="0"/>
          <c:showCatName val="0"/>
          <c:showSerName val="0"/>
          <c:showPercent val="0"/>
          <c:showBubbleSize val="0"/>
        </c:dLbls>
        <c:smooth val="0"/>
        <c:axId val="549478920"/>
        <c:axId val="549479312"/>
      </c:lineChart>
      <c:catAx>
        <c:axId val="549478920"/>
        <c:scaling>
          <c:orientation val="minMax"/>
        </c:scaling>
        <c:delete val="0"/>
        <c:axPos val="b"/>
        <c:numFmt formatCode="General" sourceLinked="1"/>
        <c:majorTickMark val="none"/>
        <c:minorTickMark val="none"/>
        <c:tickLblPos val="nextTo"/>
        <c:spPr>
          <a:ln w="12700">
            <a:solidFill>
              <a:schemeClr val="tx1">
                <a:lumMod val="50000"/>
                <a:lumOff val="50000"/>
              </a:schemeClr>
            </a:solidFill>
          </a:ln>
        </c:spPr>
        <c:txPr>
          <a:bodyPr rot="0" vert="horz"/>
          <a:lstStyle/>
          <a:p>
            <a:pPr>
              <a:defRPr>
                <a:solidFill>
                  <a:schemeClr val="tx1">
                    <a:lumMod val="50000"/>
                    <a:lumOff val="50000"/>
                  </a:schemeClr>
                </a:solidFill>
              </a:defRPr>
            </a:pPr>
            <a:endParaRPr lang="en-US"/>
          </a:p>
        </c:txPr>
        <c:crossAx val="549479312"/>
        <c:crosses val="autoZero"/>
        <c:auto val="1"/>
        <c:lblAlgn val="ctr"/>
        <c:lblOffset val="100"/>
        <c:tickLblSkip val="1"/>
        <c:tickMarkSkip val="1"/>
        <c:noMultiLvlLbl val="0"/>
      </c:catAx>
      <c:valAx>
        <c:axId val="549479312"/>
        <c:scaling>
          <c:orientation val="minMax"/>
        </c:scaling>
        <c:delete val="0"/>
        <c:axPos val="l"/>
        <c:numFmt formatCode="General" sourceLinked="1"/>
        <c:majorTickMark val="none"/>
        <c:minorTickMark val="none"/>
        <c:tickLblPos val="nextTo"/>
        <c:spPr>
          <a:ln w="12700">
            <a:noFill/>
          </a:ln>
        </c:spPr>
        <c:txPr>
          <a:bodyPr rot="0" vert="horz"/>
          <a:lstStyle/>
          <a:p>
            <a:pPr>
              <a:defRPr>
                <a:solidFill>
                  <a:schemeClr val="tx1">
                    <a:lumMod val="50000"/>
                    <a:lumOff val="50000"/>
                  </a:schemeClr>
                </a:solidFill>
              </a:defRPr>
            </a:pPr>
            <a:endParaRPr lang="en-US"/>
          </a:p>
        </c:txPr>
        <c:crossAx val="549478920"/>
        <c:crosses val="autoZero"/>
        <c:crossBetween val="midCat"/>
        <c:majorUnit val="10"/>
      </c:valAx>
      <c:spPr>
        <a:ln>
          <a:noFill/>
        </a:ln>
      </c:spPr>
    </c:plotArea>
    <c:plotVisOnly val="1"/>
    <c:dispBlanksAs val="gap"/>
    <c:showDLblsOverMax val="0"/>
  </c:chart>
  <c:txPr>
    <a:bodyPr/>
    <a:lstStyle/>
    <a:p>
      <a:pPr>
        <a:defRPr sz="1400">
          <a:solidFill>
            <a:schemeClr val="tx2"/>
          </a:solidFill>
          <a:latin typeface="+mn-lt"/>
        </a:defRPr>
      </a:pPr>
      <a:endParaRPr lang="en-US"/>
    </a:p>
  </c:txPr>
  <c:externalData r:id="rId1">
    <c:autoUpdate val="0"/>
  </c:externalData>
  <c:userShapes r:id="rId2"/>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Hoja1!$B$1</c:f>
              <c:strCache>
                <c:ptCount val="1"/>
                <c:pt idx="0">
                  <c:v>Series 1</c:v>
                </c:pt>
              </c:strCache>
            </c:strRef>
          </c:tx>
          <c:spPr>
            <a:ln w="28575" cap="rnd">
              <a:solidFill>
                <a:schemeClr val="accent4"/>
              </a:solidFill>
              <a:round/>
            </a:ln>
            <a:effectLst/>
          </c:spPr>
          <c:marker>
            <c:symbol val="none"/>
          </c:marker>
          <c:dPt>
            <c:idx val="1"/>
            <c:marker>
              <c:symbol val="none"/>
            </c:marker>
            <c:bubble3D val="0"/>
            <c:spPr>
              <a:ln w="34925" cap="rnd">
                <a:solidFill>
                  <a:schemeClr val="accent4"/>
                </a:solidFill>
                <a:prstDash val="solid"/>
                <a:round/>
              </a:ln>
              <a:effectLst/>
            </c:spPr>
            <c:extLst>
              <c:ext xmlns:c16="http://schemas.microsoft.com/office/drawing/2014/chart" uri="{C3380CC4-5D6E-409C-BE32-E72D297353CC}">
                <c16:uniqueId val="{00000002-9892-4FC4-A543-EB57C1B1FCBF}"/>
              </c:ext>
            </c:extLst>
          </c:dPt>
          <c:dPt>
            <c:idx val="2"/>
            <c:marker>
              <c:symbol val="none"/>
            </c:marker>
            <c:bubble3D val="0"/>
            <c:spPr>
              <a:ln w="34925" cap="rnd">
                <a:solidFill>
                  <a:schemeClr val="accent4"/>
                </a:solidFill>
                <a:prstDash val="solid"/>
                <a:round/>
              </a:ln>
              <a:effectLst/>
            </c:spPr>
            <c:extLst>
              <c:ext xmlns:c16="http://schemas.microsoft.com/office/drawing/2014/chart" uri="{C3380CC4-5D6E-409C-BE32-E72D297353CC}">
                <c16:uniqueId val="{00000001-9892-4FC4-A543-EB57C1B1FCBF}"/>
              </c:ext>
            </c:extLst>
          </c:dPt>
          <c:dPt>
            <c:idx val="3"/>
            <c:marker>
              <c:symbol val="none"/>
            </c:marker>
            <c:bubble3D val="0"/>
            <c:spPr>
              <a:ln w="34925" cap="rnd">
                <a:solidFill>
                  <a:schemeClr val="accent4"/>
                </a:solidFill>
                <a:prstDash val="solid"/>
                <a:round/>
              </a:ln>
              <a:effectLst/>
            </c:spPr>
            <c:extLst>
              <c:ext xmlns:c16="http://schemas.microsoft.com/office/drawing/2014/chart" uri="{C3380CC4-5D6E-409C-BE32-E72D297353CC}">
                <c16:uniqueId val="{00000000-9892-4FC4-A543-EB57C1B1FCBF}"/>
              </c:ext>
            </c:extLst>
          </c:dPt>
          <c:cat>
            <c:strRef>
              <c:f>Hoja1!$A$2:$A$5</c:f>
              <c:strCache>
                <c:ptCount val="4"/>
                <c:pt idx="0">
                  <c:v>Category 1</c:v>
                </c:pt>
                <c:pt idx="1">
                  <c:v>Category 2</c:v>
                </c:pt>
                <c:pt idx="2">
                  <c:v>Category 3</c:v>
                </c:pt>
                <c:pt idx="3">
                  <c:v>Category 4</c:v>
                </c:pt>
              </c:strCache>
            </c:strRef>
          </c:cat>
          <c:val>
            <c:numRef>
              <c:f>Hoja1!$B$2:$B$5</c:f>
              <c:numCache>
                <c:formatCode>General</c:formatCode>
                <c:ptCount val="4"/>
                <c:pt idx="0">
                  <c:v>4.3</c:v>
                </c:pt>
                <c:pt idx="1">
                  <c:v>2.5</c:v>
                </c:pt>
                <c:pt idx="2">
                  <c:v>3.5</c:v>
                </c:pt>
                <c:pt idx="3">
                  <c:v>4.5</c:v>
                </c:pt>
              </c:numCache>
            </c:numRef>
          </c:val>
          <c:smooth val="0"/>
          <c:extLst>
            <c:ext xmlns:c16="http://schemas.microsoft.com/office/drawing/2014/chart" uri="{C3380CC4-5D6E-409C-BE32-E72D297353CC}">
              <c16:uniqueId val="{00000000-A7E0-714A-93F2-79288273BB68}"/>
            </c:ext>
          </c:extLst>
        </c:ser>
        <c:ser>
          <c:idx val="1"/>
          <c:order val="1"/>
          <c:tx>
            <c:strRef>
              <c:f>Hoja1!$C$1</c:f>
              <c:strCache>
                <c:ptCount val="1"/>
                <c:pt idx="0">
                  <c:v>Series 2</c:v>
                </c:pt>
              </c:strCache>
            </c:strRef>
          </c:tx>
          <c:spPr>
            <a:ln w="12700" cap="rnd">
              <a:solidFill>
                <a:schemeClr val="accent2"/>
              </a:solidFill>
              <a:round/>
            </a:ln>
            <a:effectLst/>
          </c:spPr>
          <c:marker>
            <c:symbol val="none"/>
          </c:marker>
          <c:cat>
            <c:strRef>
              <c:f>Hoja1!$A$2:$A$5</c:f>
              <c:strCache>
                <c:ptCount val="4"/>
                <c:pt idx="0">
                  <c:v>Category 1</c:v>
                </c:pt>
                <c:pt idx="1">
                  <c:v>Category 2</c:v>
                </c:pt>
                <c:pt idx="2">
                  <c:v>Category 3</c:v>
                </c:pt>
                <c:pt idx="3">
                  <c:v>Category 4</c:v>
                </c:pt>
              </c:strCache>
            </c:strRef>
          </c:cat>
          <c:val>
            <c:numRef>
              <c:f>Hoja1!$C$2:$C$5</c:f>
              <c:numCache>
                <c:formatCode>General</c:formatCode>
                <c:ptCount val="4"/>
                <c:pt idx="0">
                  <c:v>2.4</c:v>
                </c:pt>
                <c:pt idx="1">
                  <c:v>4.4000000000000004</c:v>
                </c:pt>
                <c:pt idx="2">
                  <c:v>1.8</c:v>
                </c:pt>
                <c:pt idx="3">
                  <c:v>2.8</c:v>
                </c:pt>
              </c:numCache>
            </c:numRef>
          </c:val>
          <c:smooth val="0"/>
          <c:extLst>
            <c:ext xmlns:c16="http://schemas.microsoft.com/office/drawing/2014/chart" uri="{C3380CC4-5D6E-409C-BE32-E72D297353CC}">
              <c16:uniqueId val="{00000001-A7E0-714A-93F2-79288273BB68}"/>
            </c:ext>
          </c:extLst>
        </c:ser>
        <c:ser>
          <c:idx val="2"/>
          <c:order val="2"/>
          <c:tx>
            <c:strRef>
              <c:f>Hoja1!$D$1</c:f>
              <c:strCache>
                <c:ptCount val="1"/>
                <c:pt idx="0">
                  <c:v>Series 3</c:v>
                </c:pt>
              </c:strCache>
            </c:strRef>
          </c:tx>
          <c:spPr>
            <a:ln w="57150" cap="rnd">
              <a:solidFill>
                <a:schemeClr val="bg2"/>
              </a:solidFill>
              <a:round/>
            </a:ln>
            <a:effectLst/>
          </c:spPr>
          <c:marker>
            <c:symbol val="none"/>
          </c:marker>
          <c:cat>
            <c:strRef>
              <c:f>Hoja1!$A$2:$A$5</c:f>
              <c:strCache>
                <c:ptCount val="4"/>
                <c:pt idx="0">
                  <c:v>Category 1</c:v>
                </c:pt>
                <c:pt idx="1">
                  <c:v>Category 2</c:v>
                </c:pt>
                <c:pt idx="2">
                  <c:v>Category 3</c:v>
                </c:pt>
                <c:pt idx="3">
                  <c:v>Category 4</c:v>
                </c:pt>
              </c:strCache>
            </c:strRef>
          </c:cat>
          <c:val>
            <c:numRef>
              <c:f>Hoja1!$D$2:$D$5</c:f>
              <c:numCache>
                <c:formatCode>General</c:formatCode>
                <c:ptCount val="4"/>
                <c:pt idx="0">
                  <c:v>2</c:v>
                </c:pt>
                <c:pt idx="1">
                  <c:v>2</c:v>
                </c:pt>
                <c:pt idx="2">
                  <c:v>3</c:v>
                </c:pt>
                <c:pt idx="3">
                  <c:v>5</c:v>
                </c:pt>
              </c:numCache>
            </c:numRef>
          </c:val>
          <c:smooth val="0"/>
          <c:extLst>
            <c:ext xmlns:c16="http://schemas.microsoft.com/office/drawing/2014/chart" uri="{C3380CC4-5D6E-409C-BE32-E72D297353CC}">
              <c16:uniqueId val="{00000002-A7E0-714A-93F2-79288273BB68}"/>
            </c:ext>
          </c:extLst>
        </c:ser>
        <c:dLbls>
          <c:showLegendKey val="0"/>
          <c:showVal val="0"/>
          <c:showCatName val="0"/>
          <c:showSerName val="0"/>
          <c:showPercent val="0"/>
          <c:showBubbleSize val="0"/>
        </c:dLbls>
        <c:smooth val="0"/>
        <c:axId val="418073967"/>
        <c:axId val="417359663"/>
      </c:lineChart>
      <c:catAx>
        <c:axId val="4180739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AR"/>
          </a:p>
        </c:txPr>
        <c:crossAx val="417359663"/>
        <c:crosses val="autoZero"/>
        <c:auto val="1"/>
        <c:lblAlgn val="ctr"/>
        <c:lblOffset val="100"/>
        <c:noMultiLvlLbl val="0"/>
      </c:catAx>
      <c:valAx>
        <c:axId val="417359663"/>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AR"/>
          </a:p>
        </c:txPr>
        <c:crossAx val="41807396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AR"/>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AR"/>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pt-BR" noProof="1"/>
              <a:t>Title placeholder</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s-AR"/>
        </a:p>
      </c:txPr>
    </c:title>
    <c:autoTitleDeleted val="0"/>
    <c:plotArea>
      <c:layout/>
      <c:barChart>
        <c:barDir val="col"/>
        <c:grouping val="clustered"/>
        <c:varyColors val="0"/>
        <c:ser>
          <c:idx val="0"/>
          <c:order val="0"/>
          <c:tx>
            <c:strRef>
              <c:f>Hoja1!$B$1</c:f>
              <c:strCache>
                <c:ptCount val="1"/>
                <c:pt idx="0">
                  <c:v>Series 1</c:v>
                </c:pt>
              </c:strCache>
            </c:strRef>
          </c:tx>
          <c:spPr>
            <a:solidFill>
              <a:schemeClr val="bg1">
                <a:lumMod val="50000"/>
              </a:schemeClr>
            </a:solidFill>
            <a:ln>
              <a:noFill/>
            </a:ln>
            <a:effectLst/>
          </c:spPr>
          <c:invertIfNegative val="0"/>
          <c:cat>
            <c:strRef>
              <c:f>Hoja1!$A$2:$A$5</c:f>
              <c:strCache>
                <c:ptCount val="4"/>
                <c:pt idx="0">
                  <c:v>Category 1</c:v>
                </c:pt>
                <c:pt idx="1">
                  <c:v>Category 2</c:v>
                </c:pt>
                <c:pt idx="2">
                  <c:v>Category 3</c:v>
                </c:pt>
                <c:pt idx="3">
                  <c:v>Category 4</c:v>
                </c:pt>
              </c:strCache>
            </c:strRef>
          </c:cat>
          <c:val>
            <c:numRef>
              <c:f>Hoja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349F-2547-AA77-FBBD4C40C505}"/>
            </c:ext>
          </c:extLst>
        </c:ser>
        <c:ser>
          <c:idx val="1"/>
          <c:order val="1"/>
          <c:tx>
            <c:strRef>
              <c:f>Hoja1!$C$1</c:f>
              <c:strCache>
                <c:ptCount val="1"/>
                <c:pt idx="0">
                  <c:v>Series 2</c:v>
                </c:pt>
              </c:strCache>
            </c:strRef>
          </c:tx>
          <c:spPr>
            <a:solidFill>
              <a:schemeClr val="bg1">
                <a:lumMod val="75000"/>
              </a:schemeClr>
            </a:solidFill>
            <a:ln>
              <a:noFill/>
            </a:ln>
            <a:effectLst/>
          </c:spPr>
          <c:invertIfNegative val="0"/>
          <c:cat>
            <c:strRef>
              <c:f>Hoja1!$A$2:$A$5</c:f>
              <c:strCache>
                <c:ptCount val="4"/>
                <c:pt idx="0">
                  <c:v>Category 1</c:v>
                </c:pt>
                <c:pt idx="1">
                  <c:v>Category 2</c:v>
                </c:pt>
                <c:pt idx="2">
                  <c:v>Category 3</c:v>
                </c:pt>
                <c:pt idx="3">
                  <c:v>Category 4</c:v>
                </c:pt>
              </c:strCache>
            </c:strRef>
          </c:cat>
          <c:val>
            <c:numRef>
              <c:f>Hoja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349F-2547-AA77-FBBD4C40C505}"/>
            </c:ext>
          </c:extLst>
        </c:ser>
        <c:dLbls>
          <c:showLegendKey val="0"/>
          <c:showVal val="0"/>
          <c:showCatName val="0"/>
          <c:showSerName val="0"/>
          <c:showPercent val="0"/>
          <c:showBubbleSize val="0"/>
        </c:dLbls>
        <c:gapWidth val="150"/>
        <c:axId val="608877776"/>
        <c:axId val="608546512"/>
      </c:barChart>
      <c:lineChart>
        <c:grouping val="standard"/>
        <c:varyColors val="0"/>
        <c:ser>
          <c:idx val="2"/>
          <c:order val="2"/>
          <c:tx>
            <c:strRef>
              <c:f>Hoja1!$D$1</c:f>
              <c:strCache>
                <c:ptCount val="1"/>
                <c:pt idx="0">
                  <c:v>Highlighted series</c:v>
                </c:pt>
              </c:strCache>
            </c:strRef>
          </c:tx>
          <c:spPr>
            <a:ln w="28575" cap="rnd">
              <a:solidFill>
                <a:schemeClr val="bg2"/>
              </a:solidFill>
              <a:prstDash val="dash"/>
              <a:round/>
            </a:ln>
            <a:effectLst/>
          </c:spPr>
          <c:marker>
            <c:symbol val="none"/>
          </c:marker>
          <c:cat>
            <c:strRef>
              <c:f>Hoja1!$A$2:$A$5</c:f>
              <c:strCache>
                <c:ptCount val="4"/>
                <c:pt idx="0">
                  <c:v>Category 1</c:v>
                </c:pt>
                <c:pt idx="1">
                  <c:v>Category 2</c:v>
                </c:pt>
                <c:pt idx="2">
                  <c:v>Category 3</c:v>
                </c:pt>
                <c:pt idx="3">
                  <c:v>Category 4</c:v>
                </c:pt>
              </c:strCache>
            </c:strRef>
          </c:cat>
          <c:val>
            <c:numRef>
              <c:f>Hoja1!$D$2:$D$5</c:f>
              <c:numCache>
                <c:formatCode>General</c:formatCode>
                <c:ptCount val="4"/>
                <c:pt idx="0">
                  <c:v>2</c:v>
                </c:pt>
                <c:pt idx="1">
                  <c:v>2</c:v>
                </c:pt>
                <c:pt idx="2">
                  <c:v>3</c:v>
                </c:pt>
                <c:pt idx="3">
                  <c:v>5</c:v>
                </c:pt>
              </c:numCache>
            </c:numRef>
          </c:val>
          <c:smooth val="0"/>
          <c:extLst>
            <c:ext xmlns:c16="http://schemas.microsoft.com/office/drawing/2014/chart" uri="{C3380CC4-5D6E-409C-BE32-E72D297353CC}">
              <c16:uniqueId val="{00000002-349F-2547-AA77-FBBD4C40C505}"/>
            </c:ext>
          </c:extLst>
        </c:ser>
        <c:dLbls>
          <c:showLegendKey val="0"/>
          <c:showVal val="0"/>
          <c:showCatName val="0"/>
          <c:showSerName val="0"/>
          <c:showPercent val="0"/>
          <c:showBubbleSize val="0"/>
        </c:dLbls>
        <c:marker val="1"/>
        <c:smooth val="0"/>
        <c:axId val="608877776"/>
        <c:axId val="608546512"/>
      </c:lineChart>
      <c:catAx>
        <c:axId val="6088777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AR"/>
          </a:p>
        </c:txPr>
        <c:crossAx val="608546512"/>
        <c:crosses val="autoZero"/>
        <c:auto val="1"/>
        <c:lblAlgn val="ctr"/>
        <c:lblOffset val="100"/>
        <c:noMultiLvlLbl val="0"/>
      </c:catAx>
      <c:valAx>
        <c:axId val="60854651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AR"/>
          </a:p>
        </c:txPr>
        <c:crossAx val="6088777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AR"/>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AR"/>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pt-BR" noProof="1"/>
              <a:t>Chart title placeholder</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AR"/>
        </a:p>
      </c:txPr>
    </c:title>
    <c:autoTitleDeleted val="0"/>
    <c:plotArea>
      <c:layout/>
      <c:areaChart>
        <c:grouping val="standard"/>
        <c:varyColors val="0"/>
        <c:ser>
          <c:idx val="0"/>
          <c:order val="0"/>
          <c:tx>
            <c:strRef>
              <c:f>Sheet1!$B$1</c:f>
              <c:strCache>
                <c:ptCount val="1"/>
                <c:pt idx="0">
                  <c:v>Series 1</c:v>
                </c:pt>
              </c:strCache>
            </c:strRef>
          </c:tx>
          <c:spPr>
            <a:solidFill>
              <a:schemeClr val="accent1"/>
            </a:solidFill>
            <a:ln>
              <a:noFill/>
            </a:ln>
            <a:effectLst/>
          </c:spPr>
          <c:cat>
            <c:strRef>
              <c:f>Sheet1!$A$2:$A$6</c:f>
              <c:strCache>
                <c:ptCount val="5"/>
                <c:pt idx="0">
                  <c:v>01.05.2002</c:v>
                </c:pt>
                <c:pt idx="1">
                  <c:v>01.06.2002</c:v>
                </c:pt>
                <c:pt idx="2">
                  <c:v>01.07.2002</c:v>
                </c:pt>
                <c:pt idx="3">
                  <c:v>01.08.2002</c:v>
                </c:pt>
                <c:pt idx="4">
                  <c:v>01.09.2002</c:v>
                </c:pt>
              </c:strCache>
            </c:strRef>
          </c:cat>
          <c:val>
            <c:numRef>
              <c:f>Sheet1!$B$2:$B$6</c:f>
              <c:numCache>
                <c:formatCode>General</c:formatCode>
                <c:ptCount val="5"/>
                <c:pt idx="0">
                  <c:v>32</c:v>
                </c:pt>
                <c:pt idx="1">
                  <c:v>28</c:v>
                </c:pt>
                <c:pt idx="2">
                  <c:v>20</c:v>
                </c:pt>
                <c:pt idx="3">
                  <c:v>32</c:v>
                </c:pt>
                <c:pt idx="4">
                  <c:v>40</c:v>
                </c:pt>
              </c:numCache>
            </c:numRef>
          </c:val>
          <c:extLst>
            <c:ext xmlns:c16="http://schemas.microsoft.com/office/drawing/2014/chart" uri="{C3380CC4-5D6E-409C-BE32-E72D297353CC}">
              <c16:uniqueId val="{00000000-1B95-CF42-87F1-91517CA6F516}"/>
            </c:ext>
          </c:extLst>
        </c:ser>
        <c:ser>
          <c:idx val="1"/>
          <c:order val="1"/>
          <c:tx>
            <c:strRef>
              <c:f>Sheet1!$C$1</c:f>
              <c:strCache>
                <c:ptCount val="1"/>
                <c:pt idx="0">
                  <c:v>Series 2</c:v>
                </c:pt>
              </c:strCache>
            </c:strRef>
          </c:tx>
          <c:spPr>
            <a:solidFill>
              <a:schemeClr val="accent2"/>
            </a:solidFill>
            <a:ln>
              <a:noFill/>
            </a:ln>
            <a:effectLst/>
          </c:spPr>
          <c:cat>
            <c:strRef>
              <c:f>Sheet1!$A$2:$A$6</c:f>
              <c:strCache>
                <c:ptCount val="5"/>
                <c:pt idx="0">
                  <c:v>01.05.2002</c:v>
                </c:pt>
                <c:pt idx="1">
                  <c:v>01.06.2002</c:v>
                </c:pt>
                <c:pt idx="2">
                  <c:v>01.07.2002</c:v>
                </c:pt>
                <c:pt idx="3">
                  <c:v>01.08.2002</c:v>
                </c:pt>
                <c:pt idx="4">
                  <c:v>01.09.2002</c:v>
                </c:pt>
              </c:strCache>
            </c:strRef>
          </c:cat>
          <c:val>
            <c:numRef>
              <c:f>Sheet1!$C$2:$C$6</c:f>
              <c:numCache>
                <c:formatCode>General</c:formatCode>
                <c:ptCount val="5"/>
                <c:pt idx="0">
                  <c:v>12</c:v>
                </c:pt>
                <c:pt idx="1">
                  <c:v>10</c:v>
                </c:pt>
                <c:pt idx="2">
                  <c:v>8</c:v>
                </c:pt>
                <c:pt idx="3">
                  <c:v>6</c:v>
                </c:pt>
                <c:pt idx="4">
                  <c:v>16</c:v>
                </c:pt>
              </c:numCache>
            </c:numRef>
          </c:val>
          <c:extLst>
            <c:ext xmlns:c16="http://schemas.microsoft.com/office/drawing/2014/chart" uri="{C3380CC4-5D6E-409C-BE32-E72D297353CC}">
              <c16:uniqueId val="{00000001-1B95-CF42-87F1-91517CA6F516}"/>
            </c:ext>
          </c:extLst>
        </c:ser>
        <c:dLbls>
          <c:showLegendKey val="0"/>
          <c:showVal val="0"/>
          <c:showCatName val="0"/>
          <c:showSerName val="0"/>
          <c:showPercent val="0"/>
          <c:showBubbleSize val="0"/>
        </c:dLbls>
        <c:axId val="1485763375"/>
        <c:axId val="1485480399"/>
      </c:areaChart>
      <c:catAx>
        <c:axId val="148576337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AR"/>
          </a:p>
        </c:txPr>
        <c:crossAx val="1485480399"/>
        <c:crosses val="autoZero"/>
        <c:auto val="1"/>
        <c:lblAlgn val="ctr"/>
        <c:lblOffset val="100"/>
        <c:noMultiLvlLbl val="1"/>
      </c:catAx>
      <c:valAx>
        <c:axId val="148548039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AR"/>
          </a:p>
        </c:txPr>
        <c:crossAx val="1485763375"/>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AR"/>
        </a:p>
      </c:txPr>
    </c:legend>
    <c:plotVisOnly val="1"/>
    <c:dispBlanksAs val="zero"/>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AR"/>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pt-BR" sz="1862" b="0" i="0" u="none" strike="noStrike" kern="1200" spc="0" baseline="0" noProof="1">
                <a:solidFill>
                  <a:srgbClr val="000000">
                    <a:lumMod val="65000"/>
                    <a:lumOff val="35000"/>
                  </a:srgbClr>
                </a:solidFill>
              </a:rPr>
              <a:t>Chart title placeholder</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s-AR"/>
        </a:p>
      </c:txPr>
    </c:title>
    <c:autoTitleDeleted val="0"/>
    <c:plotArea>
      <c:layout/>
      <c:pieChart>
        <c:varyColors val="1"/>
        <c:ser>
          <c:idx val="0"/>
          <c:order val="0"/>
          <c:tx>
            <c:strRef>
              <c:f>Hoja1!$B$1</c:f>
              <c:strCache>
                <c:ptCount val="1"/>
                <c:pt idx="0">
                  <c:v>Serie 1</c:v>
                </c:pt>
              </c:strCache>
            </c:strRef>
          </c:tx>
          <c:dPt>
            <c:idx val="0"/>
            <c:bubble3D val="0"/>
            <c:spPr>
              <a:solidFill>
                <a:schemeClr val="bg1">
                  <a:lumMod val="65000"/>
                </a:schemeClr>
              </a:solidFill>
              <a:ln>
                <a:noFill/>
              </a:ln>
              <a:effectLst/>
            </c:spPr>
            <c:extLst>
              <c:ext xmlns:c16="http://schemas.microsoft.com/office/drawing/2014/chart" uri="{C3380CC4-5D6E-409C-BE32-E72D297353CC}">
                <c16:uniqueId val="{00000001-F1C1-E345-AF24-E24F044ED8E7}"/>
              </c:ext>
            </c:extLst>
          </c:dPt>
          <c:dPt>
            <c:idx val="1"/>
            <c:bubble3D val="0"/>
            <c:spPr>
              <a:solidFill>
                <a:schemeClr val="bg2"/>
              </a:solidFill>
              <a:ln>
                <a:noFill/>
              </a:ln>
              <a:effectLst/>
            </c:spPr>
            <c:extLst>
              <c:ext xmlns:c16="http://schemas.microsoft.com/office/drawing/2014/chart" uri="{C3380CC4-5D6E-409C-BE32-E72D297353CC}">
                <c16:uniqueId val="{00000003-F1C1-E345-AF24-E24F044ED8E7}"/>
              </c:ext>
            </c:extLst>
          </c:dPt>
          <c:dPt>
            <c:idx val="2"/>
            <c:bubble3D val="0"/>
            <c:spPr>
              <a:solidFill>
                <a:schemeClr val="bg1">
                  <a:lumMod val="85000"/>
                </a:schemeClr>
              </a:solidFill>
              <a:ln>
                <a:noFill/>
              </a:ln>
              <a:effectLst/>
            </c:spPr>
            <c:extLst>
              <c:ext xmlns:c16="http://schemas.microsoft.com/office/drawing/2014/chart" uri="{C3380CC4-5D6E-409C-BE32-E72D297353CC}">
                <c16:uniqueId val="{00000005-F1C1-E345-AF24-E24F044ED8E7}"/>
              </c:ext>
            </c:extLst>
          </c:dPt>
          <c:dPt>
            <c:idx val="3"/>
            <c:bubble3D val="0"/>
            <c:spPr>
              <a:solidFill>
                <a:schemeClr val="tx1">
                  <a:lumMod val="65000"/>
                  <a:lumOff val="35000"/>
                </a:schemeClr>
              </a:solidFill>
              <a:ln>
                <a:noFill/>
              </a:ln>
              <a:effectLst/>
            </c:spPr>
            <c:extLst>
              <c:ext xmlns:c16="http://schemas.microsoft.com/office/drawing/2014/chart" uri="{C3380CC4-5D6E-409C-BE32-E72D297353CC}">
                <c16:uniqueId val="{00000007-F1C1-E345-AF24-E24F044ED8E7}"/>
              </c:ext>
            </c:extLst>
          </c:dPt>
          <c:cat>
            <c:strRef>
              <c:f>Hoja1!$A$2:$A$5</c:f>
              <c:strCache>
                <c:ptCount val="4"/>
                <c:pt idx="0">
                  <c:v>Category 1</c:v>
                </c:pt>
                <c:pt idx="1">
                  <c:v>Highlighted category</c:v>
                </c:pt>
                <c:pt idx="2">
                  <c:v>Category 3</c:v>
                </c:pt>
                <c:pt idx="3">
                  <c:v>Category 4</c:v>
                </c:pt>
              </c:strCache>
            </c:strRef>
          </c:cat>
          <c:val>
            <c:numRef>
              <c:f>Hoja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A7E0-714A-93F2-79288273BB68}"/>
            </c:ext>
          </c:extLst>
        </c:ser>
        <c:ser>
          <c:idx val="1"/>
          <c:order val="1"/>
          <c:tx>
            <c:strRef>
              <c:f>Hoja1!$C$1</c:f>
              <c:strCache>
                <c:ptCount val="1"/>
                <c:pt idx="0">
                  <c:v>Serie 2</c:v>
                </c:pt>
              </c:strCache>
            </c:strRef>
          </c:tx>
          <c:dPt>
            <c:idx val="0"/>
            <c:bubble3D val="0"/>
            <c:spPr>
              <a:solidFill>
                <a:schemeClr val="accent1"/>
              </a:solidFill>
              <a:ln>
                <a:noFill/>
              </a:ln>
              <a:effectLst/>
            </c:spPr>
            <c:extLst>
              <c:ext xmlns:c16="http://schemas.microsoft.com/office/drawing/2014/chart" uri="{C3380CC4-5D6E-409C-BE32-E72D297353CC}">
                <c16:uniqueId val="{00000009-F1C1-E345-AF24-E24F044ED8E7}"/>
              </c:ext>
            </c:extLst>
          </c:dPt>
          <c:dPt>
            <c:idx val="1"/>
            <c:bubble3D val="0"/>
            <c:spPr>
              <a:solidFill>
                <a:schemeClr val="accent2"/>
              </a:solidFill>
              <a:ln>
                <a:noFill/>
              </a:ln>
              <a:effectLst/>
            </c:spPr>
            <c:extLst>
              <c:ext xmlns:c16="http://schemas.microsoft.com/office/drawing/2014/chart" uri="{C3380CC4-5D6E-409C-BE32-E72D297353CC}">
                <c16:uniqueId val="{0000000B-F1C1-E345-AF24-E24F044ED8E7}"/>
              </c:ext>
            </c:extLst>
          </c:dPt>
          <c:dPt>
            <c:idx val="2"/>
            <c:bubble3D val="0"/>
            <c:spPr>
              <a:solidFill>
                <a:schemeClr val="accent3"/>
              </a:solidFill>
              <a:ln>
                <a:noFill/>
              </a:ln>
              <a:effectLst/>
            </c:spPr>
            <c:extLst>
              <c:ext xmlns:c16="http://schemas.microsoft.com/office/drawing/2014/chart" uri="{C3380CC4-5D6E-409C-BE32-E72D297353CC}">
                <c16:uniqueId val="{0000000D-F1C1-E345-AF24-E24F044ED8E7}"/>
              </c:ext>
            </c:extLst>
          </c:dPt>
          <c:dPt>
            <c:idx val="3"/>
            <c:bubble3D val="0"/>
            <c:spPr>
              <a:solidFill>
                <a:schemeClr val="accent4"/>
              </a:solidFill>
              <a:ln>
                <a:noFill/>
              </a:ln>
              <a:effectLst/>
            </c:spPr>
            <c:extLst>
              <c:ext xmlns:c16="http://schemas.microsoft.com/office/drawing/2014/chart" uri="{C3380CC4-5D6E-409C-BE32-E72D297353CC}">
                <c16:uniqueId val="{0000000F-F1C1-E345-AF24-E24F044ED8E7}"/>
              </c:ext>
            </c:extLst>
          </c:dPt>
          <c:cat>
            <c:strRef>
              <c:f>Hoja1!$A$2:$A$5</c:f>
              <c:strCache>
                <c:ptCount val="4"/>
                <c:pt idx="0">
                  <c:v>Category 1</c:v>
                </c:pt>
                <c:pt idx="1">
                  <c:v>Highlighted category</c:v>
                </c:pt>
                <c:pt idx="2">
                  <c:v>Category 3</c:v>
                </c:pt>
                <c:pt idx="3">
                  <c:v>Category 4</c:v>
                </c:pt>
              </c:strCache>
            </c:strRef>
          </c:cat>
          <c:val>
            <c:numRef>
              <c:f>Hoja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A7E0-714A-93F2-79288273BB68}"/>
            </c:ext>
          </c:extLst>
        </c:ser>
        <c:ser>
          <c:idx val="2"/>
          <c:order val="2"/>
          <c:tx>
            <c:strRef>
              <c:f>Hoja1!$D$1</c:f>
              <c:strCache>
                <c:ptCount val="1"/>
                <c:pt idx="0">
                  <c:v>Serie 3</c:v>
                </c:pt>
              </c:strCache>
            </c:strRef>
          </c:tx>
          <c:dPt>
            <c:idx val="0"/>
            <c:bubble3D val="0"/>
            <c:spPr>
              <a:solidFill>
                <a:schemeClr val="accent1"/>
              </a:solidFill>
              <a:ln>
                <a:noFill/>
              </a:ln>
              <a:effectLst/>
            </c:spPr>
            <c:extLst>
              <c:ext xmlns:c16="http://schemas.microsoft.com/office/drawing/2014/chart" uri="{C3380CC4-5D6E-409C-BE32-E72D297353CC}">
                <c16:uniqueId val="{00000011-F1C1-E345-AF24-E24F044ED8E7}"/>
              </c:ext>
            </c:extLst>
          </c:dPt>
          <c:dPt>
            <c:idx val="1"/>
            <c:bubble3D val="0"/>
            <c:spPr>
              <a:solidFill>
                <a:schemeClr val="accent2"/>
              </a:solidFill>
              <a:ln>
                <a:noFill/>
              </a:ln>
              <a:effectLst/>
            </c:spPr>
            <c:extLst>
              <c:ext xmlns:c16="http://schemas.microsoft.com/office/drawing/2014/chart" uri="{C3380CC4-5D6E-409C-BE32-E72D297353CC}">
                <c16:uniqueId val="{00000013-F1C1-E345-AF24-E24F044ED8E7}"/>
              </c:ext>
            </c:extLst>
          </c:dPt>
          <c:dPt>
            <c:idx val="2"/>
            <c:bubble3D val="0"/>
            <c:spPr>
              <a:solidFill>
                <a:schemeClr val="accent3"/>
              </a:solidFill>
              <a:ln>
                <a:noFill/>
              </a:ln>
              <a:effectLst/>
            </c:spPr>
            <c:extLst>
              <c:ext xmlns:c16="http://schemas.microsoft.com/office/drawing/2014/chart" uri="{C3380CC4-5D6E-409C-BE32-E72D297353CC}">
                <c16:uniqueId val="{00000015-F1C1-E345-AF24-E24F044ED8E7}"/>
              </c:ext>
            </c:extLst>
          </c:dPt>
          <c:dPt>
            <c:idx val="3"/>
            <c:bubble3D val="0"/>
            <c:spPr>
              <a:solidFill>
                <a:schemeClr val="accent4"/>
              </a:solidFill>
              <a:ln>
                <a:noFill/>
              </a:ln>
              <a:effectLst/>
            </c:spPr>
            <c:extLst>
              <c:ext xmlns:c16="http://schemas.microsoft.com/office/drawing/2014/chart" uri="{C3380CC4-5D6E-409C-BE32-E72D297353CC}">
                <c16:uniqueId val="{00000017-F1C1-E345-AF24-E24F044ED8E7}"/>
              </c:ext>
            </c:extLst>
          </c:dPt>
          <c:cat>
            <c:strRef>
              <c:f>Hoja1!$A$2:$A$5</c:f>
              <c:strCache>
                <c:ptCount val="4"/>
                <c:pt idx="0">
                  <c:v>Category 1</c:v>
                </c:pt>
                <c:pt idx="1">
                  <c:v>Highlighted category</c:v>
                </c:pt>
                <c:pt idx="2">
                  <c:v>Category 3</c:v>
                </c:pt>
                <c:pt idx="3">
                  <c:v>Category 4</c:v>
                </c:pt>
              </c:strCache>
            </c:strRef>
          </c:cat>
          <c:val>
            <c:numRef>
              <c:f>Hoja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A7E0-714A-93F2-79288273BB68}"/>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AR"/>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AR"/>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064102564102401E-2"/>
          <c:y val="2.2123893805309812E-3"/>
          <c:w val="0.72115384615384859"/>
          <c:h val="0.99557522123893749"/>
        </c:manualLayout>
      </c:layout>
      <c:doughnutChart>
        <c:varyColors val="1"/>
        <c:ser>
          <c:idx val="0"/>
          <c:order val="0"/>
          <c:tx>
            <c:strRef>
              <c:f>Sheet1!$A$2</c:f>
              <c:strCache>
                <c:ptCount val="1"/>
                <c:pt idx="0">
                  <c:v>Graph 1</c:v>
                </c:pt>
              </c:strCache>
            </c:strRef>
          </c:tx>
          <c:spPr>
            <a:ln>
              <a:solidFill>
                <a:schemeClr val="bg1"/>
              </a:solidFill>
            </a:ln>
          </c:spPr>
          <c:dPt>
            <c:idx val="0"/>
            <c:bubble3D val="0"/>
            <c:spPr>
              <a:solidFill>
                <a:schemeClr val="accent1"/>
              </a:solidFill>
              <a:ln>
                <a:solidFill>
                  <a:schemeClr val="bg1"/>
                </a:solidFill>
              </a:ln>
              <a:effectLst/>
            </c:spPr>
            <c:extLst>
              <c:ext xmlns:c16="http://schemas.microsoft.com/office/drawing/2014/chart" uri="{C3380CC4-5D6E-409C-BE32-E72D297353CC}">
                <c16:uniqueId val="{00000002-A8D0-476A-976A-877EF72095F2}"/>
              </c:ext>
            </c:extLst>
          </c:dPt>
          <c:dPt>
            <c:idx val="1"/>
            <c:bubble3D val="0"/>
            <c:spPr>
              <a:solidFill>
                <a:schemeClr val="accent2"/>
              </a:solidFill>
              <a:ln>
                <a:solidFill>
                  <a:schemeClr val="bg1"/>
                </a:solidFill>
              </a:ln>
              <a:effectLst/>
            </c:spPr>
            <c:extLst>
              <c:ext xmlns:c16="http://schemas.microsoft.com/office/drawing/2014/chart" uri="{C3380CC4-5D6E-409C-BE32-E72D297353CC}">
                <c16:uniqueId val="{00000001-A8D0-476A-976A-877EF72095F2}"/>
              </c:ext>
            </c:extLst>
          </c:dPt>
          <c:dPt>
            <c:idx val="2"/>
            <c:bubble3D val="0"/>
            <c:spPr>
              <a:solidFill>
                <a:schemeClr val="tx2">
                  <a:lumMod val="75000"/>
                </a:schemeClr>
              </a:solidFill>
              <a:ln>
                <a:solidFill>
                  <a:schemeClr val="bg1"/>
                </a:solidFill>
              </a:ln>
              <a:effectLst/>
            </c:spPr>
            <c:extLst>
              <c:ext xmlns:c16="http://schemas.microsoft.com/office/drawing/2014/chart" uri="{C3380CC4-5D6E-409C-BE32-E72D297353CC}">
                <c16:uniqueId val="{00000003-A8D0-476A-976A-877EF72095F2}"/>
              </c:ext>
            </c:extLst>
          </c:dPt>
          <c:dPt>
            <c:idx val="3"/>
            <c:bubble3D val="0"/>
            <c:spPr>
              <a:solidFill>
                <a:schemeClr val="accent1">
                  <a:lumMod val="60000"/>
                  <a:lumOff val="40000"/>
                </a:schemeClr>
              </a:solidFill>
              <a:ln>
                <a:solidFill>
                  <a:schemeClr val="bg1"/>
                </a:solidFill>
              </a:ln>
              <a:effectLst/>
            </c:spPr>
            <c:extLst>
              <c:ext xmlns:c16="http://schemas.microsoft.com/office/drawing/2014/chart" uri="{C3380CC4-5D6E-409C-BE32-E72D297353CC}">
                <c16:uniqueId val="{00000004-A8D0-476A-976A-877EF72095F2}"/>
              </c:ext>
            </c:extLst>
          </c:dPt>
          <c:dLbls>
            <c:dLbl>
              <c:idx val="0"/>
              <c:layout>
                <c:manualLayout>
                  <c:x val="8.9166498776496756E-3"/>
                  <c:y val="-2.5793101838637689E-2"/>
                </c:manualLayout>
              </c:layout>
              <c:tx>
                <c:rich>
                  <a:bodyPr/>
                  <a:lstStyle/>
                  <a:p>
                    <a:fld id="{8CEB68AB-78D1-4941-8715-95C7557603E2}" type="VALUE">
                      <a:rPr lang="en-US" b="0" i="0">
                        <a:solidFill>
                          <a:schemeClr val="accent3"/>
                        </a:solidFill>
                        <a:latin typeface="Graphik" panose="020B0503030202060203" pitchFamily="34" charset="77"/>
                      </a:rPr>
                      <a:pPr/>
                      <a:t>[VALUE]</a:t>
                    </a:fld>
                    <a:endParaRPr lang="pt-B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8D0-476A-976A-877EF72095F2}"/>
                </c:ext>
              </c:extLst>
            </c:dLbl>
            <c:dLbl>
              <c:idx val="1"/>
              <c:tx>
                <c:rich>
                  <a:bodyPr rot="0" spcFirstLastPara="1" vertOverflow="ellipsis" vert="horz" wrap="square" anchor="ctr" anchorCtr="1"/>
                  <a:lstStyle/>
                  <a:p>
                    <a:pPr>
                      <a:defRPr sz="800" b="0" i="0" u="none" strike="noStrike" kern="1200" baseline="0">
                        <a:solidFill>
                          <a:srgbClr val="000000"/>
                        </a:solidFill>
                        <a:latin typeface="Graphik" panose="020B0503030202060203" pitchFamily="34" charset="77"/>
                        <a:ea typeface="+mn-ea"/>
                        <a:cs typeface="+mn-cs"/>
                      </a:defRPr>
                    </a:pPr>
                    <a:r>
                      <a:rPr lang="en-US" sz="800" b="0" i="0">
                        <a:solidFill>
                          <a:srgbClr val="000000"/>
                        </a:solidFill>
                        <a:latin typeface="Graphik" panose="020B0503030202060203" pitchFamily="34" charset="77"/>
                      </a:rPr>
                      <a:t>27,4</a:t>
                    </a:r>
                  </a:p>
                </c:rich>
              </c:tx>
              <c:spPr>
                <a:noFill/>
                <a:ln>
                  <a:noFill/>
                </a:ln>
                <a:effectLst/>
              </c:spPr>
              <c:txPr>
                <a:bodyPr rot="0" spcFirstLastPara="1" vertOverflow="ellipsis" vert="horz" wrap="square" anchor="ctr" anchorCtr="1"/>
                <a:lstStyle/>
                <a:p>
                  <a:pPr>
                    <a:defRPr sz="800" b="0" i="0" u="none" strike="noStrike" kern="1200" baseline="0">
                      <a:solidFill>
                        <a:srgbClr val="000000"/>
                      </a:solidFill>
                      <a:latin typeface="Graphik" panose="020B0503030202060203" pitchFamily="34" charset="77"/>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8D0-476A-976A-877EF72095F2}"/>
                </c:ext>
              </c:extLst>
            </c:dLbl>
            <c:dLbl>
              <c:idx val="2"/>
              <c:layout>
                <c:manualLayout>
                  <c:x val="2.2483709932524111E-2"/>
                  <c:y val="0"/>
                </c:manualLayout>
              </c:layout>
              <c:tx>
                <c:rich>
                  <a:bodyPr rot="0" spcFirstLastPara="1" vertOverflow="ellipsis" vert="horz" wrap="square" anchor="ctr" anchorCtr="1"/>
                  <a:lstStyle/>
                  <a:p>
                    <a:pPr>
                      <a:defRPr sz="800" b="0" i="0" u="none" strike="noStrike" kern="1200" baseline="0">
                        <a:solidFill>
                          <a:srgbClr val="FFFFFF"/>
                        </a:solidFill>
                        <a:latin typeface="Graphik" panose="020B0503030202060203" pitchFamily="34" charset="77"/>
                        <a:ea typeface="+mn-ea"/>
                        <a:cs typeface="+mn-cs"/>
                      </a:defRPr>
                    </a:pPr>
                    <a:fld id="{CAC3BC68-AF45-3949-88C3-B6036CDF94CC}" type="VALUE">
                      <a:rPr lang="en-US" b="0" i="0">
                        <a:solidFill>
                          <a:srgbClr val="FFFFFF"/>
                        </a:solidFill>
                        <a:latin typeface="Graphik" panose="020B0503030202060203" pitchFamily="34" charset="77"/>
                      </a:rPr>
                      <a:pPr>
                        <a:defRPr sz="800">
                          <a:solidFill>
                            <a:srgbClr val="FFFFFF"/>
                          </a:solidFill>
                          <a:latin typeface="Graphik" panose="020B0503030202060203" pitchFamily="34" charset="77"/>
                        </a:defRPr>
                      </a:pPr>
                      <a:t>[VALUE]</a:t>
                    </a:fld>
                    <a:endParaRPr lang="pt-BR"/>
                  </a:p>
                </c:rich>
              </c:tx>
              <c:spPr>
                <a:noFill/>
                <a:ln>
                  <a:noFill/>
                </a:ln>
                <a:effectLst/>
              </c:spPr>
              <c:txPr>
                <a:bodyPr rot="0" spcFirstLastPara="1" vertOverflow="ellipsis" vert="horz" wrap="square" anchor="ctr" anchorCtr="1"/>
                <a:lstStyle/>
                <a:p>
                  <a:pPr>
                    <a:defRPr sz="800" b="0" i="0" u="none" strike="noStrike" kern="1200" baseline="0">
                      <a:solidFill>
                        <a:srgbClr val="FFFFFF"/>
                      </a:solidFill>
                      <a:latin typeface="Graphik" panose="020B0503030202060203" pitchFamily="34" charset="77"/>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A8D0-476A-976A-877EF72095F2}"/>
                </c:ext>
              </c:extLst>
            </c:dLbl>
            <c:dLbl>
              <c:idx val="3"/>
              <c:layout>
                <c:manualLayout>
                  <c:x val="-3.0072097261213339E-3"/>
                  <c:y val="-9.8614428455620403E-3"/>
                </c:manualLayout>
              </c:layout>
              <c:tx>
                <c:rich>
                  <a:bodyPr/>
                  <a:lstStyle/>
                  <a:p>
                    <a:r>
                      <a:rPr lang="en-US" sz="800" b="0" i="0">
                        <a:solidFill>
                          <a:schemeClr val="bg1"/>
                        </a:solidFill>
                        <a:latin typeface="Graphik" panose="020B0503030202060203" pitchFamily="34" charset="77"/>
                      </a:rPr>
                      <a:t>20,4</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8D0-476A-976A-877EF72095F2}"/>
                </c:ext>
              </c:extLst>
            </c:dLbl>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Graphik" panose="020B0503030202060203" pitchFamily="34" charset="77"/>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extLst>
          </c:dLbls>
          <c:cat>
            <c:strRef>
              <c:f>Sheet1!$B$1:$E$1</c:f>
              <c:strCache>
                <c:ptCount val="4"/>
                <c:pt idx="0">
                  <c:v>Label A</c:v>
                </c:pt>
                <c:pt idx="1">
                  <c:v>Label B</c:v>
                </c:pt>
                <c:pt idx="2">
                  <c:v>Label C</c:v>
                </c:pt>
                <c:pt idx="3">
                  <c:v>Label D</c:v>
                </c:pt>
              </c:strCache>
            </c:strRef>
          </c:cat>
          <c:val>
            <c:numRef>
              <c:f>Sheet1!$B$2:$E$2</c:f>
              <c:numCache>
                <c:formatCode>General</c:formatCode>
                <c:ptCount val="4"/>
                <c:pt idx="0">
                  <c:v>20.399999999999999</c:v>
                </c:pt>
                <c:pt idx="1">
                  <c:v>27.4</c:v>
                </c:pt>
                <c:pt idx="2">
                  <c:v>90</c:v>
                </c:pt>
                <c:pt idx="3">
                  <c:v>20.399999999999999</c:v>
                </c:pt>
              </c:numCache>
            </c:numRef>
          </c:val>
          <c:extLst>
            <c:ext xmlns:c16="http://schemas.microsoft.com/office/drawing/2014/chart" uri="{C3380CC4-5D6E-409C-BE32-E72D297353CC}">
              <c16:uniqueId val="{00000005-A8D0-476A-976A-877EF72095F2}"/>
            </c:ext>
          </c:extLst>
        </c:ser>
        <c:ser>
          <c:idx val="1"/>
          <c:order val="1"/>
          <c:tx>
            <c:strRef>
              <c:f>Sheet1!$A$3</c:f>
              <c:strCache>
                <c:ptCount val="1"/>
                <c:pt idx="0">
                  <c:v>Graph 2</c:v>
                </c:pt>
              </c:strCache>
            </c:strRef>
          </c:tx>
          <c:spPr>
            <a:ln>
              <a:solidFill>
                <a:schemeClr val="bg1"/>
              </a:solidFill>
            </a:ln>
          </c:spPr>
          <c:dPt>
            <c:idx val="0"/>
            <c:bubble3D val="0"/>
            <c:spPr>
              <a:solidFill>
                <a:schemeClr val="accent1"/>
              </a:solidFill>
              <a:ln>
                <a:solidFill>
                  <a:schemeClr val="bg1"/>
                </a:solidFill>
              </a:ln>
              <a:effectLst/>
            </c:spPr>
            <c:extLst>
              <c:ext xmlns:c16="http://schemas.microsoft.com/office/drawing/2014/chart" uri="{C3380CC4-5D6E-409C-BE32-E72D297353CC}">
                <c16:uniqueId val="{00000008-A8D0-476A-976A-877EF72095F2}"/>
              </c:ext>
            </c:extLst>
          </c:dPt>
          <c:dPt>
            <c:idx val="1"/>
            <c:bubble3D val="0"/>
            <c:spPr>
              <a:solidFill>
                <a:schemeClr val="accent2"/>
              </a:solidFill>
              <a:ln>
                <a:solidFill>
                  <a:schemeClr val="bg1"/>
                </a:solidFill>
              </a:ln>
              <a:effectLst/>
            </c:spPr>
            <c:extLst>
              <c:ext xmlns:c16="http://schemas.microsoft.com/office/drawing/2014/chart" uri="{C3380CC4-5D6E-409C-BE32-E72D297353CC}">
                <c16:uniqueId val="{00000007-A8D0-476A-976A-877EF72095F2}"/>
              </c:ext>
            </c:extLst>
          </c:dPt>
          <c:dPt>
            <c:idx val="2"/>
            <c:bubble3D val="0"/>
            <c:spPr>
              <a:solidFill>
                <a:schemeClr val="tx2">
                  <a:lumMod val="75000"/>
                </a:schemeClr>
              </a:solidFill>
              <a:ln>
                <a:solidFill>
                  <a:schemeClr val="bg1"/>
                </a:solidFill>
              </a:ln>
              <a:effectLst/>
            </c:spPr>
            <c:extLst>
              <c:ext xmlns:c16="http://schemas.microsoft.com/office/drawing/2014/chart" uri="{C3380CC4-5D6E-409C-BE32-E72D297353CC}">
                <c16:uniqueId val="{0000000D-8DE6-A043-B053-B51F1C0AA2BD}"/>
              </c:ext>
            </c:extLst>
          </c:dPt>
          <c:dPt>
            <c:idx val="3"/>
            <c:bubble3D val="0"/>
            <c:spPr>
              <a:solidFill>
                <a:schemeClr val="accent1">
                  <a:lumMod val="60000"/>
                  <a:lumOff val="40000"/>
                </a:schemeClr>
              </a:solidFill>
              <a:ln>
                <a:solidFill>
                  <a:schemeClr val="bg1"/>
                </a:solidFill>
              </a:ln>
              <a:effectLst/>
            </c:spPr>
            <c:extLst>
              <c:ext xmlns:c16="http://schemas.microsoft.com/office/drawing/2014/chart" uri="{C3380CC4-5D6E-409C-BE32-E72D297353CC}">
                <c16:uniqueId val="{00000009-A8D0-476A-976A-877EF72095F2}"/>
              </c:ext>
            </c:extLst>
          </c:dPt>
          <c:dLbls>
            <c:dLbl>
              <c:idx val="0"/>
              <c:layout>
                <c:manualLayout>
                  <c:x val="1.1241854966262047E-2"/>
                  <c:y val="1.2350619500266703E-2"/>
                </c:manualLayout>
              </c:layout>
              <c:tx>
                <c:rich>
                  <a:bodyPr/>
                  <a:lstStyle/>
                  <a:p>
                    <a:fld id="{5DA05D9E-0111-A14B-91DD-D7B5CC754581}" type="VALUE">
                      <a:rPr lang="en-US" b="0" i="0">
                        <a:solidFill>
                          <a:schemeClr val="accent3"/>
                        </a:solidFill>
                        <a:latin typeface="Graphik" panose="020B0503030202060203" pitchFamily="34" charset="77"/>
                      </a:rPr>
                      <a:pPr/>
                      <a:t>[VALUE]</a:t>
                    </a:fld>
                    <a:endParaRPr lang="pt-B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A8D0-476A-976A-877EF72095F2}"/>
                </c:ext>
              </c:extLst>
            </c:dLbl>
            <c:dLbl>
              <c:idx val="1"/>
              <c:tx>
                <c:rich>
                  <a:bodyPr rot="0" spcFirstLastPara="1" vertOverflow="ellipsis" vert="horz" wrap="square" anchor="ctr" anchorCtr="1"/>
                  <a:lstStyle/>
                  <a:p>
                    <a:pPr>
                      <a:defRPr sz="800" b="0" i="0" u="none" strike="noStrike" kern="1200" baseline="0">
                        <a:solidFill>
                          <a:srgbClr val="000000"/>
                        </a:solidFill>
                        <a:latin typeface="Graphik" panose="020B0503030202060203" pitchFamily="34" charset="77"/>
                        <a:ea typeface="+mn-ea"/>
                        <a:cs typeface="+mn-cs"/>
                      </a:defRPr>
                    </a:pPr>
                    <a:r>
                      <a:rPr lang="en-US" sz="800" b="0" i="0">
                        <a:solidFill>
                          <a:srgbClr val="000000"/>
                        </a:solidFill>
                        <a:latin typeface="Graphik" panose="020B0503030202060203" pitchFamily="34" charset="77"/>
                      </a:rPr>
                      <a:t>38,6</a:t>
                    </a:r>
                  </a:p>
                </c:rich>
              </c:tx>
              <c:spPr>
                <a:noFill/>
                <a:ln>
                  <a:noFill/>
                </a:ln>
                <a:effectLst/>
              </c:spPr>
              <c:txPr>
                <a:bodyPr rot="0" spcFirstLastPara="1" vertOverflow="ellipsis" vert="horz" wrap="square" anchor="ctr" anchorCtr="1"/>
                <a:lstStyle/>
                <a:p>
                  <a:pPr>
                    <a:defRPr sz="800" b="0" i="0" u="none" strike="noStrike" kern="1200" baseline="0">
                      <a:solidFill>
                        <a:srgbClr val="000000"/>
                      </a:solidFill>
                      <a:latin typeface="Graphik" panose="020B0503030202060203" pitchFamily="34" charset="77"/>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8D0-476A-976A-877EF72095F2}"/>
                </c:ext>
              </c:extLst>
            </c:dLbl>
            <c:dLbl>
              <c:idx val="2"/>
              <c:tx>
                <c:rich>
                  <a:bodyPr rot="0" spcFirstLastPara="1" vertOverflow="ellipsis" vert="horz" wrap="square" anchor="ctr" anchorCtr="1"/>
                  <a:lstStyle/>
                  <a:p>
                    <a:pPr>
                      <a:defRPr sz="800" b="0" i="0" u="none" strike="noStrike" kern="1200" baseline="0">
                        <a:solidFill>
                          <a:srgbClr val="FFFFFF"/>
                        </a:solidFill>
                        <a:latin typeface="Graphik" panose="020B0503030202060203" pitchFamily="34" charset="77"/>
                        <a:ea typeface="+mn-ea"/>
                        <a:cs typeface="+mn-cs"/>
                      </a:defRPr>
                    </a:pPr>
                    <a:fld id="{6FD187A2-A136-4B44-9629-104219D628C7}" type="VALUE">
                      <a:rPr lang="en-US">
                        <a:solidFill>
                          <a:srgbClr val="FFFFFF"/>
                        </a:solidFill>
                      </a:rPr>
                      <a:pPr>
                        <a:defRPr sz="800">
                          <a:solidFill>
                            <a:srgbClr val="FFFFFF"/>
                          </a:solidFill>
                          <a:latin typeface="Graphik" panose="020B0503030202060203" pitchFamily="34" charset="77"/>
                        </a:defRPr>
                      </a:pPr>
                      <a:t>[VALUE]</a:t>
                    </a:fld>
                    <a:endParaRPr lang="pt-BR"/>
                  </a:p>
                </c:rich>
              </c:tx>
              <c:spPr>
                <a:noFill/>
                <a:ln>
                  <a:noFill/>
                </a:ln>
                <a:effectLst/>
              </c:spPr>
              <c:txPr>
                <a:bodyPr rot="0" spcFirstLastPara="1" vertOverflow="ellipsis" vert="horz" wrap="square" anchor="ctr" anchorCtr="1"/>
                <a:lstStyle/>
                <a:p>
                  <a:pPr>
                    <a:defRPr sz="800" b="0" i="0" u="none" strike="noStrike" kern="1200" baseline="0">
                      <a:solidFill>
                        <a:srgbClr val="FFFFFF"/>
                      </a:solidFill>
                      <a:latin typeface="Graphik" panose="020B0503030202060203" pitchFamily="34" charset="77"/>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8DE6-A043-B053-B51F1C0AA2BD}"/>
                </c:ext>
              </c:extLst>
            </c:dLbl>
            <c:dLbl>
              <c:idx val="3"/>
              <c:tx>
                <c:rich>
                  <a:bodyPr/>
                  <a:lstStyle/>
                  <a:p>
                    <a:r>
                      <a:rPr lang="en-US" sz="800" b="0" i="0">
                        <a:solidFill>
                          <a:schemeClr val="bg1"/>
                        </a:solidFill>
                        <a:latin typeface="Graphik" panose="020B0503030202060203" pitchFamily="34" charset="77"/>
                      </a:rPr>
                      <a:t>31,6</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8D0-476A-976A-877EF72095F2}"/>
                </c:ext>
              </c:extLst>
            </c:dLbl>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Graphik" panose="020B0503030202060203" pitchFamily="34" charset="77"/>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extLst>
          </c:dLbls>
          <c:cat>
            <c:strRef>
              <c:f>Sheet1!$B$1:$E$1</c:f>
              <c:strCache>
                <c:ptCount val="4"/>
                <c:pt idx="0">
                  <c:v>Label A</c:v>
                </c:pt>
                <c:pt idx="1">
                  <c:v>Label B</c:v>
                </c:pt>
                <c:pt idx="2">
                  <c:v>Label C</c:v>
                </c:pt>
                <c:pt idx="3">
                  <c:v>Label D</c:v>
                </c:pt>
              </c:strCache>
            </c:strRef>
          </c:cat>
          <c:val>
            <c:numRef>
              <c:f>Sheet1!$B$3:$E$3</c:f>
              <c:numCache>
                <c:formatCode>General</c:formatCode>
                <c:ptCount val="4"/>
                <c:pt idx="0">
                  <c:v>30.6</c:v>
                </c:pt>
                <c:pt idx="1">
                  <c:v>38.6</c:v>
                </c:pt>
                <c:pt idx="2">
                  <c:v>34.6</c:v>
                </c:pt>
                <c:pt idx="3">
                  <c:v>31.6</c:v>
                </c:pt>
              </c:numCache>
            </c:numRef>
          </c:val>
          <c:extLst>
            <c:ext xmlns:c16="http://schemas.microsoft.com/office/drawing/2014/chart" uri="{C3380CC4-5D6E-409C-BE32-E72D297353CC}">
              <c16:uniqueId val="{0000000A-A8D0-476A-976A-877EF72095F2}"/>
            </c:ext>
          </c:extLst>
        </c:ser>
        <c:ser>
          <c:idx val="2"/>
          <c:order val="2"/>
          <c:tx>
            <c:strRef>
              <c:f>Sheet1!$A$4</c:f>
              <c:strCache>
                <c:ptCount val="1"/>
                <c:pt idx="0">
                  <c:v>Graph 3</c:v>
                </c:pt>
              </c:strCache>
            </c:strRef>
          </c:tx>
          <c:spPr>
            <a:ln w="19050">
              <a:solidFill>
                <a:schemeClr val="bg1"/>
              </a:solidFill>
            </a:ln>
          </c:spPr>
          <c:dPt>
            <c:idx val="0"/>
            <c:bubble3D val="0"/>
            <c:spPr>
              <a:solidFill>
                <a:schemeClr val="accent1"/>
              </a:solidFill>
              <a:ln w="19050">
                <a:solidFill>
                  <a:schemeClr val="bg1"/>
                </a:solidFill>
              </a:ln>
              <a:effectLst/>
            </c:spPr>
            <c:extLst>
              <c:ext xmlns:c16="http://schemas.microsoft.com/office/drawing/2014/chart" uri="{C3380CC4-5D6E-409C-BE32-E72D297353CC}">
                <c16:uniqueId val="{0000000D-A8D0-476A-976A-877EF72095F2}"/>
              </c:ext>
            </c:extLst>
          </c:dPt>
          <c:dPt>
            <c:idx val="1"/>
            <c:bubble3D val="0"/>
            <c:spPr>
              <a:solidFill>
                <a:schemeClr val="accent2"/>
              </a:solidFill>
              <a:ln w="19050">
                <a:solidFill>
                  <a:schemeClr val="bg1"/>
                </a:solidFill>
              </a:ln>
              <a:effectLst/>
            </c:spPr>
            <c:extLst>
              <c:ext xmlns:c16="http://schemas.microsoft.com/office/drawing/2014/chart" uri="{C3380CC4-5D6E-409C-BE32-E72D297353CC}">
                <c16:uniqueId val="{0000000C-A8D0-476A-976A-877EF72095F2}"/>
              </c:ext>
            </c:extLst>
          </c:dPt>
          <c:dPt>
            <c:idx val="2"/>
            <c:bubble3D val="0"/>
            <c:spPr>
              <a:solidFill>
                <a:schemeClr val="tx2">
                  <a:lumMod val="75000"/>
                </a:schemeClr>
              </a:solidFill>
              <a:ln w="19050">
                <a:solidFill>
                  <a:schemeClr val="bg1"/>
                </a:solidFill>
              </a:ln>
              <a:effectLst/>
            </c:spPr>
            <c:extLst>
              <c:ext xmlns:c16="http://schemas.microsoft.com/office/drawing/2014/chart" uri="{C3380CC4-5D6E-409C-BE32-E72D297353CC}">
                <c16:uniqueId val="{0000000E-A8D0-476A-976A-877EF72095F2}"/>
              </c:ext>
            </c:extLst>
          </c:dPt>
          <c:dPt>
            <c:idx val="3"/>
            <c:bubble3D val="0"/>
            <c:spPr>
              <a:solidFill>
                <a:schemeClr val="accent1">
                  <a:lumMod val="60000"/>
                  <a:lumOff val="40000"/>
                </a:schemeClr>
              </a:solidFill>
              <a:ln w="19050">
                <a:solidFill>
                  <a:schemeClr val="bg1"/>
                </a:solidFill>
              </a:ln>
              <a:effectLst/>
            </c:spPr>
            <c:extLst>
              <c:ext xmlns:c16="http://schemas.microsoft.com/office/drawing/2014/chart" uri="{C3380CC4-5D6E-409C-BE32-E72D297353CC}">
                <c16:uniqueId val="{0000000F-A8D0-476A-976A-877EF72095F2}"/>
              </c:ext>
            </c:extLst>
          </c:dPt>
          <c:dLbls>
            <c:dLbl>
              <c:idx val="0"/>
              <c:layout>
                <c:manualLayout>
                  <c:x val="-2.4732080925776494E-2"/>
                  <c:y val="-3.7051858500800131E-2"/>
                </c:manualLayout>
              </c:layout>
              <c:tx>
                <c:rich>
                  <a:bodyPr/>
                  <a:lstStyle/>
                  <a:p>
                    <a:fld id="{9599EA62-80D5-5646-9F2B-B3B70F75D554}" type="VALUE">
                      <a:rPr lang="en-US" b="0" i="0">
                        <a:solidFill>
                          <a:schemeClr val="accent3"/>
                        </a:solidFill>
                        <a:latin typeface="Graphik" panose="020B0503030202060203" pitchFamily="34" charset="77"/>
                      </a:rPr>
                      <a:pPr/>
                      <a:t>[VALUE]</a:t>
                    </a:fld>
                    <a:endParaRPr lang="pt-B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A8D0-476A-976A-877EF72095F2}"/>
                </c:ext>
              </c:extLst>
            </c:dLbl>
            <c:dLbl>
              <c:idx val="1"/>
              <c:tx>
                <c:rich>
                  <a:bodyPr rot="0" spcFirstLastPara="1" vertOverflow="ellipsis" vert="horz" wrap="square" anchor="ctr" anchorCtr="1"/>
                  <a:lstStyle/>
                  <a:p>
                    <a:pPr>
                      <a:defRPr sz="800" b="1" i="0" u="none" strike="noStrike" kern="1200" baseline="0">
                        <a:solidFill>
                          <a:srgbClr val="000000"/>
                        </a:solidFill>
                        <a:latin typeface="+mn-lt"/>
                        <a:ea typeface="+mn-ea"/>
                        <a:cs typeface="+mn-cs"/>
                      </a:defRPr>
                    </a:pPr>
                    <a:r>
                      <a:rPr lang="en-US" sz="800" b="0" i="0">
                        <a:solidFill>
                          <a:srgbClr val="000000"/>
                        </a:solidFill>
                        <a:latin typeface="Graphik" panose="020B0503030202060203" pitchFamily="34" charset="77"/>
                      </a:rPr>
                      <a:t>46,9</a:t>
                    </a:r>
                  </a:p>
                </c:rich>
              </c:tx>
              <c:spPr>
                <a:noFill/>
                <a:ln>
                  <a:noFill/>
                </a:ln>
                <a:effectLst/>
              </c:spPr>
              <c:txPr>
                <a:bodyPr rot="0" spcFirstLastPara="1" vertOverflow="ellipsis" vert="horz" wrap="square" anchor="ctr" anchorCtr="1"/>
                <a:lstStyle/>
                <a:p>
                  <a:pPr>
                    <a:defRPr sz="800" b="1" i="0" u="none" strike="noStrike" kern="1200" baseline="0">
                      <a:solidFill>
                        <a:srgbClr val="000000"/>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8D0-476A-976A-877EF72095F2}"/>
                </c:ext>
              </c:extLst>
            </c:dLbl>
            <c:dLbl>
              <c:idx val="2"/>
              <c:layout>
                <c:manualLayout>
                  <c:x val="1.4804887741240324E-2"/>
                  <c:y val="2.2188244248891535E-2"/>
                </c:manualLayout>
              </c:layout>
              <c:tx>
                <c:rich>
                  <a:bodyPr rot="0" spcFirstLastPara="1" vertOverflow="ellipsis" vert="horz" wrap="square" anchor="ctr" anchorCtr="1"/>
                  <a:lstStyle/>
                  <a:p>
                    <a:pPr>
                      <a:defRPr sz="800" b="1" i="0" u="none" strike="noStrike" kern="1200" baseline="0">
                        <a:solidFill>
                          <a:srgbClr val="FFFFFF"/>
                        </a:solidFill>
                        <a:latin typeface="+mn-lt"/>
                        <a:ea typeface="+mn-ea"/>
                        <a:cs typeface="+mn-cs"/>
                      </a:defRPr>
                    </a:pPr>
                    <a:fld id="{2EE9D44D-663E-3C45-BE26-C8E1F7CCD6AE}" type="VALUE">
                      <a:rPr lang="en-US" b="0" i="0">
                        <a:solidFill>
                          <a:srgbClr val="FFFFFF"/>
                        </a:solidFill>
                        <a:latin typeface="Graphik" panose="020B0503030202060203" pitchFamily="34" charset="77"/>
                      </a:rPr>
                      <a:pPr>
                        <a:defRPr sz="800" b="1">
                          <a:solidFill>
                            <a:srgbClr val="FFFFFF"/>
                          </a:solidFill>
                        </a:defRPr>
                      </a:pPr>
                      <a:t>[VALUE]</a:t>
                    </a:fld>
                    <a:endParaRPr lang="pt-BR"/>
                  </a:p>
                </c:rich>
              </c:tx>
              <c:spPr>
                <a:noFill/>
                <a:ln>
                  <a:noFill/>
                </a:ln>
                <a:effectLst/>
              </c:spPr>
              <c:txPr>
                <a:bodyPr rot="0" spcFirstLastPara="1" vertOverflow="ellipsis" vert="horz" wrap="square" anchor="ctr" anchorCtr="1"/>
                <a:lstStyle/>
                <a:p>
                  <a:pPr>
                    <a:defRPr sz="800" b="1" i="0" u="none" strike="noStrike" kern="1200" baseline="0">
                      <a:solidFill>
                        <a:srgbClr val="FFFFFF"/>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E-A8D0-476A-976A-877EF72095F2}"/>
                </c:ext>
              </c:extLst>
            </c:dLbl>
            <c:dLbl>
              <c:idx val="3"/>
              <c:tx>
                <c:rich>
                  <a:bodyPr/>
                  <a:lstStyle/>
                  <a:p>
                    <a:r>
                      <a:rPr lang="en-US" sz="800" b="0" i="0">
                        <a:solidFill>
                          <a:schemeClr val="bg1"/>
                        </a:solidFill>
                        <a:latin typeface="Graphik" panose="020B0503030202060203" pitchFamily="34" charset="77"/>
                      </a:rPr>
                      <a:t>43,9</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8D0-476A-976A-877EF72095F2}"/>
                </c:ext>
              </c:extLst>
            </c:dLbl>
            <c:spPr>
              <a:noFill/>
              <a:ln>
                <a:noFill/>
              </a:ln>
              <a:effectLst/>
            </c:spPr>
            <c:txPr>
              <a:bodyPr rot="0" spcFirstLastPara="1" vertOverflow="ellipsis" vert="horz" wrap="square" anchor="ctr" anchorCtr="1"/>
              <a:lstStyle/>
              <a:p>
                <a:pPr>
                  <a:defRPr sz="8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extLst>
          </c:dLbls>
          <c:cat>
            <c:strRef>
              <c:f>Sheet1!$B$1:$E$1</c:f>
              <c:strCache>
                <c:ptCount val="4"/>
                <c:pt idx="0">
                  <c:v>Label A</c:v>
                </c:pt>
                <c:pt idx="1">
                  <c:v>Label B</c:v>
                </c:pt>
                <c:pt idx="2">
                  <c:v>Label C</c:v>
                </c:pt>
                <c:pt idx="3">
                  <c:v>Label D</c:v>
                </c:pt>
              </c:strCache>
            </c:strRef>
          </c:cat>
          <c:val>
            <c:numRef>
              <c:f>Sheet1!$B$4:$E$4</c:f>
              <c:numCache>
                <c:formatCode>General</c:formatCode>
                <c:ptCount val="4"/>
                <c:pt idx="0">
                  <c:v>45.9</c:v>
                </c:pt>
                <c:pt idx="1">
                  <c:v>46.9</c:v>
                </c:pt>
                <c:pt idx="2">
                  <c:v>45</c:v>
                </c:pt>
                <c:pt idx="3">
                  <c:v>43.9</c:v>
                </c:pt>
              </c:numCache>
            </c:numRef>
          </c:val>
          <c:extLst>
            <c:ext xmlns:c16="http://schemas.microsoft.com/office/drawing/2014/chart" uri="{C3380CC4-5D6E-409C-BE32-E72D297353CC}">
              <c16:uniqueId val="{00000010-A8D0-476A-976A-877EF72095F2}"/>
            </c:ext>
          </c:extLst>
        </c:ser>
        <c:dLbls>
          <c:showLegendKey val="0"/>
          <c:showVal val="1"/>
          <c:showCatName val="0"/>
          <c:showSerName val="0"/>
          <c:showPercent val="0"/>
          <c:showBubbleSize val="0"/>
          <c:showLeaderLines val="0"/>
        </c:dLbls>
        <c:firstSliceAng val="0"/>
        <c:holeSize val="10"/>
      </c:doughnutChart>
      <c:spPr>
        <a:noFill/>
        <a:ln>
          <a:noFill/>
        </a:ln>
        <a:effectLst/>
      </c:spPr>
    </c:plotArea>
    <c:legend>
      <c:legendPos val="r"/>
      <c:layout>
        <c:manualLayout>
          <c:xMode val="edge"/>
          <c:yMode val="edge"/>
          <c:x val="0.69564951005090958"/>
          <c:y val="0.64147210376412045"/>
          <c:w val="0.24036075330618911"/>
          <c:h val="0.35524644289215151"/>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mn-lt"/>
              <a:ea typeface="+mn-ea"/>
              <a:cs typeface="+mn-cs"/>
            </a:defRPr>
          </a:pPr>
          <a:endParaRPr lang="en-US"/>
        </a:p>
      </c:txPr>
    </c:legend>
    <c:plotVisOnly val="1"/>
    <c:dispBlanksAs val="zero"/>
    <c:showDLblsOverMax val="0"/>
  </c:chart>
  <c:spPr>
    <a:noFill/>
    <a:ln w="6350" cap="flat" cmpd="sng" algn="ctr">
      <a:noFill/>
      <a:prstDash val="solid"/>
      <a:miter lim="800000"/>
    </a:ln>
    <a:effectLst/>
  </c:spPr>
  <c:txPr>
    <a:bodyPr/>
    <a:lstStyle/>
    <a:p>
      <a:pPr>
        <a:defRPr sz="1800"/>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Sheet1!$A$2:$A$77</cx:f>
        <cx:lvl ptCount="76" formatCode="General">
          <cx:pt idx="0">1</cx:pt>
          <cx:pt idx="1">3</cx:pt>
          <cx:pt idx="2">3</cx:pt>
          <cx:pt idx="3">3</cx:pt>
          <cx:pt idx="4">5</cx:pt>
          <cx:pt idx="5">6</cx:pt>
          <cx:pt idx="6">6</cx:pt>
          <cx:pt idx="7">6</cx:pt>
          <cx:pt idx="8">7</cx:pt>
          <cx:pt idx="9">8</cx:pt>
          <cx:pt idx="10">8</cx:pt>
          <cx:pt idx="11">9</cx:pt>
          <cx:pt idx="12">9</cx:pt>
          <cx:pt idx="13">9</cx:pt>
          <cx:pt idx="14">9</cx:pt>
          <cx:pt idx="15">9</cx:pt>
          <cx:pt idx="16">10</cx:pt>
          <cx:pt idx="17">10</cx:pt>
          <cx:pt idx="18">10</cx:pt>
          <cx:pt idx="19">10</cx:pt>
          <cx:pt idx="20">10</cx:pt>
          <cx:pt idx="21">10</cx:pt>
          <cx:pt idx="22">11</cx:pt>
          <cx:pt idx="23">11</cx:pt>
          <cx:pt idx="24">11</cx:pt>
          <cx:pt idx="25">11</cx:pt>
          <cx:pt idx="26">11</cx:pt>
          <cx:pt idx="27">11</cx:pt>
          <cx:pt idx="28">12</cx:pt>
          <cx:pt idx="29">12</cx:pt>
          <cx:pt idx="30">12</cx:pt>
          <cx:pt idx="31">12</cx:pt>
          <cx:pt idx="32">12</cx:pt>
          <cx:pt idx="33">12</cx:pt>
          <cx:pt idx="34">13</cx:pt>
          <cx:pt idx="35">13</cx:pt>
          <cx:pt idx="36">13</cx:pt>
          <cx:pt idx="37">13</cx:pt>
          <cx:pt idx="38">13</cx:pt>
          <cx:pt idx="39">14</cx:pt>
          <cx:pt idx="40">14</cx:pt>
          <cx:pt idx="41">14</cx:pt>
          <cx:pt idx="42">14</cx:pt>
          <cx:pt idx="43">14</cx:pt>
          <cx:pt idx="44">14</cx:pt>
          <cx:pt idx="45">15</cx:pt>
          <cx:pt idx="46">15</cx:pt>
          <cx:pt idx="47">15</cx:pt>
          <cx:pt idx="48">15</cx:pt>
          <cx:pt idx="49">15</cx:pt>
          <cx:pt idx="50">15</cx:pt>
          <cx:pt idx="51">15</cx:pt>
          <cx:pt idx="52">15</cx:pt>
          <cx:pt idx="53">16</cx:pt>
          <cx:pt idx="54">16</cx:pt>
          <cx:pt idx="55">16</cx:pt>
          <cx:pt idx="56">16</cx:pt>
          <cx:pt idx="57">17</cx:pt>
          <cx:pt idx="58">17</cx:pt>
          <cx:pt idx="59">17</cx:pt>
          <cx:pt idx="60">17</cx:pt>
          <cx:pt idx="61">17</cx:pt>
          <cx:pt idx="62">17</cx:pt>
          <cx:pt idx="63">18</cx:pt>
          <cx:pt idx="64">18</cx:pt>
          <cx:pt idx="65">18</cx:pt>
          <cx:pt idx="66">18</cx:pt>
          <cx:pt idx="67">19</cx:pt>
          <cx:pt idx="68">19</cx:pt>
          <cx:pt idx="69">19</cx:pt>
          <cx:pt idx="70">20</cx:pt>
          <cx:pt idx="71">21</cx:pt>
          <cx:pt idx="72">22</cx:pt>
          <cx:pt idx="73">22</cx:pt>
          <cx:pt idx="74">24</cx:pt>
          <cx:pt idx="75">24</cx:pt>
        </cx:lvl>
      </cx:numDim>
    </cx:data>
  </cx:chartData>
  <cx:chart>
    <cx:title pos="t" align="ctr" overlay="0">
      <cx:tx>
        <cx:txData>
          <cx:v>Histogram chart title placeholder</cx:v>
        </cx:txData>
      </cx:tx>
      <cx:txPr>
        <a:bodyPr spcFirstLastPara="1" vertOverflow="ellipsis" horzOverflow="overflow" wrap="square" lIns="0" tIns="0" rIns="0" bIns="0" anchor="ctr" anchorCtr="1"/>
        <a:lstStyle/>
        <a:p>
          <a:pPr algn="ctr" rtl="0">
            <a:defRPr/>
          </a:pPr>
          <a:r>
            <a:rPr lang="en-US" sz="1862" b="0" i="0" u="none" strike="noStrike" baseline="0">
              <a:solidFill>
                <a:srgbClr val="000000">
                  <a:lumMod val="65000"/>
                  <a:lumOff val="35000"/>
                </a:srgbClr>
              </a:solidFill>
              <a:latin typeface="Graphik Regular"/>
            </a:rPr>
            <a:t>Histogram chart title placeholder</a:t>
          </a:r>
        </a:p>
      </cx:txPr>
    </cx:title>
    <cx:plotArea>
      <cx:plotAreaRegion>
        <cx:series layoutId="clusteredColumn" uniqueId="{1FDAD212-4221-7140-8090-4775F3C16216}">
          <cx:tx>
            <cx:txData>
              <cx:f>Sheet1!$A$1</cx:f>
              <cx:v>Series1</cx:v>
            </cx:txData>
          </cx:tx>
          <cx:spPr>
            <a:solidFill>
              <a:schemeClr val="accent1"/>
            </a:solidFill>
          </cx:spPr>
          <cx:dataId val="0"/>
          <cx:layoutPr>
            <cx:binning intervalClosed="r"/>
          </cx:layoutPr>
        </cx:series>
      </cx:plotAreaRegion>
      <cx:axis id="0">
        <cx:catScaling gapWidth="0"/>
        <cx:tickLabels/>
      </cx:axis>
      <cx:axis id="1">
        <cx:valScaling/>
        <cx:majorGridlines/>
        <cx:tickLabels/>
      </cx:axis>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51</cx:f>
        <cx:lvl ptCount="50">
          <cx:pt idx="0">Category 1</cx:pt>
          <cx:pt idx="1">Category 3</cx:pt>
          <cx:pt idx="2">Category 1</cx:pt>
          <cx:pt idx="3">Category 2</cx:pt>
          <cx:pt idx="4">Category 4</cx:pt>
          <cx:pt idx="5">Category 1</cx:pt>
          <cx:pt idx="6">Category 4</cx:pt>
          <cx:pt idx="7">Category 3</cx:pt>
          <cx:pt idx="8">Category 4</cx:pt>
          <cx:pt idx="9">Category 1</cx:pt>
          <cx:pt idx="10">Category 2</cx:pt>
          <cx:pt idx="11">Category 4</cx:pt>
          <cx:pt idx="12">Category 4</cx:pt>
          <cx:pt idx="13">Category 2</cx:pt>
          <cx:pt idx="14">Category 1</cx:pt>
          <cx:pt idx="15">Category 1</cx:pt>
          <cx:pt idx="16">Category 1</cx:pt>
          <cx:pt idx="17">Category 4</cx:pt>
          <cx:pt idx="18">Category 4</cx:pt>
          <cx:pt idx="19">Category 4</cx:pt>
          <cx:pt idx="20">Category 1</cx:pt>
          <cx:pt idx="21">Category 1</cx:pt>
          <cx:pt idx="22">Category 4</cx:pt>
          <cx:pt idx="23">Category 1</cx:pt>
          <cx:pt idx="24">Category 1</cx:pt>
          <cx:pt idx="25">Category 4</cx:pt>
          <cx:pt idx="26">Category 1</cx:pt>
          <cx:pt idx="27">Category 4</cx:pt>
          <cx:pt idx="28">Category 4</cx:pt>
          <cx:pt idx="29">Category 4</cx:pt>
          <cx:pt idx="30">Category 4</cx:pt>
          <cx:pt idx="31">Category 2</cx:pt>
          <cx:pt idx="32">Category 4</cx:pt>
          <cx:pt idx="33">Category 1</cx:pt>
          <cx:pt idx="34">Category 4</cx:pt>
          <cx:pt idx="35">Category 1</cx:pt>
          <cx:pt idx="36">Category 4</cx:pt>
          <cx:pt idx="37">Category 2</cx:pt>
          <cx:pt idx="38">Category 4</cx:pt>
          <cx:pt idx="39">Category 3</cx:pt>
          <cx:pt idx="40">Category 4</cx:pt>
          <cx:pt idx="41">Category 4</cx:pt>
          <cx:pt idx="42">Category 2</cx:pt>
          <cx:pt idx="43">Category 4</cx:pt>
          <cx:pt idx="44">Category 1</cx:pt>
          <cx:pt idx="45">Category 1</cx:pt>
          <cx:pt idx="46">Category 1</cx:pt>
          <cx:pt idx="47">Category 2</cx:pt>
          <cx:pt idx="48">Category 4</cx:pt>
          <cx:pt idx="49">Category 4</cx:pt>
        </cx:lvl>
      </cx:strDim>
      <cx:numDim type="val">
        <cx:f>Sheet1!$B$2:$B$51</cx:f>
        <cx:lvl ptCount="50" formatCode="General">
          <cx:pt idx="0">1</cx:pt>
          <cx:pt idx="1">1</cx:pt>
          <cx:pt idx="2">1</cx:pt>
          <cx:pt idx="3">1</cx:pt>
          <cx:pt idx="4">1</cx:pt>
          <cx:pt idx="5">1</cx:pt>
          <cx:pt idx="6">1</cx:pt>
          <cx:pt idx="7">1</cx:pt>
          <cx:pt idx="8">1</cx:pt>
          <cx:pt idx="9">1</cx:pt>
          <cx:pt idx="10">1</cx:pt>
          <cx:pt idx="11">1</cx:pt>
          <cx:pt idx="12">1</cx:pt>
          <cx:pt idx="13">1</cx:pt>
          <cx:pt idx="14">1</cx:pt>
          <cx:pt idx="15">1</cx:pt>
          <cx:pt idx="16">1</cx:pt>
          <cx:pt idx="17">1</cx:pt>
          <cx:pt idx="18">1</cx:pt>
          <cx:pt idx="19">1</cx:pt>
          <cx:pt idx="20">1</cx:pt>
          <cx:pt idx="21">1</cx:pt>
          <cx:pt idx="22">1</cx:pt>
          <cx:pt idx="23">1</cx:pt>
          <cx:pt idx="24">1</cx:pt>
          <cx:pt idx="25">1</cx:pt>
          <cx:pt idx="26">1</cx:pt>
          <cx:pt idx="27">1</cx:pt>
          <cx:pt idx="28">1</cx:pt>
          <cx:pt idx="29">1</cx:pt>
          <cx:pt idx="30">1</cx:pt>
          <cx:pt idx="31">1</cx:pt>
          <cx:pt idx="32">1</cx:pt>
          <cx:pt idx="33">1</cx:pt>
          <cx:pt idx="34">1</cx:pt>
          <cx:pt idx="35">1</cx:pt>
          <cx:pt idx="36">1</cx:pt>
          <cx:pt idx="37">1</cx:pt>
          <cx:pt idx="38">1</cx:pt>
          <cx:pt idx="39">1</cx:pt>
          <cx:pt idx="40">1</cx:pt>
          <cx:pt idx="41">1</cx:pt>
          <cx:pt idx="42">1</cx:pt>
          <cx:pt idx="43">1</cx:pt>
          <cx:pt idx="44">1</cx:pt>
          <cx:pt idx="45">1</cx:pt>
          <cx:pt idx="46">1</cx:pt>
          <cx:pt idx="47">1</cx:pt>
          <cx:pt idx="48">1</cx:pt>
          <cx:pt idx="49">1</cx:pt>
        </cx:lvl>
      </cx:numDim>
    </cx:data>
  </cx:chartData>
  <cx:chart>
    <cx:title pos="t" align="ctr" overlay="0">
      <cx:tx>
        <cx:txData>
          <cx:v>Pareto chart title placeholder</cx:v>
        </cx:txData>
      </cx:tx>
      <cx:txPr>
        <a:bodyPr spcFirstLastPara="1" vertOverflow="ellipsis" horzOverflow="overflow" wrap="square" lIns="0" tIns="0" rIns="0" bIns="0" anchor="ctr" anchorCtr="1"/>
        <a:lstStyle/>
        <a:p>
          <a:pPr algn="ctr" rtl="0">
            <a:defRPr/>
          </a:pPr>
          <a:r>
            <a:rPr lang="en-US" sz="1862" b="0" i="0" u="none" strike="noStrike" baseline="0">
              <a:solidFill>
                <a:srgbClr val="000000">
                  <a:lumMod val="65000"/>
                  <a:lumOff val="35000"/>
                </a:srgbClr>
              </a:solidFill>
              <a:latin typeface="Graphik Regular"/>
            </a:rPr>
            <a:t>Pareto chart title placeholder</a:t>
          </a:r>
        </a:p>
      </cx:txPr>
    </cx:title>
    <cx:plotArea>
      <cx:plotAreaRegion>
        <cx:series layoutId="clusteredColumn" uniqueId="{9F454146-3165-3542-86EA-D2AC0D32491F}">
          <cx:tx>
            <cx:txData>
              <cx:f>Sheet1!$B$1</cx:f>
              <cx:v>Series1</cx:v>
            </cx:txData>
          </cx:tx>
          <cx:spPr>
            <a:solidFill>
              <a:schemeClr val="bg1">
                <a:lumMod val="65000"/>
              </a:schemeClr>
            </a:solidFill>
          </cx:spPr>
          <cx:dataId val="0"/>
          <cx:layoutPr>
            <cx:aggregation/>
          </cx:layoutPr>
          <cx:axisId val="1"/>
        </cx:series>
        <cx:series layoutId="paretoLine" ownerIdx="0" uniqueId="{C36E6CFA-33BD-4D45-9B4D-522CFA54829F}">
          <cx:spPr>
            <a:solidFill>
              <a:srgbClr val="02F2DC"/>
            </a:solidFill>
            <a:ln w="50800">
              <a:solidFill>
                <a:schemeClr val="bg2"/>
              </a:solidFill>
            </a:ln>
          </cx:spPr>
          <cx:axisId val="2"/>
        </cx:series>
      </cx:plotAreaRegion>
      <cx:axis id="0">
        <cx:catScaling gapWidth="0"/>
        <cx:tickLabels/>
        <cx:txPr>
          <a:bodyPr spcFirstLastPara="1" vertOverflow="ellipsis" horzOverflow="overflow" wrap="square" lIns="0" tIns="0" rIns="0" bIns="0" anchor="ctr" anchorCtr="1"/>
          <a:lstStyle/>
          <a:p>
            <a:pPr algn="ctr" rtl="0">
              <a:defRPr sz="1000"/>
            </a:pPr>
            <a:endParaRPr lang="en-US" sz="1000" b="0" i="0" u="none" strike="noStrike" baseline="0">
              <a:solidFill>
                <a:srgbClr val="000000">
                  <a:lumMod val="65000"/>
                  <a:lumOff val="35000"/>
                </a:srgbClr>
              </a:solidFill>
              <a:latin typeface="Graphik Regular"/>
            </a:endParaRPr>
          </a:p>
        </cx:txPr>
      </cx:axis>
      <cx:axis id="1">
        <cx:valScaling/>
        <cx:majorGridlines/>
        <cx:tickLabels/>
      </cx:axis>
      <cx:axis id="2">
        <cx:valScaling max="1" min="0"/>
        <cx:units unit="percentage"/>
        <cx:tickLabels/>
      </cx:axis>
    </cx:plotArea>
  </cx:chart>
</cx:chartSpace>
</file>

<file path=ppt/charts/chartEx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23</cx:f>
        <cx:lvl ptCount="22">
          <cx:pt idx="0">Category 1</cx:pt>
          <cx:pt idx="1">Category 1</cx:pt>
          <cx:pt idx="2">Category 1</cx:pt>
          <cx:pt idx="3">Category 1</cx:pt>
          <cx:pt idx="4">Category 1</cx:pt>
          <cx:pt idx="5">Category 1</cx:pt>
          <cx:pt idx="6">Category 1</cx:pt>
          <cx:pt idx="7">Category 1</cx:pt>
          <cx:pt idx="8">Category 1</cx:pt>
          <cx:pt idx="9">Category 2</cx:pt>
          <cx:pt idx="10">Category 2</cx:pt>
          <cx:pt idx="11">Category 2</cx:pt>
          <cx:pt idx="12">Category 2</cx:pt>
          <cx:pt idx="13">Category 2</cx:pt>
          <cx:pt idx="14">Category 2</cx:pt>
          <cx:pt idx="15">Category 2</cx:pt>
          <cx:pt idx="16">Category 3</cx:pt>
          <cx:pt idx="17">Category 3</cx:pt>
          <cx:pt idx="18">Category 3</cx:pt>
          <cx:pt idx="19">Category 3</cx:pt>
          <cx:pt idx="20">Category 3</cx:pt>
          <cx:pt idx="21">Category 3</cx:pt>
        </cx:lvl>
      </cx:strDim>
      <cx:numDim type="val">
        <cx:f>Sheet1!$B$2:$B$23</cx:f>
        <cx:lvl ptCount="22" formatCode="General">
          <cx:pt idx="0">-7</cx:pt>
          <cx:pt idx="1">-10</cx:pt>
          <cx:pt idx="2">-28</cx:pt>
          <cx:pt idx="3">47</cx:pt>
          <cx:pt idx="4">11</cx:pt>
          <cx:pt idx="5">-24</cx:pt>
          <cx:pt idx="6">-24</cx:pt>
          <cx:pt idx="7">36</cx:pt>
          <cx:pt idx="8">10</cx:pt>
          <cx:pt idx="9">-78</cx:pt>
          <cx:pt idx="10">47</cx:pt>
          <cx:pt idx="11">-24</cx:pt>
          <cx:pt idx="12">-17</cx:pt>
          <cx:pt idx="13">-12</cx:pt>
          <cx:pt idx="14">-11</cx:pt>
          <cx:pt idx="15">17</cx:pt>
          <cx:pt idx="16">14</cx:pt>
          <cx:pt idx="17">46</cx:pt>
          <cx:pt idx="18">-18</cx:pt>
          <cx:pt idx="19">19</cx:pt>
          <cx:pt idx="20">-26</cx:pt>
          <cx:pt idx="21">-20</cx:pt>
        </cx:lvl>
      </cx:numDim>
    </cx:data>
    <cx:data id="1">
      <cx:strDim type="cat">
        <cx:f>Sheet1!$A$2:$A$23</cx:f>
        <cx:lvl ptCount="22">
          <cx:pt idx="0">Category 1</cx:pt>
          <cx:pt idx="1">Category 1</cx:pt>
          <cx:pt idx="2">Category 1</cx:pt>
          <cx:pt idx="3">Category 1</cx:pt>
          <cx:pt idx="4">Category 1</cx:pt>
          <cx:pt idx="5">Category 1</cx:pt>
          <cx:pt idx="6">Category 1</cx:pt>
          <cx:pt idx="7">Category 1</cx:pt>
          <cx:pt idx="8">Category 1</cx:pt>
          <cx:pt idx="9">Category 2</cx:pt>
          <cx:pt idx="10">Category 2</cx:pt>
          <cx:pt idx="11">Category 2</cx:pt>
          <cx:pt idx="12">Category 2</cx:pt>
          <cx:pt idx="13">Category 2</cx:pt>
          <cx:pt idx="14">Category 2</cx:pt>
          <cx:pt idx="15">Category 2</cx:pt>
          <cx:pt idx="16">Category 3</cx:pt>
          <cx:pt idx="17">Category 3</cx:pt>
          <cx:pt idx="18">Category 3</cx:pt>
          <cx:pt idx="19">Category 3</cx:pt>
          <cx:pt idx="20">Category 3</cx:pt>
          <cx:pt idx="21">Category 3</cx:pt>
        </cx:lvl>
      </cx:strDim>
      <cx:numDim type="val">
        <cx:f>Sheet1!$C$2:$C$23</cx:f>
        <cx:lvl ptCount="22" formatCode="General">
          <cx:pt idx="0">-3</cx:pt>
          <cx:pt idx="1">1</cx:pt>
          <cx:pt idx="2">-6</cx:pt>
          <cx:pt idx="3">10</cx:pt>
          <cx:pt idx="4">34</cx:pt>
          <cx:pt idx="5">128</cx:pt>
          <cx:pt idx="6">22</cx:pt>
          <cx:pt idx="7">-12</cx:pt>
          <cx:pt idx="8">-28</cx:pt>
          <cx:pt idx="9">6</cx:pt>
          <cx:pt idx="10">31</cx:pt>
          <cx:pt idx="11">3</cx:pt>
          <cx:pt idx="12">12</cx:pt>
          <cx:pt idx="13">-12</cx:pt>
          <cx:pt idx="14">-13</cx:pt>
          <cx:pt idx="15">6</cx:pt>
          <cx:pt idx="16">15</cx:pt>
          <cx:pt idx="17">41</cx:pt>
          <cx:pt idx="18">16</cx:pt>
          <cx:pt idx="19">10</cx:pt>
          <cx:pt idx="20">23</cx:pt>
          <cx:pt idx="21">16</cx:pt>
        </cx:lvl>
      </cx:numDim>
    </cx:data>
    <cx:data id="2">
      <cx:strDim type="cat">
        <cx:f>Sheet1!$A$2:$A$23</cx:f>
        <cx:lvl ptCount="22">
          <cx:pt idx="0">Category 1</cx:pt>
          <cx:pt idx="1">Category 1</cx:pt>
          <cx:pt idx="2">Category 1</cx:pt>
          <cx:pt idx="3">Category 1</cx:pt>
          <cx:pt idx="4">Category 1</cx:pt>
          <cx:pt idx="5">Category 1</cx:pt>
          <cx:pt idx="6">Category 1</cx:pt>
          <cx:pt idx="7">Category 1</cx:pt>
          <cx:pt idx="8">Category 1</cx:pt>
          <cx:pt idx="9">Category 2</cx:pt>
          <cx:pt idx="10">Category 2</cx:pt>
          <cx:pt idx="11">Category 2</cx:pt>
          <cx:pt idx="12">Category 2</cx:pt>
          <cx:pt idx="13">Category 2</cx:pt>
          <cx:pt idx="14">Category 2</cx:pt>
          <cx:pt idx="15">Category 2</cx:pt>
          <cx:pt idx="16">Category 3</cx:pt>
          <cx:pt idx="17">Category 3</cx:pt>
          <cx:pt idx="18">Category 3</cx:pt>
          <cx:pt idx="19">Category 3</cx:pt>
          <cx:pt idx="20">Category 3</cx:pt>
          <cx:pt idx="21">Category 3</cx:pt>
        </cx:lvl>
      </cx:strDim>
      <cx:numDim type="val">
        <cx:f>Sheet1!$D$2:$D$23</cx:f>
        <cx:lvl ptCount="22" formatCode="General">
          <cx:pt idx="0">-24</cx:pt>
          <cx:pt idx="1">11</cx:pt>
          <cx:pt idx="2">34</cx:pt>
          <cx:pt idx="3">-19</cx:pt>
          <cx:pt idx="4">4</cx:pt>
          <cx:pt idx="5">27</cx:pt>
          <cx:pt idx="6">27</cx:pt>
          <cx:pt idx="7">-3</cx:pt>
          <cx:pt idx="8">44</cx:pt>
          <cx:pt idx="9">50</cx:pt>
          <cx:pt idx="10">91</cx:pt>
          <cx:pt idx="11">-8</cx:pt>
          <cx:pt idx="12">36</cx:pt>
          <cx:pt idx="13">16</cx:pt>
          <cx:pt idx="14">24</cx:pt>
          <cx:pt idx="15">46</cx:pt>
          <cx:pt idx="16">14</cx:pt>
          <cx:pt idx="17">-6</cx:pt>
          <cx:pt idx="18">48</cx:pt>
          <cx:pt idx="19">23</cx:pt>
          <cx:pt idx="20">23</cx:pt>
          <cx:pt idx="21">-18</cx:pt>
        </cx:lvl>
      </cx:numDim>
    </cx:data>
  </cx:chartData>
  <cx:chart>
    <cx:title pos="t" align="ctr" overlay="0">
      <cx:tx>
        <cx:txData>
          <cx:v>Chart title placeholder</cx:v>
        </cx:txData>
      </cx:tx>
      <cx:txPr>
        <a:bodyPr spcFirstLastPara="1" vertOverflow="ellipsis" horzOverflow="overflow" wrap="square" lIns="0" tIns="0" rIns="0" bIns="0" anchor="ctr" anchorCtr="1"/>
        <a:lstStyle/>
        <a:p>
          <a:pPr algn="ctr" rtl="0">
            <a:defRPr/>
          </a:pPr>
          <a:r>
            <a:rPr lang="en-US" sz="1862" b="0" i="0" u="none" strike="noStrike" baseline="0">
              <a:solidFill>
                <a:srgbClr val="000000">
                  <a:lumMod val="65000"/>
                  <a:lumOff val="35000"/>
                </a:srgbClr>
              </a:solidFill>
              <a:latin typeface="Graphik Regular"/>
            </a:rPr>
            <a:t>Chart title placeholder</a:t>
          </a:r>
        </a:p>
      </cx:txPr>
    </cx:title>
    <cx:plotArea>
      <cx:plotAreaRegion>
        <cx:series layoutId="boxWhisker" uniqueId="{F559C72D-17BC-0A4D-9CEB-016F57010D6A}">
          <cx:tx>
            <cx:txData>
              <cx:f>Sheet1!$B$1</cx:f>
              <cx:v>Series1</cx:v>
            </cx:txData>
          </cx:tx>
          <cx:dataId val="0"/>
          <cx:layoutPr>
            <cx:visibility meanLine="0" meanMarker="1" nonoutliers="0" outliers="1"/>
            <cx:statistics quartileMethod="exclusive"/>
          </cx:layoutPr>
        </cx:series>
        <cx:series layoutId="boxWhisker" uniqueId="{E5132751-2E94-C640-987A-E7A99CD0B636}">
          <cx:tx>
            <cx:txData>
              <cx:f>Sheet1!$C$1</cx:f>
              <cx:v>Series2</cx:v>
            </cx:txData>
          </cx:tx>
          <cx:dataId val="1"/>
          <cx:layoutPr>
            <cx:visibility meanLine="0" meanMarker="1" nonoutliers="0" outliers="1"/>
            <cx:statistics quartileMethod="exclusive"/>
          </cx:layoutPr>
        </cx:series>
        <cx:series layoutId="boxWhisker" uniqueId="{7AD4BBCD-847B-7A41-A1C6-F89EB430936D}">
          <cx:tx>
            <cx:txData>
              <cx:f>Sheet1!$D$1</cx:f>
              <cx:v>Series3</cx:v>
            </cx:txData>
          </cx:tx>
          <cx:spPr>
            <a:solidFill>
              <a:schemeClr val="tx2">
                <a:lumMod val="20000"/>
                <a:lumOff val="80000"/>
              </a:schemeClr>
            </a:solidFill>
          </cx:spPr>
          <cx:dataId val="2"/>
          <cx:layoutPr>
            <cx:visibility meanLine="0" meanMarker="1" nonoutliers="0" outliers="1"/>
            <cx:statistics quartileMethod="exclusive"/>
          </cx:layoutPr>
        </cx:series>
      </cx:plotAreaRegion>
      <cx:axis id="0">
        <cx:catScaling gapWidth="1"/>
        <cx:tickLabels/>
      </cx:axis>
      <cx:axis id="1">
        <cx:valScaling/>
        <cx:majorGridlines/>
        <cx:tickLabels/>
      </cx:axis>
    </cx:plotArea>
  </cx:chart>
</cx:chartSpace>
</file>

<file path=ppt/charts/chartEx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9</cx:f>
        <cx:lvl ptCount="8">
          <cx:pt idx="0">Category 1</cx:pt>
          <cx:pt idx="1">Category 2</cx:pt>
          <cx:pt idx="2">Category 3</cx:pt>
          <cx:pt idx="3">Category 4</cx:pt>
          <cx:pt idx="4">Category 5</cx:pt>
          <cx:pt idx="5">Category 6</cx:pt>
          <cx:pt idx="6">Category 7</cx:pt>
          <cx:pt idx="7">Category 8</cx:pt>
        </cx:lvl>
      </cx:strDim>
      <cx:numDim type="val">
        <cx:f>Sheet1!$B$2:$B$9</cx:f>
        <cx:lvl ptCount="8" formatCode="General">
          <cx:pt idx="0">100</cx:pt>
          <cx:pt idx="1">20</cx:pt>
          <cx:pt idx="2">50</cx:pt>
          <cx:pt idx="3">-40</cx:pt>
          <cx:pt idx="4">130</cx:pt>
          <cx:pt idx="5">-60</cx:pt>
          <cx:pt idx="6">70</cx:pt>
          <cx:pt idx="7">140</cx:pt>
        </cx:lvl>
      </cx:numDim>
    </cx:data>
  </cx:chartData>
  <cx:chart>
    <cx:title pos="t" align="ctr" overlay="0">
      <cx:tx>
        <cx:txData>
          <cx:v>Waterfall chart title placeholder</cx:v>
        </cx:txData>
      </cx:tx>
      <cx:txPr>
        <a:bodyPr spcFirstLastPara="1" vertOverflow="ellipsis" horzOverflow="overflow" wrap="square" lIns="0" tIns="0" rIns="0" bIns="0" anchor="ctr" anchorCtr="1"/>
        <a:lstStyle/>
        <a:p>
          <a:pPr algn="ctr" rtl="0">
            <a:defRPr/>
          </a:pPr>
          <a:r>
            <a:rPr lang="en-US" sz="1862" b="0" i="0" u="none" strike="noStrike" baseline="0">
              <a:solidFill>
                <a:srgbClr val="000000">
                  <a:lumMod val="65000"/>
                  <a:lumOff val="35000"/>
                </a:srgbClr>
              </a:solidFill>
              <a:latin typeface="Graphik Regular"/>
            </a:rPr>
            <a:t>Waterfall chart title placeholder</a:t>
          </a:r>
        </a:p>
      </cx:txPr>
    </cx:title>
    <cx:plotArea>
      <cx:plotAreaRegion>
        <cx:series layoutId="waterfall" uniqueId="{9F3CBB33-EA25-C94E-B979-8155F55F7EEF}">
          <cx:tx>
            <cx:txData>
              <cx:f>Sheet1!$B$1</cx:f>
              <cx:v>Series1</cx:v>
            </cx:txData>
          </cx:tx>
          <cx:dataPt idx="0">
            <cx:spPr>
              <a:solidFill>
                <a:srgbClr val="A000FF"/>
              </a:solidFill>
            </cx:spPr>
          </cx:dataPt>
          <cx:dataPt idx="1">
            <cx:spPr>
              <a:solidFill>
                <a:srgbClr val="E6DCFF"/>
              </a:solidFill>
            </cx:spPr>
          </cx:dataPt>
          <cx:dataPt idx="2">
            <cx:spPr>
              <a:solidFill>
                <a:srgbClr val="E6DCFF"/>
              </a:solidFill>
            </cx:spPr>
          </cx:dataPt>
          <cx:dataPt idx="3">
            <cx:spPr>
              <a:solidFill>
                <a:srgbClr val="A000FF">
                  <a:lumMod val="60000"/>
                  <a:lumOff val="40000"/>
                </a:srgbClr>
              </a:solidFill>
            </cx:spPr>
          </cx:dataPt>
          <cx:dataPt idx="4">
            <cx:spPr>
              <a:solidFill>
                <a:srgbClr val="A000FF"/>
              </a:solidFill>
            </cx:spPr>
          </cx:dataPt>
          <cx:dataPt idx="5">
            <cx:spPr>
              <a:solidFill>
                <a:srgbClr val="A000FF">
                  <a:lumMod val="60000"/>
                  <a:lumOff val="40000"/>
                </a:srgbClr>
              </a:solidFill>
            </cx:spPr>
          </cx:dataPt>
          <cx:dataPt idx="6">
            <cx:spPr>
              <a:solidFill>
                <a:srgbClr val="E6DCFF"/>
              </a:solidFill>
            </cx:spPr>
          </cx:dataPt>
          <cx:dataPt idx="7">
            <cx:spPr>
              <a:solidFill>
                <a:srgbClr val="A000FF"/>
              </a:solidFill>
            </cx:spPr>
          </cx:dataPt>
          <cx:dataLabels pos="outEnd">
            <cx:visibility seriesName="0" categoryName="0" value="1"/>
          </cx:dataLabels>
          <cx:dataId val="0"/>
          <cx:layoutPr>
            <cx:subtotals>
              <cx:idx val="0"/>
              <cx:idx val="4"/>
              <cx:idx val="7"/>
            </cx:subtotals>
          </cx:layoutPr>
        </cx:series>
      </cx:plotAreaRegion>
      <cx:axis id="0">
        <cx:catScaling gapWidth="0.5"/>
        <cx:tickLabels/>
        <cx:txPr>
          <a:bodyPr spcFirstLastPara="1" vertOverflow="ellipsis" horzOverflow="overflow" wrap="square" lIns="0" tIns="0" rIns="0" bIns="0" anchor="ctr" anchorCtr="1"/>
          <a:lstStyle/>
          <a:p>
            <a:pPr algn="ctr" rtl="0">
              <a:defRPr sz="900"/>
            </a:pPr>
            <a:endParaRPr lang="en-US" sz="900" b="0" i="0" u="none" strike="noStrike" baseline="0">
              <a:solidFill>
                <a:srgbClr val="000000">
                  <a:lumMod val="65000"/>
                  <a:lumOff val="35000"/>
                </a:srgbClr>
              </a:solidFill>
              <a:latin typeface="Graphik Regular"/>
            </a:endParaRPr>
          </a:p>
        </cx:txPr>
      </cx:axis>
      <cx:axis id="1">
        <cx:valScaling/>
        <cx:majorGridlines/>
        <cx:tickLabels/>
      </cx:axis>
    </cx:plotArea>
    <cx:legend pos="t" align="ctr" overlay="0">
      <cx:txPr>
        <a:bodyPr spcFirstLastPara="1" vertOverflow="ellipsis" horzOverflow="overflow" wrap="square" lIns="0" tIns="0" rIns="0" bIns="0" anchor="ctr" anchorCtr="1"/>
        <a:lstStyle/>
        <a:p>
          <a:pPr algn="ctr" rtl="0">
            <a:defRPr/>
          </a:pPr>
          <a:endParaRPr lang="en-US" sz="1197" b="0" i="0" u="none" strike="noStrike" baseline="0">
            <a:solidFill>
              <a:srgbClr val="000000">
                <a:lumMod val="65000"/>
                <a:lumOff val="35000"/>
              </a:srgbClr>
            </a:solidFill>
            <a:latin typeface="Graphik Regular"/>
          </a:endParaRPr>
        </a:p>
      </cx:txPr>
    </cx:legend>
  </cx:chart>
</cx:chartSpace>
</file>

<file path=ppt/charts/chartEx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6</cx:f>
        <cx:lvl ptCount="5">
          <cx:pt idx="0">Category 1</cx:pt>
          <cx:pt idx="1">Category 2</cx:pt>
          <cx:pt idx="2">Highlighted category</cx:pt>
          <cx:pt idx="3">Category 4</cx:pt>
          <cx:pt idx="4">Category 5</cx:pt>
        </cx:lvl>
      </cx:strDim>
      <cx:numDim type="val">
        <cx:f>Sheet1!$B$2:$B$6</cx:f>
        <cx:lvl ptCount="5" formatCode="General">
          <cx:pt idx="0">5000</cx:pt>
          <cx:pt idx="1">4000</cx:pt>
          <cx:pt idx="2">3000</cx:pt>
          <cx:pt idx="3">1000</cx:pt>
          <cx:pt idx="4">250</cx:pt>
        </cx:lvl>
      </cx:numDim>
    </cx:data>
  </cx:chartData>
  <cx:chart>
    <cx:title pos="t" align="ctr" overlay="0">
      <cx:tx>
        <cx:txData>
          <cx:v>Funnel chart title placeholder</cx:v>
        </cx:txData>
      </cx:tx>
      <cx:txPr>
        <a:bodyPr spcFirstLastPara="1" vertOverflow="ellipsis" horzOverflow="overflow" wrap="square" lIns="0" tIns="0" rIns="0" bIns="0" anchor="ctr" anchorCtr="1"/>
        <a:lstStyle/>
        <a:p>
          <a:pPr algn="ctr" rtl="0">
            <a:defRPr/>
          </a:pPr>
          <a:r>
            <a:rPr lang="en-US" sz="1862" b="0" i="0" u="none" strike="noStrike" baseline="0">
              <a:solidFill>
                <a:srgbClr val="000000">
                  <a:lumMod val="65000"/>
                  <a:lumOff val="35000"/>
                </a:srgbClr>
              </a:solidFill>
              <a:latin typeface="Graphik Regular"/>
            </a:rPr>
            <a:t>Funnel chart title placeholder</a:t>
          </a:r>
        </a:p>
      </cx:txPr>
    </cx:title>
    <cx:plotArea>
      <cx:plotAreaRegion>
        <cx:series layoutId="funnel" uniqueId="{48864410-584E-004F-A9E3-40413D0410C0}">
          <cx:tx>
            <cx:txData>
              <cx:f>Sheet1!$B$1</cx:f>
              <cx:v>Series1</cx:v>
            </cx:txData>
          </cx:tx>
          <cx:spPr>
            <a:solidFill>
              <a:schemeClr val="accent5"/>
            </a:solidFill>
          </cx:spPr>
          <cx:dataPt idx="0">
            <cx:spPr>
              <a:solidFill>
                <a:srgbClr val="FFFFFF">
                  <a:lumMod val="65000"/>
                </a:srgbClr>
              </a:solidFill>
            </cx:spPr>
          </cx:dataPt>
          <cx:dataPt idx="1">
            <cx:spPr>
              <a:solidFill>
                <a:srgbClr val="FFFFFF">
                  <a:lumMod val="65000"/>
                </a:srgbClr>
              </a:solidFill>
            </cx:spPr>
          </cx:dataPt>
          <cx:dataPt idx="2">
            <cx:spPr>
              <a:solidFill>
                <a:srgbClr val="A000FF"/>
              </a:solidFill>
            </cx:spPr>
          </cx:dataPt>
          <cx:dataPt idx="3">
            <cx:spPr>
              <a:solidFill>
                <a:srgbClr val="FFFFFF">
                  <a:lumMod val="65000"/>
                </a:srgbClr>
              </a:solidFill>
            </cx:spPr>
          </cx:dataPt>
          <cx:dataPt idx="4">
            <cx:spPr>
              <a:solidFill>
                <a:srgbClr val="FFFFFF">
                  <a:lumMod val="65000"/>
                </a:srgbClr>
              </a:solidFill>
            </cx:spPr>
          </cx:dataPt>
          <cx:dataLabels>
            <cx:txPr>
              <a:bodyPr spcFirstLastPara="1" vertOverflow="ellipsis" horzOverflow="overflow" wrap="square" lIns="0" tIns="0" rIns="0" bIns="0" anchor="ctr" anchorCtr="1"/>
              <a:lstStyle/>
              <a:p>
                <a:pPr algn="ctr" rtl="0">
                  <a:defRPr>
                    <a:solidFill>
                      <a:srgbClr val="FFFFFF"/>
                    </a:solidFill>
                  </a:defRPr>
                </a:pPr>
                <a:endParaRPr lang="en-US" sz="1197" b="0" i="0" u="none" strike="noStrike" baseline="0">
                  <a:solidFill>
                    <a:srgbClr val="FFFFFF"/>
                  </a:solidFill>
                  <a:latin typeface="Graphik Regular"/>
                </a:endParaRPr>
              </a:p>
            </cx:txPr>
            <cx:visibility seriesName="0" categoryName="0" value="1"/>
            <cx:dataLabel idx="2">
              <cx:txPr>
                <a:bodyPr spcFirstLastPara="1" vertOverflow="ellipsis" horzOverflow="overflow" wrap="square" lIns="0" tIns="0" rIns="0" bIns="0" anchor="ctr" anchorCtr="1"/>
                <a:lstStyle/>
                <a:p>
                  <a:pPr algn="ctr" rtl="0">
                    <a:defRPr>
                      <a:solidFill>
                        <a:schemeClr val="bg1"/>
                      </a:solidFill>
                    </a:defRPr>
                  </a:pPr>
                  <a:r>
                    <a:rPr lang="en-US" sz="1197" b="0" i="0" u="none" strike="noStrike" baseline="0">
                      <a:solidFill>
                        <a:schemeClr val="bg1"/>
                      </a:solidFill>
                      <a:latin typeface="Graphik Regular"/>
                    </a:rPr>
                    <a:t>3000</a:t>
                  </a:r>
                </a:p>
              </cx:txPr>
              <cx:visibility seriesName="0" categoryName="0" value="1"/>
            </cx:dataLabel>
          </cx:dataLabels>
          <cx:dataId val="0"/>
        </cx:series>
      </cx:plotAreaRegion>
      <cx:axis id="0">
        <cx:catScaling gapWidth="0.0599999987"/>
        <cx:tickLabels/>
      </cx:axis>
    </cx:plotArea>
  </cx:chart>
</cx: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366">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2.xml><?xml version="1.0" encoding="utf-8"?>
<cs:chartStyle xmlns:cs="http://schemas.microsoft.com/office/drawing/2012/chartStyle" xmlns:a="http://schemas.openxmlformats.org/drawingml/2006/main" id="366">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3.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7.xml><?xml version="1.0" encoding="utf-8"?>
<cs:chartStyle xmlns:cs="http://schemas.microsoft.com/office/drawing/2012/chartStyle" xmlns:a="http://schemas.openxmlformats.org/drawingml/2006/main" id="419">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8.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66566</cdr:x>
      <cdr:y>0.60538</cdr:y>
    </cdr:from>
    <cdr:to>
      <cdr:x>0.91677</cdr:x>
      <cdr:y>0.69295</cdr:y>
    </cdr:to>
    <cdr:sp macro="" textlink="">
      <cdr:nvSpPr>
        <cdr:cNvPr id="2" name="Text Box 1" descr="This is an example of a line chart with placeholder values to be replaced later. The chart tracks the performance of four groups (Group B, Group C, Group D, and a Highlighted group) from the year 2000 to 2003. The x-axis represents the years, and the y-axis represents an unspecified numerical value ranging from 0 to 50.&#10;&#10;Group C (dashed dark purple line) starts at a high value in 2000, fluctuates slightly, and remains around the 40–50 range.&#10;Group D (solid dark purple line) follows a similar pattern but stays consistently lower than Group C.&#10;Group B (light purple line) starts at a lower value and steadily increases over time.&#10;The Highlighted group (bold pink line) starts near zero in 2000 and shows a steep upward trend, surpassing Group B and reaching a high value by 2003.&#10;A legend labels each group in its respective color. The highlighted group is emphasized in bold pink with an underlined label."/>
        <cdr:cNvSpPr txBox="1">
          <a:spLocks xmlns:a="http://schemas.openxmlformats.org/drawingml/2006/main" noChangeArrowheads="1"/>
        </cdr:cNvSpPr>
      </cdr:nvSpPr>
      <cdr:spPr bwMode="auto">
        <a:xfrm xmlns:a="http://schemas.openxmlformats.org/drawingml/2006/main">
          <a:off x="3454386" y="1633939"/>
          <a:ext cx="1303114" cy="236362"/>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45720" tIns="36576" rIns="45720" bIns="0" anchor="ctr"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rtl="0">
            <a:defRPr sz="1000"/>
          </a:pPr>
          <a:r>
            <a:rPr lang="de-DE" sz="1000" strike="noStrike" baseline="0" dirty="0" err="1">
              <a:solidFill>
                <a:schemeClr val="tx1"/>
              </a:solidFill>
              <a:latin typeface="Graphik Semibold" panose="020B0703030202060203" pitchFamily="34" charset="0"/>
              <a:cs typeface="Graphik"/>
            </a:rPr>
            <a:t>Highlighted</a:t>
          </a:r>
          <a:r>
            <a:rPr lang="de-DE" sz="1000" strike="noStrike" baseline="0" dirty="0">
              <a:solidFill>
                <a:schemeClr val="tx1"/>
              </a:solidFill>
              <a:latin typeface="Graphik Semibold" panose="020B0703030202060203" pitchFamily="34" charset="0"/>
              <a:cs typeface="Graphik"/>
            </a:rPr>
            <a:t> </a:t>
          </a:r>
          <a:r>
            <a:rPr lang="de-DE" sz="1000" strike="noStrike" baseline="0" dirty="0" err="1">
              <a:solidFill>
                <a:schemeClr val="tx1"/>
              </a:solidFill>
              <a:latin typeface="Graphik Semibold" panose="020B0703030202060203" pitchFamily="34" charset="0"/>
              <a:cs typeface="Graphik"/>
            </a:rPr>
            <a:t>group</a:t>
          </a:r>
          <a:endParaRPr lang="de-DE" sz="1000" strike="noStrike" cap="all" baseline="0" dirty="0">
            <a:solidFill>
              <a:schemeClr val="tx1"/>
            </a:solidFill>
            <a:latin typeface="Graphik Semibold" panose="020B0703030202060203" pitchFamily="34" charset="0"/>
            <a:cs typeface="Graphik"/>
          </a:endParaRPr>
        </a:p>
      </cdr:txBody>
    </cdr:sp>
  </cdr:relSizeAnchor>
  <cdr:relSizeAnchor xmlns:cdr="http://schemas.openxmlformats.org/drawingml/2006/chartDrawing">
    <cdr:from>
      <cdr:x>0.48738</cdr:x>
      <cdr:y>0.47349</cdr:y>
    </cdr:from>
    <cdr:to>
      <cdr:x>0.57509</cdr:x>
      <cdr:y>0.52651</cdr:y>
    </cdr:to>
    <cdr:sp macro="" textlink="">
      <cdr:nvSpPr>
        <cdr:cNvPr id="3" name="Text Box 2"/>
        <cdr:cNvSpPr txBox="1">
          <a:spLocks xmlns:a="http://schemas.openxmlformats.org/drawingml/2006/main" noChangeArrowheads="1"/>
        </cdr:cNvSpPr>
      </cdr:nvSpPr>
      <cdr:spPr bwMode="auto">
        <a:xfrm xmlns:a="http://schemas.openxmlformats.org/drawingml/2006/main">
          <a:off x="3372289" y="1703943"/>
          <a:ext cx="606897" cy="190821"/>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none" lIns="45720" tIns="36576" rIns="45720" bIns="0" anchor="ctr" upright="1">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rtl="0">
            <a:defRPr sz="1000"/>
          </a:pPr>
          <a:r>
            <a:rPr lang="de-DE" sz="1000" strike="noStrike" baseline="0" dirty="0">
              <a:solidFill>
                <a:schemeClr val="bg1">
                  <a:lumMod val="75000"/>
                </a:schemeClr>
              </a:solidFill>
              <a:latin typeface="Graphik Semibold" panose="020B0703030202060203" pitchFamily="34" charset="0"/>
              <a:cs typeface="Graphik"/>
            </a:rPr>
            <a:t>Group </a:t>
          </a:r>
          <a:r>
            <a:rPr lang="de-DE" sz="1000" strike="noStrike" cap="all" baseline="0" dirty="0">
              <a:solidFill>
                <a:schemeClr val="bg1">
                  <a:lumMod val="75000"/>
                </a:schemeClr>
              </a:solidFill>
              <a:latin typeface="Graphik Semibold" panose="020B0703030202060203" pitchFamily="34" charset="0"/>
              <a:cs typeface="Graphik"/>
            </a:rPr>
            <a:t>B</a:t>
          </a:r>
        </a:p>
      </cdr:txBody>
    </cdr:sp>
  </cdr:relSizeAnchor>
  <cdr:relSizeAnchor xmlns:cdr="http://schemas.openxmlformats.org/drawingml/2006/chartDrawing">
    <cdr:from>
      <cdr:x>0.8563</cdr:x>
      <cdr:y>0.13523</cdr:y>
    </cdr:from>
    <cdr:to>
      <cdr:x>0.93229</cdr:x>
      <cdr:y>0.17799</cdr:y>
    </cdr:to>
    <cdr:sp macro="" textlink="">
      <cdr:nvSpPr>
        <cdr:cNvPr id="4" name="Text Box 3"/>
        <cdr:cNvSpPr txBox="1">
          <a:spLocks xmlns:a="http://schemas.openxmlformats.org/drawingml/2006/main" noChangeArrowheads="1"/>
        </cdr:cNvSpPr>
      </cdr:nvSpPr>
      <cdr:spPr bwMode="auto">
        <a:xfrm xmlns:a="http://schemas.openxmlformats.org/drawingml/2006/main">
          <a:off x="5924916" y="486647"/>
          <a:ext cx="525785" cy="153888"/>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none" lIns="0" tIns="0" rIns="0" bIns="0" anchor="ctr" upright="1">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rtl="0">
            <a:defRPr sz="1000"/>
          </a:pPr>
          <a:r>
            <a:rPr lang="de-DE" sz="1000" strike="noStrike" baseline="0">
              <a:solidFill>
                <a:schemeClr val="tx1">
                  <a:lumMod val="50000"/>
                  <a:lumOff val="50000"/>
                </a:schemeClr>
              </a:solidFill>
              <a:latin typeface="Graphik Semibold" panose="020B0503030202060203" pitchFamily="34" charset="77"/>
              <a:cs typeface="Graphik"/>
            </a:rPr>
            <a:t>Group </a:t>
          </a:r>
          <a:r>
            <a:rPr lang="de-DE" sz="1000" strike="noStrike" cap="all" baseline="0">
              <a:solidFill>
                <a:schemeClr val="tx1">
                  <a:lumMod val="50000"/>
                  <a:lumOff val="50000"/>
                </a:schemeClr>
              </a:solidFill>
              <a:latin typeface="Graphik Semibold" panose="020B0503030202060203" pitchFamily="34" charset="77"/>
              <a:cs typeface="Graphik"/>
            </a:rPr>
            <a:t>C</a:t>
          </a:r>
        </a:p>
      </cdr:txBody>
    </cdr:sp>
  </cdr:relSizeAnchor>
  <cdr:relSizeAnchor xmlns:cdr="http://schemas.openxmlformats.org/drawingml/2006/chartDrawing">
    <cdr:from>
      <cdr:x>0.6104</cdr:x>
      <cdr:y>0.3156</cdr:y>
    </cdr:from>
    <cdr:to>
      <cdr:x>0.69927</cdr:x>
      <cdr:y>0.36863</cdr:y>
    </cdr:to>
    <cdr:sp macro="" textlink="">
      <cdr:nvSpPr>
        <cdr:cNvPr id="5" name="Text Box 4"/>
        <cdr:cNvSpPr txBox="1">
          <a:spLocks xmlns:a="http://schemas.openxmlformats.org/drawingml/2006/main" noChangeArrowheads="1"/>
        </cdr:cNvSpPr>
      </cdr:nvSpPr>
      <cdr:spPr bwMode="auto">
        <a:xfrm xmlns:a="http://schemas.openxmlformats.org/drawingml/2006/main">
          <a:off x="4223492" y="1135762"/>
          <a:ext cx="614912" cy="190821"/>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none" lIns="45720" tIns="36576" rIns="45720" bIns="0" anchor="ctr" upright="1">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rtl="0">
            <a:defRPr sz="1000"/>
          </a:pPr>
          <a:r>
            <a:rPr lang="de-DE" sz="1000" strike="noStrike" baseline="0" dirty="0">
              <a:solidFill>
                <a:schemeClr val="tx1">
                  <a:lumMod val="65000"/>
                  <a:lumOff val="35000"/>
                </a:schemeClr>
              </a:solidFill>
              <a:latin typeface="Graphik Semibold" panose="020B0703030202060203" pitchFamily="34" charset="0"/>
              <a:cs typeface="Graphik"/>
            </a:rPr>
            <a:t>Group </a:t>
          </a:r>
          <a:r>
            <a:rPr lang="de-DE" sz="1000" strike="noStrike" cap="all" baseline="0" dirty="0">
              <a:solidFill>
                <a:schemeClr val="tx1">
                  <a:lumMod val="65000"/>
                  <a:lumOff val="35000"/>
                </a:schemeClr>
              </a:solidFill>
              <a:latin typeface="Graphik Semibold" panose="020B0703030202060203" pitchFamily="34" charset="0"/>
              <a:cs typeface="Graphik"/>
            </a:rPr>
            <a:t>D</a:t>
          </a:r>
        </a:p>
      </cdr:txBody>
    </cdr:sp>
  </cdr:relSizeAnchor>
</c:userShapes>
</file>

<file path=ppt/drawings/drawing2.xml><?xml version="1.0" encoding="utf-8"?>
<c:userShapes xmlns:c="http://schemas.openxmlformats.org/drawingml/2006/chart">
  <cdr:relSizeAnchor xmlns:cdr="http://schemas.openxmlformats.org/drawingml/2006/chartDrawing">
    <cdr:from>
      <cdr:x>0.25006</cdr:x>
      <cdr:y>0.05961</cdr:y>
    </cdr:from>
    <cdr:to>
      <cdr:x>0.49753</cdr:x>
      <cdr:y>0.09874</cdr:y>
    </cdr:to>
    <cdr:sp macro="" textlink="">
      <cdr:nvSpPr>
        <cdr:cNvPr id="2" name="Text Box 1"/>
        <cdr:cNvSpPr txBox="1">
          <a:spLocks xmlns:a="http://schemas.openxmlformats.org/drawingml/2006/main" noChangeArrowheads="1"/>
        </cdr:cNvSpPr>
      </cdr:nvSpPr>
      <cdr:spPr bwMode="auto">
        <a:xfrm xmlns:a="http://schemas.openxmlformats.org/drawingml/2006/main">
          <a:off x="1029920" y="179823"/>
          <a:ext cx="1019261" cy="118048"/>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0" tIns="36576" rIns="45720" bIns="0" anchor="ctr"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rtl="0">
            <a:defRPr sz="1000"/>
          </a:pPr>
          <a:r>
            <a:rPr lang="de-DE" sz="1000" strike="noStrike" baseline="0" dirty="0">
              <a:solidFill>
                <a:schemeClr val="tx1"/>
              </a:solidFill>
              <a:latin typeface="Graphik Semibold" panose="020B0703030202060203" pitchFamily="34" charset="0"/>
              <a:cs typeface="Graphik"/>
            </a:rPr>
            <a:t>Label A</a:t>
          </a:r>
        </a:p>
      </cdr:txBody>
    </cdr:sp>
  </cdr:relSizeAnchor>
  <cdr:relSizeAnchor xmlns:cdr="http://schemas.openxmlformats.org/drawingml/2006/chartDrawing">
    <cdr:from>
      <cdr:x>0.25006</cdr:x>
      <cdr:y>0.11643</cdr:y>
    </cdr:from>
    <cdr:to>
      <cdr:x>0.49753</cdr:x>
      <cdr:y>0.15555</cdr:y>
    </cdr:to>
    <cdr:sp macro="" textlink="">
      <cdr:nvSpPr>
        <cdr:cNvPr id="3" name="Text Box 2"/>
        <cdr:cNvSpPr txBox="1">
          <a:spLocks xmlns:a="http://schemas.openxmlformats.org/drawingml/2006/main" noChangeArrowheads="1"/>
        </cdr:cNvSpPr>
      </cdr:nvSpPr>
      <cdr:spPr bwMode="auto">
        <a:xfrm xmlns:a="http://schemas.openxmlformats.org/drawingml/2006/main">
          <a:off x="1029920" y="351232"/>
          <a:ext cx="1019261" cy="11802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0" tIns="36576" rIns="45720" bIns="0" anchor="ctr"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rtl="0">
            <a:defRPr sz="1000"/>
          </a:pPr>
          <a:r>
            <a:rPr lang="de-DE" sz="1000" strike="noStrike" baseline="0" dirty="0">
              <a:solidFill>
                <a:schemeClr val="accent2"/>
              </a:solidFill>
              <a:latin typeface="Graphik Semibold" panose="020B0703030202060203" pitchFamily="34" charset="0"/>
              <a:cs typeface="Graphik"/>
            </a:rPr>
            <a:t>Label B</a:t>
          </a:r>
        </a:p>
      </cdr:txBody>
    </cdr:sp>
  </cdr:relSizeAnchor>
  <cdr:relSizeAnchor xmlns:cdr="http://schemas.openxmlformats.org/drawingml/2006/chartDrawing">
    <cdr:from>
      <cdr:x>0.25006</cdr:x>
      <cdr:y>0.17231</cdr:y>
    </cdr:from>
    <cdr:to>
      <cdr:x>0.49753</cdr:x>
      <cdr:y>0.21144</cdr:y>
    </cdr:to>
    <cdr:sp macro="" textlink="">
      <cdr:nvSpPr>
        <cdr:cNvPr id="4" name="Text Box 3"/>
        <cdr:cNvSpPr txBox="1">
          <a:spLocks xmlns:a="http://schemas.openxmlformats.org/drawingml/2006/main" noChangeArrowheads="1"/>
        </cdr:cNvSpPr>
      </cdr:nvSpPr>
      <cdr:spPr bwMode="auto">
        <a:xfrm xmlns:a="http://schemas.openxmlformats.org/drawingml/2006/main">
          <a:off x="1029920" y="519809"/>
          <a:ext cx="1019261" cy="118048"/>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0" tIns="36576" rIns="45720" bIns="0" anchor="ctr"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rtl="0">
            <a:defRPr sz="1000"/>
          </a:pPr>
          <a:r>
            <a:rPr lang="de-DE" sz="1000" strike="noStrike" baseline="0" dirty="0">
              <a:solidFill>
                <a:schemeClr val="tx2"/>
              </a:solidFill>
              <a:latin typeface="Graphik Semibold" panose="020B0703030202060203" pitchFamily="34" charset="0"/>
              <a:cs typeface="Graphik"/>
            </a:rPr>
            <a:t>Label C</a:t>
          </a:r>
        </a:p>
      </cdr:txBody>
    </cdr:sp>
  </cdr:relSizeAnchor>
  <cdr:relSizeAnchor xmlns:cdr="http://schemas.openxmlformats.org/drawingml/2006/chartDrawing">
    <cdr:from>
      <cdr:x>0.25006</cdr:x>
      <cdr:y>0.22181</cdr:y>
    </cdr:from>
    <cdr:to>
      <cdr:x>0.49753</cdr:x>
      <cdr:y>0.26094</cdr:y>
    </cdr:to>
    <cdr:sp macro="" textlink="">
      <cdr:nvSpPr>
        <cdr:cNvPr id="5" name="Text Box 4"/>
        <cdr:cNvSpPr txBox="1">
          <a:spLocks xmlns:a="http://schemas.openxmlformats.org/drawingml/2006/main" noChangeArrowheads="1"/>
        </cdr:cNvSpPr>
      </cdr:nvSpPr>
      <cdr:spPr bwMode="auto">
        <a:xfrm xmlns:a="http://schemas.openxmlformats.org/drawingml/2006/main">
          <a:off x="1029920" y="669138"/>
          <a:ext cx="1019261" cy="118048"/>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0" tIns="36576" rIns="45720" bIns="0" anchor="ctr"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rtl="0">
            <a:defRPr sz="1000"/>
          </a:pPr>
          <a:r>
            <a:rPr lang="de-DE" sz="1000" strike="noStrike" baseline="0" dirty="0">
              <a:solidFill>
                <a:schemeClr val="tx2">
                  <a:lumMod val="20000"/>
                  <a:lumOff val="80000"/>
                </a:schemeClr>
              </a:solidFill>
              <a:latin typeface="Graphik Semibold" panose="020B0703030202060203" pitchFamily="34" charset="0"/>
              <a:cs typeface="Graphik"/>
            </a:rPr>
            <a:t>Label D</a:t>
          </a:r>
        </a:p>
      </cdr:txBody>
    </cdr:sp>
  </cdr:relSizeAnchor>
  <cdr:relSizeAnchor xmlns:cdr="http://schemas.openxmlformats.org/drawingml/2006/chartDrawing">
    <cdr:from>
      <cdr:x>0.25006</cdr:x>
      <cdr:y>0.27736</cdr:y>
    </cdr:from>
    <cdr:to>
      <cdr:x>0.49753</cdr:x>
      <cdr:y>0.31649</cdr:y>
    </cdr:to>
    <cdr:sp macro="" textlink="">
      <cdr:nvSpPr>
        <cdr:cNvPr id="6" name="Text Box 4"/>
        <cdr:cNvSpPr txBox="1">
          <a:spLocks xmlns:a="http://schemas.openxmlformats.org/drawingml/2006/main" noChangeArrowheads="1"/>
        </cdr:cNvSpPr>
      </cdr:nvSpPr>
      <cdr:spPr bwMode="auto">
        <a:xfrm xmlns:a="http://schemas.openxmlformats.org/drawingml/2006/main">
          <a:off x="1029920" y="836718"/>
          <a:ext cx="1019261" cy="118048"/>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0" tIns="36576" rIns="45720" bIns="0" anchor="ctr"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rtl="0">
            <a:defRPr sz="1000"/>
          </a:pPr>
          <a:r>
            <a:rPr lang="de-DE" sz="1000" strike="noStrike" baseline="0" dirty="0">
              <a:solidFill>
                <a:schemeClr val="accent2">
                  <a:lumMod val="50000"/>
                </a:schemeClr>
              </a:solidFill>
              <a:latin typeface="Graphik Semibold" panose="020B0703030202060203" pitchFamily="34" charset="0"/>
              <a:cs typeface="Graphik"/>
            </a:rPr>
            <a:t>Label </a:t>
          </a:r>
          <a:r>
            <a:rPr lang="de-DE" sz="1000" strike="noStrike" cap="all" baseline="0" dirty="0">
              <a:solidFill>
                <a:schemeClr val="accent2">
                  <a:lumMod val="50000"/>
                </a:schemeClr>
              </a:solidFill>
              <a:latin typeface="Graphik Semibold" panose="020B0703030202060203" pitchFamily="34" charset="0"/>
              <a:cs typeface="Graphik"/>
            </a:rPr>
            <a:t>e</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id="{AE853440-0782-1D68-D2FD-933DEA3367A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latin typeface="Graphik" panose="020B0503030202060203" pitchFamily="34" charset="77"/>
            </a:endParaRPr>
          </a:p>
        </p:txBody>
      </p:sp>
      <p:sp>
        <p:nvSpPr>
          <p:cNvPr id="3" name="Marcador de fecha 2">
            <a:extLst>
              <a:ext uri="{FF2B5EF4-FFF2-40B4-BE49-F238E27FC236}">
                <a16:creationId xmlns:a16="http://schemas.microsoft.com/office/drawing/2014/main" id="{84BAE373-49AC-5B9F-BD8D-665F4397E92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564787D-70D5-9549-AC5E-9D4C1BFA0564}" type="datetimeFigureOut">
              <a:rPr lang="en-US" smtClean="0">
                <a:latin typeface="Graphik" panose="020B0503030202060203" pitchFamily="34" charset="77"/>
              </a:rPr>
              <a:t>12/7/2025</a:t>
            </a:fld>
            <a:endParaRPr lang="en-US">
              <a:latin typeface="Graphik" panose="020B0503030202060203" pitchFamily="34" charset="77"/>
            </a:endParaRPr>
          </a:p>
        </p:txBody>
      </p:sp>
      <p:sp>
        <p:nvSpPr>
          <p:cNvPr id="4" name="Marcador de pie de página 3">
            <a:extLst>
              <a:ext uri="{FF2B5EF4-FFF2-40B4-BE49-F238E27FC236}">
                <a16:creationId xmlns:a16="http://schemas.microsoft.com/office/drawing/2014/main" id="{69D5359E-0814-051B-B036-A1568525939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latin typeface="Graphik" panose="020B0503030202060203" pitchFamily="34" charset="77"/>
            </a:endParaRPr>
          </a:p>
        </p:txBody>
      </p:sp>
      <p:sp>
        <p:nvSpPr>
          <p:cNvPr id="5" name="Marcador de número de diapositiva 4">
            <a:extLst>
              <a:ext uri="{FF2B5EF4-FFF2-40B4-BE49-F238E27FC236}">
                <a16:creationId xmlns:a16="http://schemas.microsoft.com/office/drawing/2014/main" id="{F82F9671-5EF1-8E9F-DD2A-21863ED2199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6C2F477-6371-B744-A7EB-E94ECCEEDA65}" type="slidenum">
              <a:rPr lang="en-US" smtClean="0">
                <a:latin typeface="Graphik" panose="020B0503030202060203" pitchFamily="34" charset="77"/>
              </a:rPr>
              <a:t>‹#›</a:t>
            </a:fld>
            <a:endParaRPr lang="en-US">
              <a:latin typeface="Graphik" panose="020B0503030202060203" pitchFamily="34" charset="77"/>
            </a:endParaRPr>
          </a:p>
        </p:txBody>
      </p:sp>
    </p:spTree>
    <p:extLst>
      <p:ext uri="{BB962C8B-B14F-4D97-AF65-F5344CB8AC3E}">
        <p14:creationId xmlns:p14="http://schemas.microsoft.com/office/powerpoint/2010/main" val="233920965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b="0" i="0">
                <a:latin typeface="Graphik" panose="020B0503030202060203" pitchFamily="34" charset="77"/>
              </a:defRPr>
            </a:lvl1pPr>
          </a:lstStyle>
          <a:p>
            <a:endParaRPr lang="pt-BR" dirty="0"/>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b="0" i="0">
                <a:latin typeface="Graphik" panose="020B0503030202060203" pitchFamily="34" charset="77"/>
              </a:defRPr>
            </a:lvl1pPr>
          </a:lstStyle>
          <a:p>
            <a:fld id="{7FBA1538-8606-2D42-9B67-EB3CAAF1E29B}" type="datetimeFigureOut">
              <a:rPr lang="pt-BR" smtClean="0"/>
              <a:pPr/>
              <a:t>12/7/2025</a:t>
            </a:fld>
            <a:endParaRPr lang="pt-BR" dirty="0"/>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BR"/>
              <a:t>Haga clic para modificar los estilos de texto del patrón</a:t>
            </a:r>
          </a:p>
          <a:p>
            <a:pPr lvl="1"/>
            <a:r>
              <a:rPr lang="pt-BR"/>
              <a:t>Segundo nivel</a:t>
            </a:r>
          </a:p>
          <a:p>
            <a:pPr lvl="2"/>
            <a:r>
              <a:rPr lang="pt-BR"/>
              <a:t>Tercer nivel</a:t>
            </a:r>
          </a:p>
          <a:p>
            <a:pPr lvl="3"/>
            <a:r>
              <a:rPr lang="pt-BR"/>
              <a:t>Cuarto nivel</a:t>
            </a:r>
          </a:p>
          <a:p>
            <a:pPr lvl="4"/>
            <a:r>
              <a:rPr lang="pt-BR"/>
              <a:t>Quinto nivel</a:t>
            </a:r>
            <a:endParaRPr lang="pt-BR" dirty="0"/>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b="0" i="0">
                <a:latin typeface="Graphik" panose="020B0503030202060203" pitchFamily="34" charset="77"/>
              </a:defRPr>
            </a:lvl1pPr>
          </a:lstStyle>
          <a:p>
            <a:endParaRPr lang="pt-BR" dirty="0"/>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b="0" i="0">
                <a:latin typeface="Graphik" panose="020B0503030202060203" pitchFamily="34" charset="77"/>
              </a:defRPr>
            </a:lvl1pPr>
          </a:lstStyle>
          <a:p>
            <a:fld id="{8F681651-9904-804F-8355-78350773C1A7}" type="slidenum">
              <a:rPr lang="pt-BR" smtClean="0"/>
              <a:pPr/>
              <a:t>‹#›</a:t>
            </a:fld>
            <a:endParaRPr lang="pt-BR" dirty="0"/>
          </a:p>
        </p:txBody>
      </p:sp>
    </p:spTree>
    <p:extLst>
      <p:ext uri="{BB962C8B-B14F-4D97-AF65-F5344CB8AC3E}">
        <p14:creationId xmlns:p14="http://schemas.microsoft.com/office/powerpoint/2010/main" val="1193398416"/>
      </p:ext>
    </p:extLst>
  </p:cSld>
  <p:clrMap bg1="lt1" tx1="dk1" bg2="lt2" tx2="dk2" accent1="accent1" accent2="accent2" accent3="accent3" accent4="accent4" accent5="accent5" accent6="accent6" hlink="hlink" folHlink="folHlink"/>
  <p:notesStyle>
    <a:lvl1pPr marL="0" algn="l" defTabSz="914377" rtl="0" eaLnBrk="1" latinLnBrk="0" hangingPunct="1">
      <a:defRPr sz="1200" b="0" i="0" kern="1200">
        <a:solidFill>
          <a:schemeClr val="tx1"/>
        </a:solidFill>
        <a:latin typeface="Graphik" panose="020B0503030202060203" pitchFamily="34" charset="77"/>
        <a:ea typeface="+mn-ea"/>
        <a:cs typeface="+mn-cs"/>
      </a:defRPr>
    </a:lvl1pPr>
    <a:lvl2pPr marL="457189" algn="l" defTabSz="914377" rtl="0" eaLnBrk="1" latinLnBrk="0" hangingPunct="1">
      <a:defRPr sz="1200" b="0" i="0" kern="1200">
        <a:solidFill>
          <a:schemeClr val="tx1"/>
        </a:solidFill>
        <a:latin typeface="Graphik" panose="020B0503030202060203" pitchFamily="34" charset="77"/>
        <a:ea typeface="+mn-ea"/>
        <a:cs typeface="+mn-cs"/>
      </a:defRPr>
    </a:lvl2pPr>
    <a:lvl3pPr marL="914377" algn="l" defTabSz="914377" rtl="0" eaLnBrk="1" latinLnBrk="0" hangingPunct="1">
      <a:defRPr sz="1200" b="0" i="0" kern="1200">
        <a:solidFill>
          <a:schemeClr val="tx1"/>
        </a:solidFill>
        <a:latin typeface="Graphik" panose="020B0503030202060203" pitchFamily="34" charset="77"/>
        <a:ea typeface="+mn-ea"/>
        <a:cs typeface="+mn-cs"/>
      </a:defRPr>
    </a:lvl3pPr>
    <a:lvl4pPr marL="1371566" algn="l" defTabSz="914377" rtl="0" eaLnBrk="1" latinLnBrk="0" hangingPunct="1">
      <a:defRPr sz="1200" b="0" i="0" kern="1200">
        <a:solidFill>
          <a:schemeClr val="tx1"/>
        </a:solidFill>
        <a:latin typeface="Graphik" panose="020B0503030202060203" pitchFamily="34" charset="77"/>
        <a:ea typeface="+mn-ea"/>
        <a:cs typeface="+mn-cs"/>
      </a:defRPr>
    </a:lvl4pPr>
    <a:lvl5pPr marL="1828754" algn="l" defTabSz="914377" rtl="0" eaLnBrk="1" latinLnBrk="0" hangingPunct="1">
      <a:defRPr sz="1200" b="0" i="0" kern="1200">
        <a:solidFill>
          <a:schemeClr val="tx1"/>
        </a:solidFill>
        <a:latin typeface="Graphik" panose="020B0503030202060203" pitchFamily="34" charset="77"/>
        <a:ea typeface="+mn-ea"/>
        <a:cs typeface="+mn-cs"/>
      </a:defRPr>
    </a:lvl5pPr>
    <a:lvl6pPr marL="2285943" algn="l" defTabSz="914377" rtl="0" eaLnBrk="1" latinLnBrk="0" hangingPunct="1">
      <a:defRPr sz="1200" kern="1200">
        <a:solidFill>
          <a:schemeClr val="tx1"/>
        </a:solidFill>
        <a:latin typeface="+mn-lt"/>
        <a:ea typeface="+mn-ea"/>
        <a:cs typeface="+mn-cs"/>
      </a:defRPr>
    </a:lvl6pPr>
    <a:lvl7pPr marL="2743131" algn="l" defTabSz="914377" rtl="0" eaLnBrk="1" latinLnBrk="0" hangingPunct="1">
      <a:defRPr sz="1200" kern="1200">
        <a:solidFill>
          <a:schemeClr val="tx1"/>
        </a:solidFill>
        <a:latin typeface="+mn-lt"/>
        <a:ea typeface="+mn-ea"/>
        <a:cs typeface="+mn-cs"/>
      </a:defRPr>
    </a:lvl7pPr>
    <a:lvl8pPr marL="3200320" algn="l" defTabSz="914377" rtl="0" eaLnBrk="1" latinLnBrk="0" hangingPunct="1">
      <a:defRPr sz="1200" kern="1200">
        <a:solidFill>
          <a:schemeClr val="tx1"/>
        </a:solidFill>
        <a:latin typeface="+mn-lt"/>
        <a:ea typeface="+mn-ea"/>
        <a:cs typeface="+mn-cs"/>
      </a:defRPr>
    </a:lvl8pPr>
    <a:lvl9pPr marL="3657509" algn="l" defTabSz="91437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8F681651-9904-804F-8355-78350773C1A7}" type="slidenum">
              <a:rPr lang="pt-BR" smtClean="0"/>
              <a:pPr/>
              <a:t>1</a:t>
            </a:fld>
            <a:endParaRPr lang="pt-BR" dirty="0"/>
          </a:p>
        </p:txBody>
      </p:sp>
    </p:spTree>
    <p:extLst>
      <p:ext uri="{BB962C8B-B14F-4D97-AF65-F5344CB8AC3E}">
        <p14:creationId xmlns:p14="http://schemas.microsoft.com/office/powerpoint/2010/main" val="16060426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6D8184-F308-1A94-38EB-AD377030A8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5556BD-1912-3FE3-3428-4EFDE4624F8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8A512FD-CF85-3778-586C-C10086416083}"/>
              </a:ext>
            </a:extLst>
          </p:cNvPr>
          <p:cNvSpPr>
            <a:spLocks noGrp="1"/>
          </p:cNvSpPr>
          <p:nvPr>
            <p:ph type="body" idx="1"/>
          </p:nvPr>
        </p:nvSpPr>
        <p:spPr/>
        <p:txBody>
          <a:bodyPr/>
          <a:lstStyle/>
          <a:p>
            <a:endParaRPr lang="pt-BR" dirty="0"/>
          </a:p>
        </p:txBody>
      </p:sp>
      <p:sp>
        <p:nvSpPr>
          <p:cNvPr id="4" name="Slide Number Placeholder 3">
            <a:extLst>
              <a:ext uri="{FF2B5EF4-FFF2-40B4-BE49-F238E27FC236}">
                <a16:creationId xmlns:a16="http://schemas.microsoft.com/office/drawing/2014/main" id="{17D3A7E5-4303-99BF-AE6E-6012C39F8486}"/>
              </a:ext>
            </a:extLst>
          </p:cNvPr>
          <p:cNvSpPr>
            <a:spLocks noGrp="1"/>
          </p:cNvSpPr>
          <p:nvPr>
            <p:ph type="sldNum" sz="quarter" idx="5"/>
          </p:nvPr>
        </p:nvSpPr>
        <p:spPr/>
        <p:txBody>
          <a:bodyPr/>
          <a:lstStyle/>
          <a:p>
            <a:fld id="{8F681651-9904-804F-8355-78350773C1A7}" type="slidenum">
              <a:rPr lang="pt-BR" smtClean="0"/>
              <a:pPr/>
              <a:t>10</a:t>
            </a:fld>
            <a:endParaRPr lang="pt-BR" dirty="0"/>
          </a:p>
        </p:txBody>
      </p:sp>
    </p:spTree>
    <p:extLst>
      <p:ext uri="{BB962C8B-B14F-4D97-AF65-F5344CB8AC3E}">
        <p14:creationId xmlns:p14="http://schemas.microsoft.com/office/powerpoint/2010/main" val="1771822333"/>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pt-BR"/>
              <a:t>     </a:t>
            </a:r>
          </a:p>
          <a:p>
            <a:endParaRPr lang="pt-BR" dirty="0"/>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436E8A87-18DA-4CCE-A8C2-BDBC489258C6}" type="slidenum">
              <a:rPr kumimoji="0" lang="pt-BR" sz="1200" u="none" strike="noStrike" kern="1200" cap="none" spc="0" normalizeH="0" baseline="0" noProof="0" smtClean="0">
                <a:ln>
                  <a:noFill/>
                </a:ln>
                <a:solidFill>
                  <a:prstClr val="black"/>
                </a:solidFill>
                <a:effectLst/>
                <a:uLnTx/>
                <a:uFillTx/>
                <a:ea typeface="+mn-ea"/>
                <a:cs typeface="+mn-cs"/>
              </a:rPr>
              <a:pPr marL="0" marR="0" lvl="0" indent="0" algn="r" defTabSz="914400" eaLnBrk="1" fontAlgn="auto" latinLnBrk="0" hangingPunct="1">
                <a:lnSpc>
                  <a:spcPct val="100000"/>
                </a:lnSpc>
                <a:spcBef>
                  <a:spcPts val="0"/>
                </a:spcBef>
                <a:spcAft>
                  <a:spcPts val="0"/>
                </a:spcAft>
                <a:buClrTx/>
                <a:buSzTx/>
                <a:buFontTx/>
                <a:buNone/>
                <a:tabLst/>
                <a:defRPr/>
              </a:pPr>
              <a:t>100</a:t>
            </a:fld>
            <a:endParaRPr kumimoji="0" lang="pt-BR" sz="120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183745577"/>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8F681651-9904-804F-8355-78350773C1A7}" type="slidenum">
              <a:rPr lang="pt-BR" smtClean="0"/>
              <a:pPr/>
              <a:t>101</a:t>
            </a:fld>
            <a:endParaRPr lang="pt-BR" dirty="0"/>
          </a:p>
        </p:txBody>
      </p:sp>
    </p:spTree>
    <p:extLst>
      <p:ext uri="{BB962C8B-B14F-4D97-AF65-F5344CB8AC3E}">
        <p14:creationId xmlns:p14="http://schemas.microsoft.com/office/powerpoint/2010/main" val="34591175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1880E3-A46A-CBA8-7726-5AB1A4E510F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CBAEF94-B2B4-51F1-FA89-C1D2F5B354D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7563421-58C2-3AE2-B4C6-F2C689FF7354}"/>
              </a:ext>
            </a:extLst>
          </p:cNvPr>
          <p:cNvSpPr>
            <a:spLocks noGrp="1"/>
          </p:cNvSpPr>
          <p:nvPr>
            <p:ph type="body" idx="1"/>
          </p:nvPr>
        </p:nvSpPr>
        <p:spPr/>
        <p:txBody>
          <a:bodyPr/>
          <a:lstStyle/>
          <a:p>
            <a:endParaRPr lang="pt-BR" dirty="0"/>
          </a:p>
        </p:txBody>
      </p:sp>
      <p:sp>
        <p:nvSpPr>
          <p:cNvPr id="4" name="Slide Number Placeholder 3">
            <a:extLst>
              <a:ext uri="{FF2B5EF4-FFF2-40B4-BE49-F238E27FC236}">
                <a16:creationId xmlns:a16="http://schemas.microsoft.com/office/drawing/2014/main" id="{4FF85599-59E0-A598-2958-F2423A01B016}"/>
              </a:ext>
            </a:extLst>
          </p:cNvPr>
          <p:cNvSpPr>
            <a:spLocks noGrp="1"/>
          </p:cNvSpPr>
          <p:nvPr>
            <p:ph type="sldNum" sz="quarter" idx="5"/>
          </p:nvPr>
        </p:nvSpPr>
        <p:spPr/>
        <p:txBody>
          <a:bodyPr/>
          <a:lstStyle/>
          <a:p>
            <a:fld id="{8F681651-9904-804F-8355-78350773C1A7}" type="slidenum">
              <a:rPr lang="pt-BR" smtClean="0"/>
              <a:pPr/>
              <a:t>11</a:t>
            </a:fld>
            <a:endParaRPr lang="pt-BR" dirty="0"/>
          </a:p>
        </p:txBody>
      </p:sp>
    </p:spTree>
    <p:extLst>
      <p:ext uri="{BB962C8B-B14F-4D97-AF65-F5344CB8AC3E}">
        <p14:creationId xmlns:p14="http://schemas.microsoft.com/office/powerpoint/2010/main" val="19916056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6CF8B9-1A1A-739F-F9B0-920511A351A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97F3B3B-7BD2-669E-978F-23FD8F59F6C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C3FA580-0506-D64D-8E01-09FEC15901D9}"/>
              </a:ext>
            </a:extLst>
          </p:cNvPr>
          <p:cNvSpPr>
            <a:spLocks noGrp="1"/>
          </p:cNvSpPr>
          <p:nvPr>
            <p:ph type="body" idx="1"/>
          </p:nvPr>
        </p:nvSpPr>
        <p:spPr/>
        <p:txBody>
          <a:bodyPr/>
          <a:lstStyle/>
          <a:p>
            <a:endParaRPr lang="pt-BR" dirty="0"/>
          </a:p>
        </p:txBody>
      </p:sp>
      <p:sp>
        <p:nvSpPr>
          <p:cNvPr id="4" name="Slide Number Placeholder 3">
            <a:extLst>
              <a:ext uri="{FF2B5EF4-FFF2-40B4-BE49-F238E27FC236}">
                <a16:creationId xmlns:a16="http://schemas.microsoft.com/office/drawing/2014/main" id="{5FFA652D-D509-C606-8AA0-FB1984A4B6A4}"/>
              </a:ext>
            </a:extLst>
          </p:cNvPr>
          <p:cNvSpPr>
            <a:spLocks noGrp="1"/>
          </p:cNvSpPr>
          <p:nvPr>
            <p:ph type="sldNum" sz="quarter" idx="5"/>
          </p:nvPr>
        </p:nvSpPr>
        <p:spPr/>
        <p:txBody>
          <a:bodyPr/>
          <a:lstStyle/>
          <a:p>
            <a:fld id="{8F681651-9904-804F-8355-78350773C1A7}" type="slidenum">
              <a:rPr lang="pt-BR" smtClean="0"/>
              <a:pPr/>
              <a:t>12</a:t>
            </a:fld>
            <a:endParaRPr lang="pt-BR" dirty="0"/>
          </a:p>
        </p:txBody>
      </p:sp>
    </p:spTree>
    <p:extLst>
      <p:ext uri="{BB962C8B-B14F-4D97-AF65-F5344CB8AC3E}">
        <p14:creationId xmlns:p14="http://schemas.microsoft.com/office/powerpoint/2010/main" val="31101711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1497B0-4795-5B26-FA31-E27BDAF7698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E4B581-DB5B-CBAF-65E5-2D4BBD1B1A8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2B93699-0072-B4B6-90B0-2713A324B249}"/>
              </a:ext>
            </a:extLst>
          </p:cNvPr>
          <p:cNvSpPr>
            <a:spLocks noGrp="1"/>
          </p:cNvSpPr>
          <p:nvPr>
            <p:ph type="body" idx="1"/>
          </p:nvPr>
        </p:nvSpPr>
        <p:spPr/>
        <p:txBody>
          <a:bodyPr/>
          <a:lstStyle/>
          <a:p>
            <a:endParaRPr lang="pt-BR" dirty="0"/>
          </a:p>
        </p:txBody>
      </p:sp>
      <p:sp>
        <p:nvSpPr>
          <p:cNvPr id="4" name="Slide Number Placeholder 3">
            <a:extLst>
              <a:ext uri="{FF2B5EF4-FFF2-40B4-BE49-F238E27FC236}">
                <a16:creationId xmlns:a16="http://schemas.microsoft.com/office/drawing/2014/main" id="{611AF753-851D-15C4-A0F8-BCE279C37076}"/>
              </a:ext>
            </a:extLst>
          </p:cNvPr>
          <p:cNvSpPr>
            <a:spLocks noGrp="1"/>
          </p:cNvSpPr>
          <p:nvPr>
            <p:ph type="sldNum" sz="quarter" idx="5"/>
          </p:nvPr>
        </p:nvSpPr>
        <p:spPr/>
        <p:txBody>
          <a:bodyPr/>
          <a:lstStyle/>
          <a:p>
            <a:fld id="{8F681651-9904-804F-8355-78350773C1A7}" type="slidenum">
              <a:rPr lang="pt-BR" smtClean="0"/>
              <a:pPr/>
              <a:t>13</a:t>
            </a:fld>
            <a:endParaRPr lang="pt-BR" dirty="0"/>
          </a:p>
        </p:txBody>
      </p:sp>
    </p:spTree>
    <p:extLst>
      <p:ext uri="{BB962C8B-B14F-4D97-AF65-F5344CB8AC3E}">
        <p14:creationId xmlns:p14="http://schemas.microsoft.com/office/powerpoint/2010/main" val="10309955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8F681651-9904-804F-8355-78350773C1A7}" type="slidenum">
              <a:rPr lang="pt-BR" smtClean="0"/>
              <a:pPr/>
              <a:t>14</a:t>
            </a:fld>
            <a:endParaRPr lang="pt-BR" dirty="0"/>
          </a:p>
        </p:txBody>
      </p:sp>
    </p:spTree>
    <p:extLst>
      <p:ext uri="{BB962C8B-B14F-4D97-AF65-F5344CB8AC3E}">
        <p14:creationId xmlns:p14="http://schemas.microsoft.com/office/powerpoint/2010/main" val="37665857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DBCBD6-CF5D-B627-4C85-682973A8C68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9929D90-122F-D0A0-45F4-4ABF3138860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ED38D5D-8C63-2F9C-A71F-24C965428DE4}"/>
              </a:ext>
            </a:extLst>
          </p:cNvPr>
          <p:cNvSpPr>
            <a:spLocks noGrp="1"/>
          </p:cNvSpPr>
          <p:nvPr>
            <p:ph type="body" idx="1"/>
          </p:nvPr>
        </p:nvSpPr>
        <p:spPr/>
        <p:txBody>
          <a:bodyPr/>
          <a:lstStyle/>
          <a:p>
            <a:endParaRPr lang="pt-BR" dirty="0"/>
          </a:p>
        </p:txBody>
      </p:sp>
      <p:sp>
        <p:nvSpPr>
          <p:cNvPr id="4" name="Slide Number Placeholder 3">
            <a:extLst>
              <a:ext uri="{FF2B5EF4-FFF2-40B4-BE49-F238E27FC236}">
                <a16:creationId xmlns:a16="http://schemas.microsoft.com/office/drawing/2014/main" id="{5BD59457-1D27-748C-5D47-FAC0CD1CCA78}"/>
              </a:ext>
            </a:extLst>
          </p:cNvPr>
          <p:cNvSpPr>
            <a:spLocks noGrp="1"/>
          </p:cNvSpPr>
          <p:nvPr>
            <p:ph type="sldNum" sz="quarter" idx="5"/>
          </p:nvPr>
        </p:nvSpPr>
        <p:spPr/>
        <p:txBody>
          <a:bodyPr/>
          <a:lstStyle/>
          <a:p>
            <a:fld id="{8F681651-9904-804F-8355-78350773C1A7}" type="slidenum">
              <a:rPr lang="pt-BR" smtClean="0"/>
              <a:pPr/>
              <a:t>15</a:t>
            </a:fld>
            <a:endParaRPr lang="pt-BR" dirty="0"/>
          </a:p>
        </p:txBody>
      </p:sp>
    </p:spTree>
    <p:extLst>
      <p:ext uri="{BB962C8B-B14F-4D97-AF65-F5344CB8AC3E}">
        <p14:creationId xmlns:p14="http://schemas.microsoft.com/office/powerpoint/2010/main" val="40934176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9A7507-1AC3-99DE-FA7A-6D4580C549F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69DE182-1173-DEA7-3D17-6BD08C0076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92233AD-C417-95AE-2935-665DF83978D1}"/>
              </a:ext>
            </a:extLst>
          </p:cNvPr>
          <p:cNvSpPr>
            <a:spLocks noGrp="1"/>
          </p:cNvSpPr>
          <p:nvPr>
            <p:ph type="body" idx="1"/>
          </p:nvPr>
        </p:nvSpPr>
        <p:spPr/>
        <p:txBody>
          <a:bodyPr/>
          <a:lstStyle/>
          <a:p>
            <a:endParaRPr lang="pt-BR" dirty="0"/>
          </a:p>
        </p:txBody>
      </p:sp>
      <p:sp>
        <p:nvSpPr>
          <p:cNvPr id="4" name="Slide Number Placeholder 3">
            <a:extLst>
              <a:ext uri="{FF2B5EF4-FFF2-40B4-BE49-F238E27FC236}">
                <a16:creationId xmlns:a16="http://schemas.microsoft.com/office/drawing/2014/main" id="{DBB32DDD-594F-15C0-77CD-A50FBB69A166}"/>
              </a:ext>
            </a:extLst>
          </p:cNvPr>
          <p:cNvSpPr>
            <a:spLocks noGrp="1"/>
          </p:cNvSpPr>
          <p:nvPr>
            <p:ph type="sldNum" sz="quarter" idx="5"/>
          </p:nvPr>
        </p:nvSpPr>
        <p:spPr/>
        <p:txBody>
          <a:bodyPr/>
          <a:lstStyle/>
          <a:p>
            <a:fld id="{8F681651-9904-804F-8355-78350773C1A7}" type="slidenum">
              <a:rPr lang="pt-BR" smtClean="0"/>
              <a:pPr/>
              <a:t>16</a:t>
            </a:fld>
            <a:endParaRPr lang="pt-BR" dirty="0"/>
          </a:p>
        </p:txBody>
      </p:sp>
    </p:spTree>
    <p:extLst>
      <p:ext uri="{BB962C8B-B14F-4D97-AF65-F5344CB8AC3E}">
        <p14:creationId xmlns:p14="http://schemas.microsoft.com/office/powerpoint/2010/main" val="15225856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8F681651-9904-804F-8355-78350773C1A7}" type="slidenum">
              <a:rPr lang="pt-BR" smtClean="0"/>
              <a:pPr/>
              <a:t>17</a:t>
            </a:fld>
            <a:endParaRPr lang="pt-BR" dirty="0"/>
          </a:p>
        </p:txBody>
      </p:sp>
    </p:spTree>
    <p:extLst>
      <p:ext uri="{BB962C8B-B14F-4D97-AF65-F5344CB8AC3E}">
        <p14:creationId xmlns:p14="http://schemas.microsoft.com/office/powerpoint/2010/main" val="15312292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F9FBB9-7281-6990-6FB2-7BCBC11CDFD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4DE2232-3A40-270E-03FE-1205A6C914C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BE7614D-59F2-4CF6-A28C-4CDF711729F2}"/>
              </a:ext>
            </a:extLst>
          </p:cNvPr>
          <p:cNvSpPr>
            <a:spLocks noGrp="1"/>
          </p:cNvSpPr>
          <p:nvPr>
            <p:ph type="body" idx="1"/>
          </p:nvPr>
        </p:nvSpPr>
        <p:spPr/>
        <p:txBody>
          <a:bodyPr/>
          <a:lstStyle/>
          <a:p>
            <a:endParaRPr lang="pt-BR" dirty="0"/>
          </a:p>
        </p:txBody>
      </p:sp>
      <p:sp>
        <p:nvSpPr>
          <p:cNvPr id="4" name="Slide Number Placeholder 3">
            <a:extLst>
              <a:ext uri="{FF2B5EF4-FFF2-40B4-BE49-F238E27FC236}">
                <a16:creationId xmlns:a16="http://schemas.microsoft.com/office/drawing/2014/main" id="{808E5941-92DE-3EA8-D73B-1602A966E1BB}"/>
              </a:ext>
            </a:extLst>
          </p:cNvPr>
          <p:cNvSpPr>
            <a:spLocks noGrp="1"/>
          </p:cNvSpPr>
          <p:nvPr>
            <p:ph type="sldNum" sz="quarter" idx="5"/>
          </p:nvPr>
        </p:nvSpPr>
        <p:spPr/>
        <p:txBody>
          <a:bodyPr/>
          <a:lstStyle/>
          <a:p>
            <a:fld id="{8F681651-9904-804F-8355-78350773C1A7}" type="slidenum">
              <a:rPr lang="pt-BR" smtClean="0"/>
              <a:pPr/>
              <a:t>18</a:t>
            </a:fld>
            <a:endParaRPr lang="pt-BR" dirty="0"/>
          </a:p>
        </p:txBody>
      </p:sp>
    </p:spTree>
    <p:extLst>
      <p:ext uri="{BB962C8B-B14F-4D97-AF65-F5344CB8AC3E}">
        <p14:creationId xmlns:p14="http://schemas.microsoft.com/office/powerpoint/2010/main" val="3407056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8F681651-9904-804F-8355-78350773C1A7}" type="slidenum">
              <a:rPr lang="pt-BR" smtClean="0"/>
              <a:pPr/>
              <a:t>19</a:t>
            </a:fld>
            <a:endParaRPr lang="pt-BR" dirty="0"/>
          </a:p>
        </p:txBody>
      </p:sp>
    </p:spTree>
    <p:extLst>
      <p:ext uri="{BB962C8B-B14F-4D97-AF65-F5344CB8AC3E}">
        <p14:creationId xmlns:p14="http://schemas.microsoft.com/office/powerpoint/2010/main" val="34386454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8F681651-9904-804F-8355-78350773C1A7}" type="slidenum">
              <a:rPr lang="pt-BR" smtClean="0"/>
              <a:pPr/>
              <a:t>2</a:t>
            </a:fld>
            <a:endParaRPr lang="pt-BR" dirty="0"/>
          </a:p>
        </p:txBody>
      </p:sp>
    </p:spTree>
    <p:extLst>
      <p:ext uri="{BB962C8B-B14F-4D97-AF65-F5344CB8AC3E}">
        <p14:creationId xmlns:p14="http://schemas.microsoft.com/office/powerpoint/2010/main" val="36835547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B0A510-F3CD-E9D4-7066-19F69BB806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F0803D2-52C3-8E54-CAF2-FD952FDB006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843C315-A478-5C7B-4AF8-A219EEDBA7F1}"/>
              </a:ext>
            </a:extLst>
          </p:cNvPr>
          <p:cNvSpPr>
            <a:spLocks noGrp="1"/>
          </p:cNvSpPr>
          <p:nvPr>
            <p:ph type="body" idx="1"/>
          </p:nvPr>
        </p:nvSpPr>
        <p:spPr/>
        <p:txBody>
          <a:bodyPr/>
          <a:lstStyle/>
          <a:p>
            <a:endParaRPr lang="pt-BR" dirty="0"/>
          </a:p>
        </p:txBody>
      </p:sp>
      <p:sp>
        <p:nvSpPr>
          <p:cNvPr id="4" name="Slide Number Placeholder 3">
            <a:extLst>
              <a:ext uri="{FF2B5EF4-FFF2-40B4-BE49-F238E27FC236}">
                <a16:creationId xmlns:a16="http://schemas.microsoft.com/office/drawing/2014/main" id="{5026B2BD-5098-4C6D-C3B8-C34BE3D66E27}"/>
              </a:ext>
            </a:extLst>
          </p:cNvPr>
          <p:cNvSpPr>
            <a:spLocks noGrp="1"/>
          </p:cNvSpPr>
          <p:nvPr>
            <p:ph type="sldNum" sz="quarter" idx="5"/>
          </p:nvPr>
        </p:nvSpPr>
        <p:spPr/>
        <p:txBody>
          <a:bodyPr/>
          <a:lstStyle/>
          <a:p>
            <a:fld id="{8F681651-9904-804F-8355-78350773C1A7}" type="slidenum">
              <a:rPr lang="pt-BR" smtClean="0"/>
              <a:pPr/>
              <a:t>20</a:t>
            </a:fld>
            <a:endParaRPr lang="pt-BR" dirty="0"/>
          </a:p>
        </p:txBody>
      </p:sp>
    </p:spTree>
    <p:extLst>
      <p:ext uri="{BB962C8B-B14F-4D97-AF65-F5344CB8AC3E}">
        <p14:creationId xmlns:p14="http://schemas.microsoft.com/office/powerpoint/2010/main" val="381408387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8B974A-1F51-743C-0BB3-E14AFDD6CB2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BF4CF09-C198-DEE3-6496-567ED35B50F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2AAFFE2-BAC5-956F-BFB5-F01418438DD8}"/>
              </a:ext>
            </a:extLst>
          </p:cNvPr>
          <p:cNvSpPr>
            <a:spLocks noGrp="1"/>
          </p:cNvSpPr>
          <p:nvPr>
            <p:ph type="body" idx="1"/>
          </p:nvPr>
        </p:nvSpPr>
        <p:spPr/>
        <p:txBody>
          <a:bodyPr/>
          <a:lstStyle/>
          <a:p>
            <a:endParaRPr lang="pt-BR" dirty="0"/>
          </a:p>
        </p:txBody>
      </p:sp>
      <p:sp>
        <p:nvSpPr>
          <p:cNvPr id="4" name="Slide Number Placeholder 3">
            <a:extLst>
              <a:ext uri="{FF2B5EF4-FFF2-40B4-BE49-F238E27FC236}">
                <a16:creationId xmlns:a16="http://schemas.microsoft.com/office/drawing/2014/main" id="{A32CBF31-E88D-FA4B-A674-EEEBAA01783A}"/>
              </a:ext>
            </a:extLst>
          </p:cNvPr>
          <p:cNvSpPr>
            <a:spLocks noGrp="1"/>
          </p:cNvSpPr>
          <p:nvPr>
            <p:ph type="sldNum" sz="quarter" idx="5"/>
          </p:nvPr>
        </p:nvSpPr>
        <p:spPr/>
        <p:txBody>
          <a:bodyPr/>
          <a:lstStyle/>
          <a:p>
            <a:fld id="{8F681651-9904-804F-8355-78350773C1A7}" type="slidenum">
              <a:rPr lang="pt-BR" smtClean="0"/>
              <a:pPr/>
              <a:t>21</a:t>
            </a:fld>
            <a:endParaRPr lang="pt-BR" dirty="0"/>
          </a:p>
        </p:txBody>
      </p:sp>
    </p:spTree>
    <p:extLst>
      <p:ext uri="{BB962C8B-B14F-4D97-AF65-F5344CB8AC3E}">
        <p14:creationId xmlns:p14="http://schemas.microsoft.com/office/powerpoint/2010/main" val="37027355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8F681651-9904-804F-8355-78350773C1A7}" type="slidenum">
              <a:rPr lang="pt-BR" smtClean="0"/>
              <a:pPr/>
              <a:t>22</a:t>
            </a:fld>
            <a:endParaRPr lang="pt-BR" dirty="0"/>
          </a:p>
        </p:txBody>
      </p:sp>
    </p:spTree>
    <p:extLst>
      <p:ext uri="{BB962C8B-B14F-4D97-AF65-F5344CB8AC3E}">
        <p14:creationId xmlns:p14="http://schemas.microsoft.com/office/powerpoint/2010/main" val="428714074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15FD35-7750-FEC6-0512-E2635733905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AF00A91-CB63-4807-4366-AED4459E14B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0958386-8E7B-4FBE-F657-33D5BD716A31}"/>
              </a:ext>
            </a:extLst>
          </p:cNvPr>
          <p:cNvSpPr>
            <a:spLocks noGrp="1"/>
          </p:cNvSpPr>
          <p:nvPr>
            <p:ph type="body" idx="1"/>
          </p:nvPr>
        </p:nvSpPr>
        <p:spPr/>
        <p:txBody>
          <a:bodyPr/>
          <a:lstStyle/>
          <a:p>
            <a:endParaRPr lang="pt-BR" dirty="0"/>
          </a:p>
        </p:txBody>
      </p:sp>
      <p:sp>
        <p:nvSpPr>
          <p:cNvPr id="4" name="Slide Number Placeholder 3">
            <a:extLst>
              <a:ext uri="{FF2B5EF4-FFF2-40B4-BE49-F238E27FC236}">
                <a16:creationId xmlns:a16="http://schemas.microsoft.com/office/drawing/2014/main" id="{451D562A-6B02-99A2-8027-47C0DE39B407}"/>
              </a:ext>
            </a:extLst>
          </p:cNvPr>
          <p:cNvSpPr>
            <a:spLocks noGrp="1"/>
          </p:cNvSpPr>
          <p:nvPr>
            <p:ph type="sldNum" sz="quarter" idx="5"/>
          </p:nvPr>
        </p:nvSpPr>
        <p:spPr/>
        <p:txBody>
          <a:bodyPr/>
          <a:lstStyle/>
          <a:p>
            <a:fld id="{8F681651-9904-804F-8355-78350773C1A7}" type="slidenum">
              <a:rPr lang="pt-BR" smtClean="0"/>
              <a:pPr/>
              <a:t>23</a:t>
            </a:fld>
            <a:endParaRPr lang="pt-BR" dirty="0"/>
          </a:p>
        </p:txBody>
      </p:sp>
    </p:spTree>
    <p:extLst>
      <p:ext uri="{BB962C8B-B14F-4D97-AF65-F5344CB8AC3E}">
        <p14:creationId xmlns:p14="http://schemas.microsoft.com/office/powerpoint/2010/main" val="209875541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B6FD7B-CE37-913A-E43E-B0D3DCD37E4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F9B59F8-AD5F-C4B2-3475-A9452FC1FBE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F849CD4-F8B6-9BE3-13CB-68CBDCD694DD}"/>
              </a:ext>
            </a:extLst>
          </p:cNvPr>
          <p:cNvSpPr>
            <a:spLocks noGrp="1"/>
          </p:cNvSpPr>
          <p:nvPr>
            <p:ph type="body" idx="1"/>
          </p:nvPr>
        </p:nvSpPr>
        <p:spPr/>
        <p:txBody>
          <a:bodyPr/>
          <a:lstStyle/>
          <a:p>
            <a:endParaRPr lang="pt-BR" dirty="0"/>
          </a:p>
        </p:txBody>
      </p:sp>
      <p:sp>
        <p:nvSpPr>
          <p:cNvPr id="4" name="Slide Number Placeholder 3">
            <a:extLst>
              <a:ext uri="{FF2B5EF4-FFF2-40B4-BE49-F238E27FC236}">
                <a16:creationId xmlns:a16="http://schemas.microsoft.com/office/drawing/2014/main" id="{D018E7FB-E60D-8A12-A752-DE368EDC56C9}"/>
              </a:ext>
            </a:extLst>
          </p:cNvPr>
          <p:cNvSpPr>
            <a:spLocks noGrp="1"/>
          </p:cNvSpPr>
          <p:nvPr>
            <p:ph type="sldNum" sz="quarter" idx="5"/>
          </p:nvPr>
        </p:nvSpPr>
        <p:spPr/>
        <p:txBody>
          <a:bodyPr/>
          <a:lstStyle/>
          <a:p>
            <a:fld id="{8F681651-9904-804F-8355-78350773C1A7}" type="slidenum">
              <a:rPr lang="pt-BR" smtClean="0"/>
              <a:pPr/>
              <a:t>24</a:t>
            </a:fld>
            <a:endParaRPr lang="pt-BR" dirty="0"/>
          </a:p>
        </p:txBody>
      </p:sp>
    </p:spTree>
    <p:extLst>
      <p:ext uri="{BB962C8B-B14F-4D97-AF65-F5344CB8AC3E}">
        <p14:creationId xmlns:p14="http://schemas.microsoft.com/office/powerpoint/2010/main" val="274234872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eaLnBrk="1" fontAlgn="auto" latinLnBrk="0" hangingPunct="1">
              <a:lnSpc>
                <a:spcPct val="100000"/>
              </a:lnSpc>
              <a:spcBef>
                <a:spcPts val="0"/>
              </a:spcBef>
              <a:spcAft>
                <a:spcPts val="0"/>
              </a:spcAft>
              <a:buClrTx/>
              <a:buSzTx/>
              <a:buFontTx/>
              <a:buNone/>
              <a:tabLst/>
              <a:defRPr/>
            </a:pPr>
            <a:endParaRPr lang="pt-BR" sz="900" dirty="0">
              <a:solidFill>
                <a:srgbClr val="FF0000"/>
              </a:solidFill>
            </a:endParaRPr>
          </a:p>
        </p:txBody>
      </p:sp>
      <p:sp>
        <p:nvSpPr>
          <p:cNvPr id="4" name="Slide Number Placeholder 3"/>
          <p:cNvSpPr>
            <a:spLocks noGrp="1"/>
          </p:cNvSpPr>
          <p:nvPr>
            <p:ph type="sldNum" sz="quarter" idx="5"/>
          </p:nvPr>
        </p:nvSpPr>
        <p:spPr/>
        <p:txBody>
          <a:bodyPr/>
          <a:lstStyle/>
          <a:p>
            <a:fld id="{8F681651-9904-804F-8355-78350773C1A7}" type="slidenum">
              <a:rPr lang="pt-BR" smtClean="0"/>
              <a:pPr/>
              <a:t>25</a:t>
            </a:fld>
            <a:endParaRPr lang="pt-BR" dirty="0"/>
          </a:p>
        </p:txBody>
      </p:sp>
    </p:spTree>
    <p:extLst>
      <p:ext uri="{BB962C8B-B14F-4D97-AF65-F5344CB8AC3E}">
        <p14:creationId xmlns:p14="http://schemas.microsoft.com/office/powerpoint/2010/main" val="269666146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2388" y="274638"/>
            <a:ext cx="4730750" cy="2662237"/>
          </a:xfrm>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436E8A87-18DA-4CCE-A8C2-BDBC489258C6}" type="slidenum">
              <a:rPr lang="pt-BR" smtClean="0"/>
              <a:pPr/>
              <a:t>26</a:t>
            </a:fld>
            <a:endParaRPr lang="pt-BR" dirty="0"/>
          </a:p>
        </p:txBody>
      </p:sp>
    </p:spTree>
    <p:extLst>
      <p:ext uri="{BB962C8B-B14F-4D97-AF65-F5344CB8AC3E}">
        <p14:creationId xmlns:p14="http://schemas.microsoft.com/office/powerpoint/2010/main" val="52595976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8F681651-9904-804F-8355-78350773C1A7}" type="slidenum">
              <a:rPr lang="pt-BR" smtClean="0"/>
              <a:pPr/>
              <a:t>27</a:t>
            </a:fld>
            <a:endParaRPr lang="pt-BR" dirty="0"/>
          </a:p>
        </p:txBody>
      </p:sp>
    </p:spTree>
    <p:extLst>
      <p:ext uri="{BB962C8B-B14F-4D97-AF65-F5344CB8AC3E}">
        <p14:creationId xmlns:p14="http://schemas.microsoft.com/office/powerpoint/2010/main" val="334331306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8F681651-9904-804F-8355-78350773C1A7}" type="slidenum">
              <a:rPr lang="pt-BR" smtClean="0"/>
              <a:pPr/>
              <a:t>28</a:t>
            </a:fld>
            <a:endParaRPr lang="pt-BR" dirty="0"/>
          </a:p>
        </p:txBody>
      </p:sp>
    </p:spTree>
    <p:extLst>
      <p:ext uri="{BB962C8B-B14F-4D97-AF65-F5344CB8AC3E}">
        <p14:creationId xmlns:p14="http://schemas.microsoft.com/office/powerpoint/2010/main" val="81270380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8F681651-9904-804F-8355-78350773C1A7}" type="slidenum">
              <a:rPr lang="pt-BR" smtClean="0"/>
              <a:pPr/>
              <a:t>29</a:t>
            </a:fld>
            <a:endParaRPr lang="pt-BR" dirty="0"/>
          </a:p>
        </p:txBody>
      </p:sp>
    </p:spTree>
    <p:extLst>
      <p:ext uri="{BB962C8B-B14F-4D97-AF65-F5344CB8AC3E}">
        <p14:creationId xmlns:p14="http://schemas.microsoft.com/office/powerpoint/2010/main" val="25177747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8F681651-9904-804F-8355-78350773C1A7}" type="slidenum">
              <a:rPr lang="pt-BR" smtClean="0"/>
              <a:pPr/>
              <a:t>3</a:t>
            </a:fld>
            <a:endParaRPr lang="pt-BR" dirty="0"/>
          </a:p>
        </p:txBody>
      </p:sp>
    </p:spTree>
    <p:extLst>
      <p:ext uri="{BB962C8B-B14F-4D97-AF65-F5344CB8AC3E}">
        <p14:creationId xmlns:p14="http://schemas.microsoft.com/office/powerpoint/2010/main" val="25135183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7B3084-0187-D684-949F-63F9816E645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4118676-B2BB-FD3E-2519-C0810ED53286}"/>
              </a:ext>
            </a:extLst>
          </p:cNvPr>
          <p:cNvSpPr>
            <a:spLocks noGrp="1" noRot="1" noChangeAspect="1"/>
          </p:cNvSpPr>
          <p:nvPr>
            <p:ph type="sldImg"/>
          </p:nvPr>
        </p:nvSpPr>
        <p:spPr>
          <a:xfrm>
            <a:off x="52388" y="274638"/>
            <a:ext cx="4730750" cy="2662237"/>
          </a:xfrm>
        </p:spPr>
      </p:sp>
      <p:sp>
        <p:nvSpPr>
          <p:cNvPr id="3" name="Notes Placeholder 2">
            <a:extLst>
              <a:ext uri="{FF2B5EF4-FFF2-40B4-BE49-F238E27FC236}">
                <a16:creationId xmlns:a16="http://schemas.microsoft.com/office/drawing/2014/main" id="{BD30C009-8E65-1E81-6FE5-8DD25B0F915A}"/>
              </a:ext>
            </a:extLst>
          </p:cNvPr>
          <p:cNvSpPr>
            <a:spLocks noGrp="1"/>
          </p:cNvSpPr>
          <p:nvPr>
            <p:ph type="body" idx="1"/>
          </p:nvPr>
        </p:nvSpPr>
        <p:spPr/>
        <p:txBody>
          <a:bodyPr/>
          <a:lstStyle/>
          <a:p>
            <a:endParaRPr lang="pt-BR" dirty="0"/>
          </a:p>
        </p:txBody>
      </p:sp>
      <p:sp>
        <p:nvSpPr>
          <p:cNvPr id="4" name="Slide Number Placeholder 3">
            <a:extLst>
              <a:ext uri="{FF2B5EF4-FFF2-40B4-BE49-F238E27FC236}">
                <a16:creationId xmlns:a16="http://schemas.microsoft.com/office/drawing/2014/main" id="{91EB70C1-E38C-C308-C499-0A74E86A636C}"/>
              </a:ext>
            </a:extLst>
          </p:cNvPr>
          <p:cNvSpPr>
            <a:spLocks noGrp="1"/>
          </p:cNvSpPr>
          <p:nvPr>
            <p:ph type="sldNum" sz="quarter" idx="5"/>
          </p:nvPr>
        </p:nvSpPr>
        <p:spPr/>
        <p:txBody>
          <a:bodyPr/>
          <a:lstStyle/>
          <a:p>
            <a:fld id="{436E8A87-18DA-4CCE-A8C2-BDBC489258C6}" type="slidenum">
              <a:rPr lang="pt-BR" smtClean="0"/>
              <a:pPr/>
              <a:t>30</a:t>
            </a:fld>
            <a:endParaRPr lang="pt-BR" dirty="0"/>
          </a:p>
        </p:txBody>
      </p:sp>
    </p:spTree>
    <p:extLst>
      <p:ext uri="{BB962C8B-B14F-4D97-AF65-F5344CB8AC3E}">
        <p14:creationId xmlns:p14="http://schemas.microsoft.com/office/powerpoint/2010/main" val="243821688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8F681651-9904-804F-8355-78350773C1A7}" type="slidenum">
              <a:rPr lang="pt-BR" smtClean="0"/>
              <a:pPr/>
              <a:t>31</a:t>
            </a:fld>
            <a:endParaRPr lang="pt-BR" dirty="0"/>
          </a:p>
        </p:txBody>
      </p:sp>
    </p:spTree>
    <p:extLst>
      <p:ext uri="{BB962C8B-B14F-4D97-AF65-F5344CB8AC3E}">
        <p14:creationId xmlns:p14="http://schemas.microsoft.com/office/powerpoint/2010/main" val="239007703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8F681651-9904-804F-8355-78350773C1A7}" type="slidenum">
              <a:rPr lang="pt-BR" smtClean="0"/>
              <a:pPr/>
              <a:t>32</a:t>
            </a:fld>
            <a:endParaRPr lang="pt-BR" dirty="0"/>
          </a:p>
        </p:txBody>
      </p:sp>
    </p:spTree>
    <p:extLst>
      <p:ext uri="{BB962C8B-B14F-4D97-AF65-F5344CB8AC3E}">
        <p14:creationId xmlns:p14="http://schemas.microsoft.com/office/powerpoint/2010/main" val="368129973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8F681651-9904-804F-8355-78350773C1A7}" type="slidenum">
              <a:rPr lang="pt-BR" smtClean="0"/>
              <a:pPr/>
              <a:t>33</a:t>
            </a:fld>
            <a:endParaRPr lang="pt-BR" dirty="0"/>
          </a:p>
        </p:txBody>
      </p:sp>
    </p:spTree>
    <p:extLst>
      <p:ext uri="{BB962C8B-B14F-4D97-AF65-F5344CB8AC3E}">
        <p14:creationId xmlns:p14="http://schemas.microsoft.com/office/powerpoint/2010/main" val="402780493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8F681651-9904-804F-8355-78350773C1A7}" type="slidenum">
              <a:rPr lang="pt-BR" smtClean="0"/>
              <a:pPr/>
              <a:t>34</a:t>
            </a:fld>
            <a:endParaRPr lang="pt-BR" dirty="0"/>
          </a:p>
        </p:txBody>
      </p:sp>
    </p:spTree>
    <p:extLst>
      <p:ext uri="{BB962C8B-B14F-4D97-AF65-F5344CB8AC3E}">
        <p14:creationId xmlns:p14="http://schemas.microsoft.com/office/powerpoint/2010/main" val="356612137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8F681651-9904-804F-8355-78350773C1A7}" type="slidenum">
              <a:rPr lang="pt-BR" smtClean="0"/>
              <a:pPr/>
              <a:t>35</a:t>
            </a:fld>
            <a:endParaRPr lang="pt-BR" dirty="0"/>
          </a:p>
        </p:txBody>
      </p:sp>
    </p:spTree>
    <p:extLst>
      <p:ext uri="{BB962C8B-B14F-4D97-AF65-F5344CB8AC3E}">
        <p14:creationId xmlns:p14="http://schemas.microsoft.com/office/powerpoint/2010/main" val="129442371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8F681651-9904-804F-8355-78350773C1A7}" type="slidenum">
              <a:rPr lang="pt-BR" smtClean="0"/>
              <a:pPr/>
              <a:t>36</a:t>
            </a:fld>
            <a:endParaRPr lang="pt-BR" dirty="0"/>
          </a:p>
        </p:txBody>
      </p:sp>
    </p:spTree>
    <p:extLst>
      <p:ext uri="{BB962C8B-B14F-4D97-AF65-F5344CB8AC3E}">
        <p14:creationId xmlns:p14="http://schemas.microsoft.com/office/powerpoint/2010/main" val="215329301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8F681651-9904-804F-8355-78350773C1A7}" type="slidenum">
              <a:rPr lang="pt-BR" smtClean="0"/>
              <a:pPr/>
              <a:t>37</a:t>
            </a:fld>
            <a:endParaRPr lang="pt-BR" dirty="0"/>
          </a:p>
        </p:txBody>
      </p:sp>
    </p:spTree>
    <p:extLst>
      <p:ext uri="{BB962C8B-B14F-4D97-AF65-F5344CB8AC3E}">
        <p14:creationId xmlns:p14="http://schemas.microsoft.com/office/powerpoint/2010/main" val="284117682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8F681651-9904-804F-8355-78350773C1A7}" type="slidenum">
              <a:rPr lang="pt-BR" smtClean="0"/>
              <a:pPr/>
              <a:t>38</a:t>
            </a:fld>
            <a:endParaRPr lang="pt-BR" dirty="0"/>
          </a:p>
        </p:txBody>
      </p:sp>
    </p:spTree>
    <p:extLst>
      <p:ext uri="{BB962C8B-B14F-4D97-AF65-F5344CB8AC3E}">
        <p14:creationId xmlns:p14="http://schemas.microsoft.com/office/powerpoint/2010/main" val="161287521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8F681651-9904-804F-8355-78350773C1A7}" type="slidenum">
              <a:rPr lang="pt-BR" smtClean="0"/>
              <a:pPr/>
              <a:t>39</a:t>
            </a:fld>
            <a:endParaRPr lang="pt-BR" dirty="0"/>
          </a:p>
        </p:txBody>
      </p:sp>
    </p:spTree>
    <p:extLst>
      <p:ext uri="{BB962C8B-B14F-4D97-AF65-F5344CB8AC3E}">
        <p14:creationId xmlns:p14="http://schemas.microsoft.com/office/powerpoint/2010/main" val="22665910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B78187-FE30-EA8F-95A0-097F4CA168C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3F196CD-E0B3-C3AC-956C-0D1D3AF9561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1DE6F1D-1A93-0E0B-A18A-EE94B42C3FD7}"/>
              </a:ext>
            </a:extLst>
          </p:cNvPr>
          <p:cNvSpPr>
            <a:spLocks noGrp="1"/>
          </p:cNvSpPr>
          <p:nvPr>
            <p:ph type="body" idx="1"/>
          </p:nvPr>
        </p:nvSpPr>
        <p:spPr/>
        <p:txBody>
          <a:bodyPr/>
          <a:lstStyle/>
          <a:p>
            <a:endParaRPr lang="pt-BR" dirty="0"/>
          </a:p>
        </p:txBody>
      </p:sp>
      <p:sp>
        <p:nvSpPr>
          <p:cNvPr id="4" name="Slide Number Placeholder 3">
            <a:extLst>
              <a:ext uri="{FF2B5EF4-FFF2-40B4-BE49-F238E27FC236}">
                <a16:creationId xmlns:a16="http://schemas.microsoft.com/office/drawing/2014/main" id="{08FAFAFE-9161-E509-DEDB-76E10E8F8FC8}"/>
              </a:ext>
            </a:extLst>
          </p:cNvPr>
          <p:cNvSpPr>
            <a:spLocks noGrp="1"/>
          </p:cNvSpPr>
          <p:nvPr>
            <p:ph type="sldNum" sz="quarter" idx="5"/>
          </p:nvPr>
        </p:nvSpPr>
        <p:spPr/>
        <p:txBody>
          <a:bodyPr/>
          <a:lstStyle/>
          <a:p>
            <a:fld id="{8F681651-9904-804F-8355-78350773C1A7}" type="slidenum">
              <a:rPr lang="pt-BR" smtClean="0"/>
              <a:pPr/>
              <a:t>4</a:t>
            </a:fld>
            <a:endParaRPr lang="pt-BR" dirty="0"/>
          </a:p>
        </p:txBody>
      </p:sp>
    </p:spTree>
    <p:extLst>
      <p:ext uri="{BB962C8B-B14F-4D97-AF65-F5344CB8AC3E}">
        <p14:creationId xmlns:p14="http://schemas.microsoft.com/office/powerpoint/2010/main" val="19557575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8F681651-9904-804F-8355-78350773C1A7}" type="slidenum">
              <a:rPr lang="pt-BR" smtClean="0"/>
              <a:pPr/>
              <a:t>40</a:t>
            </a:fld>
            <a:endParaRPr lang="pt-BR" dirty="0"/>
          </a:p>
        </p:txBody>
      </p:sp>
    </p:spTree>
    <p:extLst>
      <p:ext uri="{BB962C8B-B14F-4D97-AF65-F5344CB8AC3E}">
        <p14:creationId xmlns:p14="http://schemas.microsoft.com/office/powerpoint/2010/main" val="43803026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8F681651-9904-804F-8355-78350773C1A7}" type="slidenum">
              <a:rPr lang="pt-BR" smtClean="0"/>
              <a:pPr/>
              <a:t>41</a:t>
            </a:fld>
            <a:endParaRPr lang="pt-BR" dirty="0"/>
          </a:p>
        </p:txBody>
      </p:sp>
    </p:spTree>
    <p:extLst>
      <p:ext uri="{BB962C8B-B14F-4D97-AF65-F5344CB8AC3E}">
        <p14:creationId xmlns:p14="http://schemas.microsoft.com/office/powerpoint/2010/main" val="193400505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8F681651-9904-804F-8355-78350773C1A7}" type="slidenum">
              <a:rPr lang="pt-BR" smtClean="0"/>
              <a:pPr/>
              <a:t>42</a:t>
            </a:fld>
            <a:endParaRPr lang="pt-BR" dirty="0"/>
          </a:p>
        </p:txBody>
      </p:sp>
    </p:spTree>
    <p:extLst>
      <p:ext uri="{BB962C8B-B14F-4D97-AF65-F5344CB8AC3E}">
        <p14:creationId xmlns:p14="http://schemas.microsoft.com/office/powerpoint/2010/main" val="219998238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685800" y="1143000"/>
            <a:ext cx="5486400" cy="3086100"/>
          </a:xfrm>
        </p:spPr>
      </p:sp>
      <p:sp>
        <p:nvSpPr>
          <p:cNvPr id="3" name="Marcador de notas 2"/>
          <p:cNvSpPr>
            <a:spLocks noGrp="1"/>
          </p:cNvSpPr>
          <p:nvPr>
            <p:ph type="body" idx="1"/>
          </p:nvPr>
        </p:nvSpPr>
        <p:spPr/>
        <p:txBody>
          <a:bodyPr/>
          <a:lstStyle/>
          <a:p>
            <a:endParaRPr lang="pt-BR" dirty="0"/>
          </a:p>
        </p:txBody>
      </p:sp>
      <p:sp>
        <p:nvSpPr>
          <p:cNvPr id="4" name="Marcador de número de diapositiva 3"/>
          <p:cNvSpPr>
            <a:spLocks noGrp="1"/>
          </p:cNvSpPr>
          <p:nvPr>
            <p:ph type="sldNum" sz="quarter" idx="5"/>
          </p:nvPr>
        </p:nvSpPr>
        <p:spPr/>
        <p:txBody>
          <a:bodyPr/>
          <a:lstStyle/>
          <a:p>
            <a:fld id="{8F681651-9904-804F-8355-78350773C1A7}" type="slidenum">
              <a:rPr lang="pt-BR" smtClean="0"/>
              <a:pPr/>
              <a:t>43</a:t>
            </a:fld>
            <a:endParaRPr lang="pt-BR" dirty="0"/>
          </a:p>
        </p:txBody>
      </p:sp>
    </p:spTree>
    <p:extLst>
      <p:ext uri="{BB962C8B-B14F-4D97-AF65-F5344CB8AC3E}">
        <p14:creationId xmlns:p14="http://schemas.microsoft.com/office/powerpoint/2010/main" val="244851656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6B916A-EA1A-56E3-2F1E-20BB68FF1867}"/>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2448E0C6-AFE6-9603-DEB9-8E52A9D085DB}"/>
              </a:ext>
            </a:extLst>
          </p:cNvPr>
          <p:cNvSpPr>
            <a:spLocks noGrp="1" noRot="1" noChangeAspect="1"/>
          </p:cNvSpPr>
          <p:nvPr>
            <p:ph type="sldImg"/>
          </p:nvPr>
        </p:nvSpPr>
        <p:spPr>
          <a:xfrm>
            <a:off x="685800" y="1143000"/>
            <a:ext cx="5486400" cy="3086100"/>
          </a:xfrm>
        </p:spPr>
      </p:sp>
      <p:sp>
        <p:nvSpPr>
          <p:cNvPr id="3" name="Marcador de notas 2">
            <a:extLst>
              <a:ext uri="{FF2B5EF4-FFF2-40B4-BE49-F238E27FC236}">
                <a16:creationId xmlns:a16="http://schemas.microsoft.com/office/drawing/2014/main" id="{E68AEBEE-525B-49B1-1DEF-D4A82AC6AB93}"/>
              </a:ext>
            </a:extLst>
          </p:cNvPr>
          <p:cNvSpPr>
            <a:spLocks noGrp="1"/>
          </p:cNvSpPr>
          <p:nvPr>
            <p:ph type="body" idx="1"/>
          </p:nvPr>
        </p:nvSpPr>
        <p:spPr/>
        <p:txBody>
          <a:bodyPr/>
          <a:lstStyle/>
          <a:p>
            <a:endParaRPr lang="pt-BR" dirty="0"/>
          </a:p>
        </p:txBody>
      </p:sp>
      <p:sp>
        <p:nvSpPr>
          <p:cNvPr id="4" name="Marcador de número de diapositiva 3">
            <a:extLst>
              <a:ext uri="{FF2B5EF4-FFF2-40B4-BE49-F238E27FC236}">
                <a16:creationId xmlns:a16="http://schemas.microsoft.com/office/drawing/2014/main" id="{FF512942-33AB-8A36-412D-FADDCA36E506}"/>
              </a:ext>
            </a:extLst>
          </p:cNvPr>
          <p:cNvSpPr>
            <a:spLocks noGrp="1"/>
          </p:cNvSpPr>
          <p:nvPr>
            <p:ph type="sldNum" sz="quarter" idx="5"/>
          </p:nvPr>
        </p:nvSpPr>
        <p:spPr/>
        <p:txBody>
          <a:bodyPr/>
          <a:lstStyle/>
          <a:p>
            <a:fld id="{8F681651-9904-804F-8355-78350773C1A7}" type="slidenum">
              <a:rPr lang="pt-BR" smtClean="0"/>
              <a:pPr/>
              <a:t>44</a:t>
            </a:fld>
            <a:endParaRPr lang="pt-BR" dirty="0"/>
          </a:p>
        </p:txBody>
      </p:sp>
    </p:spTree>
    <p:extLst>
      <p:ext uri="{BB962C8B-B14F-4D97-AF65-F5344CB8AC3E}">
        <p14:creationId xmlns:p14="http://schemas.microsoft.com/office/powerpoint/2010/main" val="161993089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8F681651-9904-804F-8355-78350773C1A7}" type="slidenum">
              <a:rPr lang="pt-BR" smtClean="0"/>
              <a:pPr/>
              <a:t>45</a:t>
            </a:fld>
            <a:endParaRPr lang="pt-BR" dirty="0"/>
          </a:p>
        </p:txBody>
      </p:sp>
    </p:spTree>
    <p:extLst>
      <p:ext uri="{BB962C8B-B14F-4D97-AF65-F5344CB8AC3E}">
        <p14:creationId xmlns:p14="http://schemas.microsoft.com/office/powerpoint/2010/main" val="408053324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8F681651-9904-804F-8355-78350773C1A7}" type="slidenum">
              <a:rPr lang="pt-BR" smtClean="0"/>
              <a:pPr/>
              <a:t>46</a:t>
            </a:fld>
            <a:endParaRPr lang="pt-BR" dirty="0"/>
          </a:p>
        </p:txBody>
      </p:sp>
    </p:spTree>
    <p:extLst>
      <p:ext uri="{BB962C8B-B14F-4D97-AF65-F5344CB8AC3E}">
        <p14:creationId xmlns:p14="http://schemas.microsoft.com/office/powerpoint/2010/main" val="219459064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8F681651-9904-804F-8355-78350773C1A7}" type="slidenum">
              <a:rPr lang="pt-BR" smtClean="0"/>
              <a:pPr/>
              <a:t>47</a:t>
            </a:fld>
            <a:endParaRPr lang="pt-BR" dirty="0"/>
          </a:p>
        </p:txBody>
      </p:sp>
    </p:spTree>
    <p:extLst>
      <p:ext uri="{BB962C8B-B14F-4D97-AF65-F5344CB8AC3E}">
        <p14:creationId xmlns:p14="http://schemas.microsoft.com/office/powerpoint/2010/main" val="368773983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8F681651-9904-804F-8355-78350773C1A7}" type="slidenum">
              <a:rPr lang="pt-BR" smtClean="0"/>
              <a:pPr/>
              <a:t>48</a:t>
            </a:fld>
            <a:endParaRPr lang="pt-BR" dirty="0"/>
          </a:p>
        </p:txBody>
      </p:sp>
    </p:spTree>
    <p:extLst>
      <p:ext uri="{BB962C8B-B14F-4D97-AF65-F5344CB8AC3E}">
        <p14:creationId xmlns:p14="http://schemas.microsoft.com/office/powerpoint/2010/main" val="239069849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8F681651-9904-804F-8355-78350773C1A7}" type="slidenum">
              <a:rPr lang="pt-BR" smtClean="0"/>
              <a:pPr/>
              <a:t>49</a:t>
            </a:fld>
            <a:endParaRPr lang="pt-BR" dirty="0"/>
          </a:p>
        </p:txBody>
      </p:sp>
    </p:spTree>
    <p:extLst>
      <p:ext uri="{BB962C8B-B14F-4D97-AF65-F5344CB8AC3E}">
        <p14:creationId xmlns:p14="http://schemas.microsoft.com/office/powerpoint/2010/main" val="21928136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E9DCBB-7D01-5949-0882-38B9D5FFE2C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25F97E6-D0A5-DE07-358A-39DF620AC6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F261E31-1217-E36E-8E4B-16BF14AA44E9}"/>
              </a:ext>
            </a:extLst>
          </p:cNvPr>
          <p:cNvSpPr>
            <a:spLocks noGrp="1"/>
          </p:cNvSpPr>
          <p:nvPr>
            <p:ph type="body" idx="1"/>
          </p:nvPr>
        </p:nvSpPr>
        <p:spPr/>
        <p:txBody>
          <a:bodyPr/>
          <a:lstStyle/>
          <a:p>
            <a:endParaRPr lang="pt-BR" dirty="0"/>
          </a:p>
        </p:txBody>
      </p:sp>
      <p:sp>
        <p:nvSpPr>
          <p:cNvPr id="4" name="Slide Number Placeholder 3">
            <a:extLst>
              <a:ext uri="{FF2B5EF4-FFF2-40B4-BE49-F238E27FC236}">
                <a16:creationId xmlns:a16="http://schemas.microsoft.com/office/drawing/2014/main" id="{2F2CDC35-420B-A65E-9551-91AFA9436651}"/>
              </a:ext>
            </a:extLst>
          </p:cNvPr>
          <p:cNvSpPr>
            <a:spLocks noGrp="1"/>
          </p:cNvSpPr>
          <p:nvPr>
            <p:ph type="sldNum" sz="quarter" idx="5"/>
          </p:nvPr>
        </p:nvSpPr>
        <p:spPr/>
        <p:txBody>
          <a:bodyPr/>
          <a:lstStyle/>
          <a:p>
            <a:fld id="{8F681651-9904-804F-8355-78350773C1A7}" type="slidenum">
              <a:rPr lang="pt-BR" smtClean="0"/>
              <a:pPr/>
              <a:t>5</a:t>
            </a:fld>
            <a:endParaRPr lang="pt-BR" dirty="0"/>
          </a:p>
        </p:txBody>
      </p:sp>
    </p:spTree>
    <p:extLst>
      <p:ext uri="{BB962C8B-B14F-4D97-AF65-F5344CB8AC3E}">
        <p14:creationId xmlns:p14="http://schemas.microsoft.com/office/powerpoint/2010/main" val="341559439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8F681651-9904-804F-8355-78350773C1A7}" type="slidenum">
              <a:rPr lang="pt-BR" smtClean="0"/>
              <a:pPr/>
              <a:t>50</a:t>
            </a:fld>
            <a:endParaRPr lang="pt-BR" dirty="0"/>
          </a:p>
        </p:txBody>
      </p:sp>
    </p:spTree>
    <p:extLst>
      <p:ext uri="{BB962C8B-B14F-4D97-AF65-F5344CB8AC3E}">
        <p14:creationId xmlns:p14="http://schemas.microsoft.com/office/powerpoint/2010/main" val="29321533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8F681651-9904-804F-8355-78350773C1A7}" type="slidenum">
              <a:rPr lang="pt-BR" smtClean="0"/>
              <a:pPr/>
              <a:t>51</a:t>
            </a:fld>
            <a:endParaRPr lang="pt-BR" dirty="0"/>
          </a:p>
        </p:txBody>
      </p:sp>
    </p:spTree>
    <p:extLst>
      <p:ext uri="{BB962C8B-B14F-4D97-AF65-F5344CB8AC3E}">
        <p14:creationId xmlns:p14="http://schemas.microsoft.com/office/powerpoint/2010/main" val="90507020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8F681651-9904-804F-8355-78350773C1A7}" type="slidenum">
              <a:rPr lang="pt-BR" smtClean="0"/>
              <a:pPr/>
              <a:t>52</a:t>
            </a:fld>
            <a:endParaRPr lang="pt-BR" dirty="0"/>
          </a:p>
        </p:txBody>
      </p:sp>
    </p:spTree>
    <p:extLst>
      <p:ext uri="{BB962C8B-B14F-4D97-AF65-F5344CB8AC3E}">
        <p14:creationId xmlns:p14="http://schemas.microsoft.com/office/powerpoint/2010/main" val="15405690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8F681651-9904-804F-8355-78350773C1A7}" type="slidenum">
              <a:rPr lang="pt-BR" smtClean="0"/>
              <a:pPr/>
              <a:t>53</a:t>
            </a:fld>
            <a:endParaRPr lang="pt-BR" dirty="0"/>
          </a:p>
        </p:txBody>
      </p:sp>
    </p:spTree>
    <p:extLst>
      <p:ext uri="{BB962C8B-B14F-4D97-AF65-F5344CB8AC3E}">
        <p14:creationId xmlns:p14="http://schemas.microsoft.com/office/powerpoint/2010/main" val="69583332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8F681651-9904-804F-8355-78350773C1A7}" type="slidenum">
              <a:rPr lang="pt-BR" smtClean="0"/>
              <a:pPr/>
              <a:t>54</a:t>
            </a:fld>
            <a:endParaRPr lang="pt-BR" dirty="0"/>
          </a:p>
        </p:txBody>
      </p:sp>
    </p:spTree>
    <p:extLst>
      <p:ext uri="{BB962C8B-B14F-4D97-AF65-F5344CB8AC3E}">
        <p14:creationId xmlns:p14="http://schemas.microsoft.com/office/powerpoint/2010/main" val="127469572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8F681651-9904-804F-8355-78350773C1A7}" type="slidenum">
              <a:rPr lang="pt-BR" smtClean="0"/>
              <a:pPr/>
              <a:t>55</a:t>
            </a:fld>
            <a:endParaRPr lang="pt-BR" dirty="0"/>
          </a:p>
        </p:txBody>
      </p:sp>
    </p:spTree>
    <p:extLst>
      <p:ext uri="{BB962C8B-B14F-4D97-AF65-F5344CB8AC3E}">
        <p14:creationId xmlns:p14="http://schemas.microsoft.com/office/powerpoint/2010/main" val="83010192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8F681651-9904-804F-8355-78350773C1A7}" type="slidenum">
              <a:rPr lang="pt-BR" smtClean="0"/>
              <a:pPr/>
              <a:t>56</a:t>
            </a:fld>
            <a:endParaRPr lang="pt-BR" dirty="0"/>
          </a:p>
        </p:txBody>
      </p:sp>
    </p:spTree>
    <p:extLst>
      <p:ext uri="{BB962C8B-B14F-4D97-AF65-F5344CB8AC3E}">
        <p14:creationId xmlns:p14="http://schemas.microsoft.com/office/powerpoint/2010/main" val="428112493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8F681651-9904-804F-8355-78350773C1A7}" type="slidenum">
              <a:rPr lang="pt-BR" smtClean="0"/>
              <a:pPr/>
              <a:t>57</a:t>
            </a:fld>
            <a:endParaRPr lang="pt-BR" dirty="0"/>
          </a:p>
        </p:txBody>
      </p:sp>
    </p:spTree>
    <p:extLst>
      <p:ext uri="{BB962C8B-B14F-4D97-AF65-F5344CB8AC3E}">
        <p14:creationId xmlns:p14="http://schemas.microsoft.com/office/powerpoint/2010/main" val="201845239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8F681651-9904-804F-8355-78350773C1A7}" type="slidenum">
              <a:rPr lang="pt-BR" smtClean="0"/>
              <a:pPr/>
              <a:t>58</a:t>
            </a:fld>
            <a:endParaRPr lang="pt-BR" dirty="0"/>
          </a:p>
        </p:txBody>
      </p:sp>
    </p:spTree>
    <p:extLst>
      <p:ext uri="{BB962C8B-B14F-4D97-AF65-F5344CB8AC3E}">
        <p14:creationId xmlns:p14="http://schemas.microsoft.com/office/powerpoint/2010/main" val="61978120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8F681651-9904-804F-8355-78350773C1A7}" type="slidenum">
              <a:rPr lang="pt-BR" smtClean="0"/>
              <a:pPr/>
              <a:t>59</a:t>
            </a:fld>
            <a:endParaRPr lang="pt-BR" dirty="0"/>
          </a:p>
        </p:txBody>
      </p:sp>
    </p:spTree>
    <p:extLst>
      <p:ext uri="{BB962C8B-B14F-4D97-AF65-F5344CB8AC3E}">
        <p14:creationId xmlns:p14="http://schemas.microsoft.com/office/powerpoint/2010/main" val="34454898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F0ADB7-005C-3E4C-B984-073E33CE493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41286AF-BDC3-1AC3-6ED2-17B52541206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623A5A-763C-48E8-8CA6-CCDF21A7B56D}"/>
              </a:ext>
            </a:extLst>
          </p:cNvPr>
          <p:cNvSpPr>
            <a:spLocks noGrp="1"/>
          </p:cNvSpPr>
          <p:nvPr>
            <p:ph type="body" idx="1"/>
          </p:nvPr>
        </p:nvSpPr>
        <p:spPr/>
        <p:txBody>
          <a:bodyPr/>
          <a:lstStyle/>
          <a:p>
            <a:endParaRPr lang="pt-BR" dirty="0"/>
          </a:p>
        </p:txBody>
      </p:sp>
      <p:sp>
        <p:nvSpPr>
          <p:cNvPr id="4" name="Slide Number Placeholder 3">
            <a:extLst>
              <a:ext uri="{FF2B5EF4-FFF2-40B4-BE49-F238E27FC236}">
                <a16:creationId xmlns:a16="http://schemas.microsoft.com/office/drawing/2014/main" id="{CA47F36A-53C8-A4F3-2AAF-642B52E6AE79}"/>
              </a:ext>
            </a:extLst>
          </p:cNvPr>
          <p:cNvSpPr>
            <a:spLocks noGrp="1"/>
          </p:cNvSpPr>
          <p:nvPr>
            <p:ph type="sldNum" sz="quarter" idx="5"/>
          </p:nvPr>
        </p:nvSpPr>
        <p:spPr/>
        <p:txBody>
          <a:bodyPr/>
          <a:lstStyle/>
          <a:p>
            <a:fld id="{8F681651-9904-804F-8355-78350773C1A7}" type="slidenum">
              <a:rPr lang="pt-BR" smtClean="0"/>
              <a:pPr/>
              <a:t>6</a:t>
            </a:fld>
            <a:endParaRPr lang="pt-BR" dirty="0"/>
          </a:p>
        </p:txBody>
      </p:sp>
    </p:spTree>
    <p:extLst>
      <p:ext uri="{BB962C8B-B14F-4D97-AF65-F5344CB8AC3E}">
        <p14:creationId xmlns:p14="http://schemas.microsoft.com/office/powerpoint/2010/main" val="302538083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8F681651-9904-804F-8355-78350773C1A7}" type="slidenum">
              <a:rPr lang="pt-BR" smtClean="0"/>
              <a:pPr/>
              <a:t>60</a:t>
            </a:fld>
            <a:endParaRPr lang="pt-BR" dirty="0"/>
          </a:p>
        </p:txBody>
      </p:sp>
    </p:spTree>
    <p:extLst>
      <p:ext uri="{BB962C8B-B14F-4D97-AF65-F5344CB8AC3E}">
        <p14:creationId xmlns:p14="http://schemas.microsoft.com/office/powerpoint/2010/main" val="265574317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8F681651-9904-804F-8355-78350773C1A7}" type="slidenum">
              <a:rPr lang="pt-BR" smtClean="0"/>
              <a:pPr/>
              <a:t>61</a:t>
            </a:fld>
            <a:endParaRPr lang="pt-BR" dirty="0"/>
          </a:p>
        </p:txBody>
      </p:sp>
    </p:spTree>
    <p:extLst>
      <p:ext uri="{BB962C8B-B14F-4D97-AF65-F5344CB8AC3E}">
        <p14:creationId xmlns:p14="http://schemas.microsoft.com/office/powerpoint/2010/main" val="145774314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8F681651-9904-804F-8355-78350773C1A7}" type="slidenum">
              <a:rPr lang="pt-BR" smtClean="0"/>
              <a:pPr/>
              <a:t>62</a:t>
            </a:fld>
            <a:endParaRPr lang="pt-BR" dirty="0"/>
          </a:p>
        </p:txBody>
      </p:sp>
    </p:spTree>
    <p:extLst>
      <p:ext uri="{BB962C8B-B14F-4D97-AF65-F5344CB8AC3E}">
        <p14:creationId xmlns:p14="http://schemas.microsoft.com/office/powerpoint/2010/main" val="288965510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8F681651-9904-804F-8355-78350773C1A7}" type="slidenum">
              <a:rPr lang="pt-BR" smtClean="0"/>
              <a:pPr/>
              <a:t>63</a:t>
            </a:fld>
            <a:endParaRPr lang="pt-BR" dirty="0"/>
          </a:p>
        </p:txBody>
      </p:sp>
    </p:spTree>
    <p:extLst>
      <p:ext uri="{BB962C8B-B14F-4D97-AF65-F5344CB8AC3E}">
        <p14:creationId xmlns:p14="http://schemas.microsoft.com/office/powerpoint/2010/main" val="237202378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6D4BEF-B88E-E20D-B439-E260202A247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81D5D7A-2ADD-CF27-760F-33584561C4D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9F57ACF-32A3-CA6A-2B30-B41DA45F802D}"/>
              </a:ext>
            </a:extLst>
          </p:cNvPr>
          <p:cNvSpPr>
            <a:spLocks noGrp="1"/>
          </p:cNvSpPr>
          <p:nvPr>
            <p:ph type="body" idx="1"/>
          </p:nvPr>
        </p:nvSpPr>
        <p:spPr/>
        <p:txBody>
          <a:bodyPr/>
          <a:lstStyle/>
          <a:p>
            <a:endParaRPr lang="pt-BR" dirty="0"/>
          </a:p>
        </p:txBody>
      </p:sp>
      <p:sp>
        <p:nvSpPr>
          <p:cNvPr id="4" name="Slide Number Placeholder 3">
            <a:extLst>
              <a:ext uri="{FF2B5EF4-FFF2-40B4-BE49-F238E27FC236}">
                <a16:creationId xmlns:a16="http://schemas.microsoft.com/office/drawing/2014/main" id="{F6A35A4B-4571-C877-1544-82E2FDC13571}"/>
              </a:ext>
            </a:extLst>
          </p:cNvPr>
          <p:cNvSpPr>
            <a:spLocks noGrp="1"/>
          </p:cNvSpPr>
          <p:nvPr>
            <p:ph type="sldNum" sz="quarter" idx="5"/>
          </p:nvPr>
        </p:nvSpPr>
        <p:spPr/>
        <p:txBody>
          <a:bodyPr/>
          <a:lstStyle/>
          <a:p>
            <a:fld id="{8F681651-9904-804F-8355-78350773C1A7}" type="slidenum">
              <a:rPr lang="pt-BR" smtClean="0"/>
              <a:pPr/>
              <a:t>64</a:t>
            </a:fld>
            <a:endParaRPr lang="pt-BR" dirty="0"/>
          </a:p>
        </p:txBody>
      </p:sp>
    </p:spTree>
    <p:extLst>
      <p:ext uri="{BB962C8B-B14F-4D97-AF65-F5344CB8AC3E}">
        <p14:creationId xmlns:p14="http://schemas.microsoft.com/office/powerpoint/2010/main" val="93396061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FE1A8D-4BC5-7050-D810-93EFBF5F7D2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85A90B-CC2C-4183-1A39-C2BEA4DC8B2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3951D75-DA14-6171-87C5-1970CD6D2992}"/>
              </a:ext>
            </a:extLst>
          </p:cNvPr>
          <p:cNvSpPr>
            <a:spLocks noGrp="1"/>
          </p:cNvSpPr>
          <p:nvPr>
            <p:ph type="body" idx="1"/>
          </p:nvPr>
        </p:nvSpPr>
        <p:spPr/>
        <p:txBody>
          <a:bodyPr/>
          <a:lstStyle/>
          <a:p>
            <a:endParaRPr lang="pt-BR" dirty="0"/>
          </a:p>
        </p:txBody>
      </p:sp>
      <p:sp>
        <p:nvSpPr>
          <p:cNvPr id="4" name="Slide Number Placeholder 3">
            <a:extLst>
              <a:ext uri="{FF2B5EF4-FFF2-40B4-BE49-F238E27FC236}">
                <a16:creationId xmlns:a16="http://schemas.microsoft.com/office/drawing/2014/main" id="{299328AB-EC13-D8F2-74C3-E4D04626711D}"/>
              </a:ext>
            </a:extLst>
          </p:cNvPr>
          <p:cNvSpPr>
            <a:spLocks noGrp="1"/>
          </p:cNvSpPr>
          <p:nvPr>
            <p:ph type="sldNum" sz="quarter" idx="5"/>
          </p:nvPr>
        </p:nvSpPr>
        <p:spPr/>
        <p:txBody>
          <a:bodyPr/>
          <a:lstStyle/>
          <a:p>
            <a:fld id="{8F681651-9904-804F-8355-78350773C1A7}" type="slidenum">
              <a:rPr lang="pt-BR" smtClean="0"/>
              <a:pPr/>
              <a:t>65</a:t>
            </a:fld>
            <a:endParaRPr lang="pt-BR" dirty="0"/>
          </a:p>
        </p:txBody>
      </p:sp>
    </p:spTree>
    <p:extLst>
      <p:ext uri="{BB962C8B-B14F-4D97-AF65-F5344CB8AC3E}">
        <p14:creationId xmlns:p14="http://schemas.microsoft.com/office/powerpoint/2010/main" val="214733982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8F681651-9904-804F-8355-78350773C1A7}" type="slidenum">
              <a:rPr lang="pt-BR" smtClean="0"/>
              <a:pPr/>
              <a:t>66</a:t>
            </a:fld>
            <a:endParaRPr lang="pt-BR" dirty="0"/>
          </a:p>
        </p:txBody>
      </p:sp>
    </p:spTree>
    <p:extLst>
      <p:ext uri="{BB962C8B-B14F-4D97-AF65-F5344CB8AC3E}">
        <p14:creationId xmlns:p14="http://schemas.microsoft.com/office/powerpoint/2010/main" val="408747800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D435A8-8BE1-E656-528E-A62ADAAE3CD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8A822B9-3F2D-3618-3950-7EFDCC68505F}"/>
              </a:ext>
            </a:extLst>
          </p:cNvPr>
          <p:cNvSpPr>
            <a:spLocks noGrp="1" noRot="1" noChangeAspect="1"/>
          </p:cNvSpPr>
          <p:nvPr>
            <p:ph type="sldImg"/>
          </p:nvPr>
        </p:nvSpPr>
        <p:spPr>
          <a:xfrm>
            <a:off x="50800" y="274638"/>
            <a:ext cx="4733925" cy="2662237"/>
          </a:xfrm>
        </p:spPr>
      </p:sp>
      <p:sp>
        <p:nvSpPr>
          <p:cNvPr id="3" name="Notes Placeholder 2">
            <a:extLst>
              <a:ext uri="{FF2B5EF4-FFF2-40B4-BE49-F238E27FC236}">
                <a16:creationId xmlns:a16="http://schemas.microsoft.com/office/drawing/2014/main" id="{22FFA9B1-FCB3-945F-01E6-FFA93DC1A24E}"/>
              </a:ext>
            </a:extLst>
          </p:cNvPr>
          <p:cNvSpPr>
            <a:spLocks noGrp="1"/>
          </p:cNvSpPr>
          <p:nvPr>
            <p:ph type="body" idx="1"/>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pt-BR"/>
              <a:t>     </a:t>
            </a:r>
          </a:p>
          <a:p>
            <a:endParaRPr lang="pt-BR" dirty="0"/>
          </a:p>
        </p:txBody>
      </p:sp>
      <p:sp>
        <p:nvSpPr>
          <p:cNvPr id="4" name="Slide Number Placeholder 3">
            <a:extLst>
              <a:ext uri="{FF2B5EF4-FFF2-40B4-BE49-F238E27FC236}">
                <a16:creationId xmlns:a16="http://schemas.microsoft.com/office/drawing/2014/main" id="{2889EAFD-8DB4-7922-5306-42A13D9C932B}"/>
              </a:ext>
            </a:extLst>
          </p:cNvPr>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436E8A87-18DA-4CCE-A8C2-BDBC489258C6}" type="slidenum">
              <a:rPr kumimoji="0" lang="pt-BR" sz="1200" u="none" strike="noStrike" kern="1200" cap="none" spc="0" normalizeH="0" baseline="0" noProof="0" smtClean="0">
                <a:ln>
                  <a:noFill/>
                </a:ln>
                <a:solidFill>
                  <a:prstClr val="black"/>
                </a:solidFill>
                <a:effectLst/>
                <a:uLnTx/>
                <a:uFillTx/>
                <a:ea typeface="+mn-ea"/>
                <a:cs typeface="+mn-cs"/>
              </a:rPr>
              <a:pPr marL="0" marR="0" lvl="0" indent="0" algn="r" defTabSz="914400" eaLnBrk="1" fontAlgn="auto" latinLnBrk="0" hangingPunct="1">
                <a:lnSpc>
                  <a:spcPct val="100000"/>
                </a:lnSpc>
                <a:spcBef>
                  <a:spcPts val="0"/>
                </a:spcBef>
                <a:spcAft>
                  <a:spcPts val="0"/>
                </a:spcAft>
                <a:buClrTx/>
                <a:buSzTx/>
                <a:buFontTx/>
                <a:buNone/>
                <a:tabLst/>
                <a:defRPr/>
              </a:pPr>
              <a:t>67</a:t>
            </a:fld>
            <a:endParaRPr kumimoji="0" lang="pt-BR" sz="120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326689072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8F681651-9904-804F-8355-78350773C1A7}" type="slidenum">
              <a:rPr lang="pt-BR" smtClean="0"/>
              <a:pPr/>
              <a:t>68</a:t>
            </a:fld>
            <a:endParaRPr lang="pt-BR" dirty="0"/>
          </a:p>
        </p:txBody>
      </p:sp>
    </p:spTree>
    <p:extLst>
      <p:ext uri="{BB962C8B-B14F-4D97-AF65-F5344CB8AC3E}">
        <p14:creationId xmlns:p14="http://schemas.microsoft.com/office/powerpoint/2010/main" val="260999622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8F681651-9904-804F-8355-78350773C1A7}" type="slidenum">
              <a:rPr lang="pt-BR" smtClean="0"/>
              <a:pPr/>
              <a:t>69</a:t>
            </a:fld>
            <a:endParaRPr lang="pt-BR" dirty="0"/>
          </a:p>
        </p:txBody>
      </p:sp>
    </p:spTree>
    <p:extLst>
      <p:ext uri="{BB962C8B-B14F-4D97-AF65-F5344CB8AC3E}">
        <p14:creationId xmlns:p14="http://schemas.microsoft.com/office/powerpoint/2010/main" val="21565749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E13B40-3F79-4E9B-E242-1ED19967419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2B2B650-156C-994B-7E10-4E93595090C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EAAE9F6-C3D2-2DFC-3D00-C15C8B4DB561}"/>
              </a:ext>
            </a:extLst>
          </p:cNvPr>
          <p:cNvSpPr>
            <a:spLocks noGrp="1"/>
          </p:cNvSpPr>
          <p:nvPr>
            <p:ph type="body" idx="1"/>
          </p:nvPr>
        </p:nvSpPr>
        <p:spPr/>
        <p:txBody>
          <a:bodyPr/>
          <a:lstStyle/>
          <a:p>
            <a:endParaRPr lang="pt-BR" dirty="0"/>
          </a:p>
        </p:txBody>
      </p:sp>
      <p:sp>
        <p:nvSpPr>
          <p:cNvPr id="4" name="Slide Number Placeholder 3">
            <a:extLst>
              <a:ext uri="{FF2B5EF4-FFF2-40B4-BE49-F238E27FC236}">
                <a16:creationId xmlns:a16="http://schemas.microsoft.com/office/drawing/2014/main" id="{A498775B-A9F2-177C-1AB6-3EA1D972471C}"/>
              </a:ext>
            </a:extLst>
          </p:cNvPr>
          <p:cNvSpPr>
            <a:spLocks noGrp="1"/>
          </p:cNvSpPr>
          <p:nvPr>
            <p:ph type="sldNum" sz="quarter" idx="5"/>
          </p:nvPr>
        </p:nvSpPr>
        <p:spPr/>
        <p:txBody>
          <a:bodyPr/>
          <a:lstStyle/>
          <a:p>
            <a:fld id="{8F681651-9904-804F-8355-78350773C1A7}" type="slidenum">
              <a:rPr lang="pt-BR" smtClean="0"/>
              <a:pPr/>
              <a:t>7</a:t>
            </a:fld>
            <a:endParaRPr lang="pt-BR" dirty="0"/>
          </a:p>
        </p:txBody>
      </p:sp>
    </p:spTree>
    <p:extLst>
      <p:ext uri="{BB962C8B-B14F-4D97-AF65-F5344CB8AC3E}">
        <p14:creationId xmlns:p14="http://schemas.microsoft.com/office/powerpoint/2010/main" val="333296754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8F681651-9904-804F-8355-78350773C1A7}" type="slidenum">
              <a:rPr lang="pt-BR" smtClean="0"/>
              <a:pPr/>
              <a:t>70</a:t>
            </a:fld>
            <a:endParaRPr lang="pt-BR" dirty="0"/>
          </a:p>
        </p:txBody>
      </p:sp>
    </p:spTree>
    <p:extLst>
      <p:ext uri="{BB962C8B-B14F-4D97-AF65-F5344CB8AC3E}">
        <p14:creationId xmlns:p14="http://schemas.microsoft.com/office/powerpoint/2010/main" val="2158219356"/>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8F681651-9904-804F-8355-78350773C1A7}" type="slidenum">
              <a:rPr lang="pt-BR" smtClean="0"/>
              <a:pPr/>
              <a:t>71</a:t>
            </a:fld>
            <a:endParaRPr lang="pt-BR" dirty="0"/>
          </a:p>
        </p:txBody>
      </p:sp>
    </p:spTree>
    <p:extLst>
      <p:ext uri="{BB962C8B-B14F-4D97-AF65-F5344CB8AC3E}">
        <p14:creationId xmlns:p14="http://schemas.microsoft.com/office/powerpoint/2010/main" val="347435511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pt-BR"/>
              <a:t>     </a:t>
            </a:r>
          </a:p>
          <a:p>
            <a:endParaRPr lang="pt-BR" dirty="0"/>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436E8A87-18DA-4CCE-A8C2-BDBC489258C6}" type="slidenum">
              <a:rPr kumimoji="0" lang="pt-BR" sz="1200" u="none" strike="noStrike" kern="1200" cap="none" spc="0" normalizeH="0" baseline="0" noProof="0" smtClean="0">
                <a:ln>
                  <a:noFill/>
                </a:ln>
                <a:solidFill>
                  <a:prstClr val="black"/>
                </a:solidFill>
                <a:effectLst/>
                <a:uLnTx/>
                <a:uFillTx/>
                <a:ea typeface="+mn-ea"/>
                <a:cs typeface="+mn-cs"/>
              </a:rPr>
              <a:pPr marL="0" marR="0" lvl="0" indent="0" algn="r" defTabSz="914400" eaLnBrk="1" fontAlgn="auto" latinLnBrk="0" hangingPunct="1">
                <a:lnSpc>
                  <a:spcPct val="100000"/>
                </a:lnSpc>
                <a:spcBef>
                  <a:spcPts val="0"/>
                </a:spcBef>
                <a:spcAft>
                  <a:spcPts val="0"/>
                </a:spcAft>
                <a:buClrTx/>
                <a:buSzTx/>
                <a:buFontTx/>
                <a:buNone/>
                <a:tabLst/>
                <a:defRPr/>
              </a:pPr>
              <a:t>72</a:t>
            </a:fld>
            <a:endParaRPr kumimoji="0" lang="pt-BR" sz="120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349692284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pt-BR"/>
              <a:t>     </a:t>
            </a:r>
          </a:p>
          <a:p>
            <a:endParaRPr lang="pt-BR" dirty="0"/>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436E8A87-18DA-4CCE-A8C2-BDBC489258C6}" type="slidenum">
              <a:rPr kumimoji="0" lang="pt-BR" sz="1200" u="none" strike="noStrike" kern="1200" cap="none" spc="0" normalizeH="0" baseline="0" noProof="0" smtClean="0">
                <a:ln>
                  <a:noFill/>
                </a:ln>
                <a:solidFill>
                  <a:prstClr val="black"/>
                </a:solidFill>
                <a:effectLst/>
                <a:uLnTx/>
                <a:uFillTx/>
                <a:ea typeface="+mn-ea"/>
                <a:cs typeface="+mn-cs"/>
              </a:rPr>
              <a:pPr marL="0" marR="0" lvl="0" indent="0" algn="r" defTabSz="914400" eaLnBrk="1" fontAlgn="auto" latinLnBrk="0" hangingPunct="1">
                <a:lnSpc>
                  <a:spcPct val="100000"/>
                </a:lnSpc>
                <a:spcBef>
                  <a:spcPts val="0"/>
                </a:spcBef>
                <a:spcAft>
                  <a:spcPts val="0"/>
                </a:spcAft>
                <a:buClrTx/>
                <a:buSzTx/>
                <a:buFontTx/>
                <a:buNone/>
                <a:tabLst/>
                <a:defRPr/>
              </a:pPr>
              <a:t>73</a:t>
            </a:fld>
            <a:endParaRPr kumimoji="0" lang="pt-BR" sz="120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4252369211"/>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8F681651-9904-804F-8355-78350773C1A7}" type="slidenum">
              <a:rPr lang="pt-BR" smtClean="0"/>
              <a:pPr/>
              <a:t>74</a:t>
            </a:fld>
            <a:endParaRPr lang="pt-BR" dirty="0"/>
          </a:p>
        </p:txBody>
      </p:sp>
    </p:spTree>
    <p:extLst>
      <p:ext uri="{BB962C8B-B14F-4D97-AF65-F5344CB8AC3E}">
        <p14:creationId xmlns:p14="http://schemas.microsoft.com/office/powerpoint/2010/main" val="38241745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8F681651-9904-804F-8355-78350773C1A7}" type="slidenum">
              <a:rPr lang="pt-BR" smtClean="0"/>
              <a:pPr/>
              <a:t>75</a:t>
            </a:fld>
            <a:endParaRPr lang="pt-BR" dirty="0"/>
          </a:p>
        </p:txBody>
      </p:sp>
    </p:spTree>
    <p:extLst>
      <p:ext uri="{BB962C8B-B14F-4D97-AF65-F5344CB8AC3E}">
        <p14:creationId xmlns:p14="http://schemas.microsoft.com/office/powerpoint/2010/main" val="192141702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8F681651-9904-804F-8355-78350773C1A7}" type="slidenum">
              <a:rPr lang="pt-BR" smtClean="0"/>
              <a:pPr/>
              <a:t>76</a:t>
            </a:fld>
            <a:endParaRPr lang="pt-BR" dirty="0"/>
          </a:p>
        </p:txBody>
      </p:sp>
    </p:spTree>
    <p:extLst>
      <p:ext uri="{BB962C8B-B14F-4D97-AF65-F5344CB8AC3E}">
        <p14:creationId xmlns:p14="http://schemas.microsoft.com/office/powerpoint/2010/main" val="4276946316"/>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8F681651-9904-804F-8355-78350773C1A7}" type="slidenum">
              <a:rPr lang="pt-BR" smtClean="0"/>
              <a:pPr/>
              <a:t>77</a:t>
            </a:fld>
            <a:endParaRPr lang="pt-BR" dirty="0"/>
          </a:p>
        </p:txBody>
      </p:sp>
    </p:spTree>
    <p:extLst>
      <p:ext uri="{BB962C8B-B14F-4D97-AF65-F5344CB8AC3E}">
        <p14:creationId xmlns:p14="http://schemas.microsoft.com/office/powerpoint/2010/main" val="1345241748"/>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8F681651-9904-804F-8355-78350773C1A7}" type="slidenum">
              <a:rPr lang="pt-BR" smtClean="0"/>
              <a:pPr/>
              <a:t>78</a:t>
            </a:fld>
            <a:endParaRPr lang="pt-BR" dirty="0"/>
          </a:p>
        </p:txBody>
      </p:sp>
    </p:spTree>
    <p:extLst>
      <p:ext uri="{BB962C8B-B14F-4D97-AF65-F5344CB8AC3E}">
        <p14:creationId xmlns:p14="http://schemas.microsoft.com/office/powerpoint/2010/main" val="2555469030"/>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8F681651-9904-804F-8355-78350773C1A7}" type="slidenum">
              <a:rPr lang="pt-BR" smtClean="0"/>
              <a:pPr/>
              <a:t>79</a:t>
            </a:fld>
            <a:endParaRPr lang="pt-BR" dirty="0"/>
          </a:p>
        </p:txBody>
      </p:sp>
    </p:spTree>
    <p:extLst>
      <p:ext uri="{BB962C8B-B14F-4D97-AF65-F5344CB8AC3E}">
        <p14:creationId xmlns:p14="http://schemas.microsoft.com/office/powerpoint/2010/main" val="36862513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8F681651-9904-804F-8355-78350773C1A7}" type="slidenum">
              <a:rPr lang="pt-BR" smtClean="0"/>
              <a:pPr/>
              <a:t>8</a:t>
            </a:fld>
            <a:endParaRPr lang="pt-BR" dirty="0"/>
          </a:p>
        </p:txBody>
      </p:sp>
    </p:spTree>
    <p:extLst>
      <p:ext uri="{BB962C8B-B14F-4D97-AF65-F5344CB8AC3E}">
        <p14:creationId xmlns:p14="http://schemas.microsoft.com/office/powerpoint/2010/main" val="3044636457"/>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8F681651-9904-804F-8355-78350773C1A7}" type="slidenum">
              <a:rPr lang="pt-BR" smtClean="0"/>
              <a:pPr/>
              <a:t>80</a:t>
            </a:fld>
            <a:endParaRPr lang="pt-BR" dirty="0"/>
          </a:p>
        </p:txBody>
      </p:sp>
    </p:spTree>
    <p:extLst>
      <p:ext uri="{BB962C8B-B14F-4D97-AF65-F5344CB8AC3E}">
        <p14:creationId xmlns:p14="http://schemas.microsoft.com/office/powerpoint/2010/main" val="157908076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112713" marR="0" lvl="0" indent="-112713" algn="l" defTabSz="914400" eaLnBrk="1" fontAlgn="auto" latinLnBrk="0" hangingPunct="1">
              <a:lnSpc>
                <a:spcPct val="100000"/>
              </a:lnSpc>
              <a:spcBef>
                <a:spcPts val="0"/>
              </a:spcBef>
              <a:spcAft>
                <a:spcPts val="0"/>
              </a:spcAft>
              <a:buClrTx/>
              <a:buSzTx/>
              <a:tabLst/>
              <a:defRPr/>
            </a:pPr>
            <a:r>
              <a:rPr lang="pt-BR"/>
              <a:t>Ensure the titles</a:t>
            </a:r>
            <a:r>
              <a:rPr lang="pt-BR" baseline="0"/>
              <a:t> are not duplicated. Please check the set of best practices.</a:t>
            </a:r>
            <a:endParaRPr lang="pt-BR"/>
          </a:p>
          <a:p>
            <a:pPr marL="0" marR="0" lvl="0" indent="0" algn="l" defTabSz="914400" eaLnBrk="1" fontAlgn="auto" latinLnBrk="0" hangingPunct="1">
              <a:lnSpc>
                <a:spcPct val="100000"/>
              </a:lnSpc>
              <a:spcBef>
                <a:spcPts val="0"/>
              </a:spcBef>
              <a:spcAft>
                <a:spcPts val="0"/>
              </a:spcAft>
              <a:buClrTx/>
              <a:buSzTx/>
              <a:buFontTx/>
              <a:buNone/>
              <a:tabLst/>
              <a:defRPr/>
            </a:pPr>
            <a:endParaRPr lang="pt-BR"/>
          </a:p>
          <a:p>
            <a:endParaRPr lang="pt-BR" dirty="0"/>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436E8A87-18DA-4CCE-A8C2-BDBC489258C6}" type="slidenum">
              <a:rPr kumimoji="0" lang="pt-BR" sz="1200" u="none" strike="noStrike" kern="1200" cap="none" spc="0" normalizeH="0" baseline="0" noProof="0" smtClean="0">
                <a:ln>
                  <a:noFill/>
                </a:ln>
                <a:solidFill>
                  <a:prstClr val="black"/>
                </a:solidFill>
                <a:effectLst/>
                <a:uLnTx/>
                <a:uFillTx/>
                <a:ea typeface="+mn-ea"/>
                <a:cs typeface="+mn-cs"/>
              </a:rPr>
              <a:pPr marL="0" marR="0" lvl="0" indent="0" algn="r" defTabSz="914400" eaLnBrk="1" fontAlgn="auto" latinLnBrk="0" hangingPunct="1">
                <a:lnSpc>
                  <a:spcPct val="100000"/>
                </a:lnSpc>
                <a:spcBef>
                  <a:spcPts val="0"/>
                </a:spcBef>
                <a:spcAft>
                  <a:spcPts val="0"/>
                </a:spcAft>
                <a:buClrTx/>
                <a:buSzTx/>
                <a:buFontTx/>
                <a:buNone/>
                <a:tabLst/>
                <a:defRPr/>
              </a:pPr>
              <a:t>81</a:t>
            </a:fld>
            <a:endParaRPr kumimoji="0" lang="pt-BR" sz="120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603471784"/>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pt-BR"/>
              <a:t>     </a:t>
            </a:r>
          </a:p>
          <a:p>
            <a:endParaRPr lang="pt-BR" dirty="0"/>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436E8A87-18DA-4CCE-A8C2-BDBC489258C6}" type="slidenum">
              <a:rPr kumimoji="0" lang="pt-BR" sz="1200" u="none" strike="noStrike" kern="1200" cap="none" spc="0" normalizeH="0" baseline="0" noProof="0" smtClean="0">
                <a:ln>
                  <a:noFill/>
                </a:ln>
                <a:solidFill>
                  <a:prstClr val="black"/>
                </a:solidFill>
                <a:effectLst/>
                <a:uLnTx/>
                <a:uFillTx/>
                <a:ea typeface="+mn-ea"/>
                <a:cs typeface="+mn-cs"/>
              </a:rPr>
              <a:pPr marL="0" marR="0" lvl="0" indent="0" algn="r" defTabSz="914400" eaLnBrk="1" fontAlgn="auto" latinLnBrk="0" hangingPunct="1">
                <a:lnSpc>
                  <a:spcPct val="100000"/>
                </a:lnSpc>
                <a:spcBef>
                  <a:spcPts val="0"/>
                </a:spcBef>
                <a:spcAft>
                  <a:spcPts val="0"/>
                </a:spcAft>
                <a:buClrTx/>
                <a:buSzTx/>
                <a:buFontTx/>
                <a:buNone/>
                <a:tabLst/>
                <a:defRPr/>
              </a:pPr>
              <a:t>82</a:t>
            </a:fld>
            <a:endParaRPr kumimoji="0" lang="pt-BR" sz="120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268441541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8F681651-9904-804F-8355-78350773C1A7}" type="slidenum">
              <a:rPr lang="pt-BR" smtClean="0"/>
              <a:pPr/>
              <a:t>83</a:t>
            </a:fld>
            <a:endParaRPr lang="pt-BR" dirty="0"/>
          </a:p>
        </p:txBody>
      </p:sp>
    </p:spTree>
    <p:extLst>
      <p:ext uri="{BB962C8B-B14F-4D97-AF65-F5344CB8AC3E}">
        <p14:creationId xmlns:p14="http://schemas.microsoft.com/office/powerpoint/2010/main" val="2816511266"/>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8CDECB-3C89-E728-E735-A7FE3DE7B90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C23D8D7-646E-98F3-3FD0-37FC9F729D49}"/>
              </a:ext>
            </a:extLst>
          </p:cNvPr>
          <p:cNvSpPr>
            <a:spLocks noGrp="1" noRot="1" noChangeAspect="1"/>
          </p:cNvSpPr>
          <p:nvPr>
            <p:ph type="sldImg"/>
          </p:nvPr>
        </p:nvSpPr>
        <p:spPr>
          <a:xfrm>
            <a:off x="50800" y="274638"/>
            <a:ext cx="4733925" cy="2662237"/>
          </a:xfrm>
        </p:spPr>
      </p:sp>
      <p:sp>
        <p:nvSpPr>
          <p:cNvPr id="3" name="Notes Placeholder 2">
            <a:extLst>
              <a:ext uri="{FF2B5EF4-FFF2-40B4-BE49-F238E27FC236}">
                <a16:creationId xmlns:a16="http://schemas.microsoft.com/office/drawing/2014/main" id="{37668FE2-2D1F-E9E8-4622-7875E524593D}"/>
              </a:ext>
            </a:extLst>
          </p:cNvPr>
          <p:cNvSpPr>
            <a:spLocks noGrp="1"/>
          </p:cNvSpPr>
          <p:nvPr>
            <p:ph type="body" idx="1"/>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pt-BR"/>
              <a:t>     </a:t>
            </a:r>
          </a:p>
          <a:p>
            <a:endParaRPr lang="pt-BR"/>
          </a:p>
          <a:p>
            <a:endParaRPr lang="pt-BR" dirty="0"/>
          </a:p>
        </p:txBody>
      </p:sp>
      <p:sp>
        <p:nvSpPr>
          <p:cNvPr id="4" name="Slide Number Placeholder 3">
            <a:extLst>
              <a:ext uri="{FF2B5EF4-FFF2-40B4-BE49-F238E27FC236}">
                <a16:creationId xmlns:a16="http://schemas.microsoft.com/office/drawing/2014/main" id="{7292D689-D438-C08F-9E63-10F690D87E16}"/>
              </a:ext>
            </a:extLst>
          </p:cNvPr>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436E8A87-18DA-4CCE-A8C2-BDBC489258C6}" type="slidenum">
              <a:rPr kumimoji="0" lang="pt-BR" sz="1200" u="none" strike="noStrike" kern="1200" cap="none" spc="0" normalizeH="0" baseline="0" noProof="0" smtClean="0">
                <a:ln>
                  <a:noFill/>
                </a:ln>
                <a:solidFill>
                  <a:prstClr val="black"/>
                </a:solidFill>
                <a:effectLst/>
                <a:uLnTx/>
                <a:uFillTx/>
                <a:ea typeface="+mn-ea"/>
                <a:cs typeface="+mn-cs"/>
              </a:rPr>
              <a:pPr marL="0" marR="0" lvl="0" indent="0" algn="r" defTabSz="914400" eaLnBrk="1" fontAlgn="auto" latinLnBrk="0" hangingPunct="1">
                <a:lnSpc>
                  <a:spcPct val="100000"/>
                </a:lnSpc>
                <a:spcBef>
                  <a:spcPts val="0"/>
                </a:spcBef>
                <a:spcAft>
                  <a:spcPts val="0"/>
                </a:spcAft>
                <a:buClrTx/>
                <a:buSzTx/>
                <a:buFontTx/>
                <a:buNone/>
                <a:tabLst/>
                <a:defRPr/>
              </a:pPr>
              <a:t>84</a:t>
            </a:fld>
            <a:endParaRPr kumimoji="0" lang="pt-BR" sz="120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390187330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pt-BR"/>
              <a:t>     </a:t>
            </a:r>
          </a:p>
          <a:p>
            <a:endParaRPr lang="pt-BR"/>
          </a:p>
          <a:p>
            <a:endParaRPr lang="pt-BR" dirty="0"/>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436E8A87-18DA-4CCE-A8C2-BDBC489258C6}" type="slidenum">
              <a:rPr kumimoji="0" lang="pt-BR" sz="1200" u="none" strike="noStrike" kern="1200" cap="none" spc="0" normalizeH="0" baseline="0" noProof="0" smtClean="0">
                <a:ln>
                  <a:noFill/>
                </a:ln>
                <a:solidFill>
                  <a:prstClr val="black"/>
                </a:solidFill>
                <a:effectLst/>
                <a:uLnTx/>
                <a:uFillTx/>
                <a:ea typeface="+mn-ea"/>
                <a:cs typeface="+mn-cs"/>
              </a:rPr>
              <a:pPr marL="0" marR="0" lvl="0" indent="0" algn="r" defTabSz="914400" eaLnBrk="1" fontAlgn="auto" latinLnBrk="0" hangingPunct="1">
                <a:lnSpc>
                  <a:spcPct val="100000"/>
                </a:lnSpc>
                <a:spcBef>
                  <a:spcPts val="0"/>
                </a:spcBef>
                <a:spcAft>
                  <a:spcPts val="0"/>
                </a:spcAft>
                <a:buClrTx/>
                <a:buSzTx/>
                <a:buFontTx/>
                <a:buNone/>
                <a:tabLst/>
                <a:defRPr/>
              </a:pPr>
              <a:t>85</a:t>
            </a:fld>
            <a:endParaRPr kumimoji="0" lang="pt-BR" sz="120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2889608871"/>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pt-BR"/>
              <a:t>     </a:t>
            </a:r>
          </a:p>
          <a:p>
            <a:endParaRPr lang="pt-BR"/>
          </a:p>
          <a:p>
            <a:endParaRPr lang="pt-BR" dirty="0"/>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436E8A87-18DA-4CCE-A8C2-BDBC489258C6}" type="slidenum">
              <a:rPr kumimoji="0" lang="pt-BR" sz="1200" u="none" strike="noStrike" kern="1200" cap="none" spc="0" normalizeH="0" baseline="0" noProof="0" smtClean="0">
                <a:ln>
                  <a:noFill/>
                </a:ln>
                <a:solidFill>
                  <a:prstClr val="black"/>
                </a:solidFill>
                <a:effectLst/>
                <a:uLnTx/>
                <a:uFillTx/>
                <a:ea typeface="+mn-ea"/>
                <a:cs typeface="+mn-cs"/>
              </a:rPr>
              <a:pPr marL="0" marR="0" lvl="0" indent="0" algn="r" defTabSz="914400" eaLnBrk="1" fontAlgn="auto" latinLnBrk="0" hangingPunct="1">
                <a:lnSpc>
                  <a:spcPct val="100000"/>
                </a:lnSpc>
                <a:spcBef>
                  <a:spcPts val="0"/>
                </a:spcBef>
                <a:spcAft>
                  <a:spcPts val="0"/>
                </a:spcAft>
                <a:buClrTx/>
                <a:buSzTx/>
                <a:buFontTx/>
                <a:buNone/>
                <a:tabLst/>
                <a:defRPr/>
              </a:pPr>
              <a:t>86</a:t>
            </a:fld>
            <a:endParaRPr kumimoji="0" lang="pt-BR" sz="120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2683471904"/>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pt-BR"/>
              <a:t>     </a:t>
            </a:r>
          </a:p>
          <a:p>
            <a:endParaRPr lang="pt-BR"/>
          </a:p>
          <a:p>
            <a:endParaRPr lang="pt-BR"/>
          </a:p>
          <a:p>
            <a:endParaRPr lang="pt-BR" dirty="0"/>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436E8A87-18DA-4CCE-A8C2-BDBC489258C6}" type="slidenum">
              <a:rPr kumimoji="0" lang="pt-BR" sz="1200" u="none" strike="noStrike" kern="1200" cap="none" spc="0" normalizeH="0" baseline="0" noProof="0" smtClean="0">
                <a:ln>
                  <a:noFill/>
                </a:ln>
                <a:solidFill>
                  <a:prstClr val="black"/>
                </a:solidFill>
                <a:effectLst/>
                <a:uLnTx/>
                <a:uFillTx/>
                <a:ea typeface="+mn-ea"/>
                <a:cs typeface="+mn-cs"/>
              </a:rPr>
              <a:pPr marL="0" marR="0" lvl="0" indent="0" algn="r" defTabSz="914400" eaLnBrk="1" fontAlgn="auto" latinLnBrk="0" hangingPunct="1">
                <a:lnSpc>
                  <a:spcPct val="100000"/>
                </a:lnSpc>
                <a:spcBef>
                  <a:spcPts val="0"/>
                </a:spcBef>
                <a:spcAft>
                  <a:spcPts val="0"/>
                </a:spcAft>
                <a:buClrTx/>
                <a:buSzTx/>
                <a:buFontTx/>
                <a:buNone/>
                <a:tabLst/>
                <a:defRPr/>
              </a:pPr>
              <a:t>87</a:t>
            </a:fld>
            <a:endParaRPr kumimoji="0" lang="pt-BR" sz="120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2315635577"/>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362E03-0730-EAA1-4979-8DE11A12F1C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915EFA2-0EFB-CD05-8A2E-26D84EAD9171}"/>
              </a:ext>
            </a:extLst>
          </p:cNvPr>
          <p:cNvSpPr>
            <a:spLocks noGrp="1" noRot="1" noChangeAspect="1"/>
          </p:cNvSpPr>
          <p:nvPr>
            <p:ph type="sldImg"/>
          </p:nvPr>
        </p:nvSpPr>
        <p:spPr>
          <a:xfrm>
            <a:off x="50800" y="274638"/>
            <a:ext cx="4733925" cy="2662237"/>
          </a:xfrm>
        </p:spPr>
      </p:sp>
      <p:sp>
        <p:nvSpPr>
          <p:cNvPr id="3" name="Notes Placeholder 2">
            <a:extLst>
              <a:ext uri="{FF2B5EF4-FFF2-40B4-BE49-F238E27FC236}">
                <a16:creationId xmlns:a16="http://schemas.microsoft.com/office/drawing/2014/main" id="{A07E7CD1-6A91-6D28-B506-023CFEB348C1}"/>
              </a:ext>
            </a:extLst>
          </p:cNvPr>
          <p:cNvSpPr>
            <a:spLocks noGrp="1"/>
          </p:cNvSpPr>
          <p:nvPr>
            <p:ph type="body" idx="1"/>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pt-BR"/>
              <a:t>     </a:t>
            </a:r>
          </a:p>
          <a:p>
            <a:endParaRPr lang="pt-BR"/>
          </a:p>
          <a:p>
            <a:endParaRPr lang="pt-BR"/>
          </a:p>
          <a:p>
            <a:endParaRPr lang="pt-BR" dirty="0"/>
          </a:p>
        </p:txBody>
      </p:sp>
      <p:sp>
        <p:nvSpPr>
          <p:cNvPr id="4" name="Slide Number Placeholder 3">
            <a:extLst>
              <a:ext uri="{FF2B5EF4-FFF2-40B4-BE49-F238E27FC236}">
                <a16:creationId xmlns:a16="http://schemas.microsoft.com/office/drawing/2014/main" id="{F0C7A618-FD58-2789-EA20-B72105DB19C2}"/>
              </a:ext>
            </a:extLst>
          </p:cNvPr>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436E8A87-18DA-4CCE-A8C2-BDBC489258C6}" type="slidenum">
              <a:rPr kumimoji="0" lang="pt-BR" sz="1200" u="none" strike="noStrike" kern="1200" cap="none" spc="0" normalizeH="0" baseline="0" noProof="0" smtClean="0">
                <a:ln>
                  <a:noFill/>
                </a:ln>
                <a:solidFill>
                  <a:prstClr val="black"/>
                </a:solidFill>
                <a:effectLst/>
                <a:uLnTx/>
                <a:uFillTx/>
                <a:ea typeface="+mn-ea"/>
                <a:cs typeface="+mn-cs"/>
              </a:rPr>
              <a:pPr marL="0" marR="0" lvl="0" indent="0" algn="r" defTabSz="914400" eaLnBrk="1" fontAlgn="auto" latinLnBrk="0" hangingPunct="1">
                <a:lnSpc>
                  <a:spcPct val="100000"/>
                </a:lnSpc>
                <a:spcBef>
                  <a:spcPts val="0"/>
                </a:spcBef>
                <a:spcAft>
                  <a:spcPts val="0"/>
                </a:spcAft>
                <a:buClrTx/>
                <a:buSzTx/>
                <a:buFontTx/>
                <a:buNone/>
                <a:tabLst/>
                <a:defRPr/>
              </a:pPr>
              <a:t>88</a:t>
            </a:fld>
            <a:endParaRPr kumimoji="0" lang="pt-BR" sz="120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1545501126"/>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pt-BR"/>
              <a:t>     </a:t>
            </a:r>
          </a:p>
          <a:p>
            <a:endParaRPr lang="pt-BR"/>
          </a:p>
          <a:p>
            <a:endParaRPr lang="pt-BR"/>
          </a:p>
          <a:p>
            <a:endParaRPr lang="pt-BR" dirty="0"/>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436E8A87-18DA-4CCE-A8C2-BDBC489258C6}" type="slidenum">
              <a:rPr kumimoji="0" lang="pt-BR" sz="1200" u="none" strike="noStrike" kern="1200" cap="none" spc="0" normalizeH="0" baseline="0" noProof="0" smtClean="0">
                <a:ln>
                  <a:noFill/>
                </a:ln>
                <a:solidFill>
                  <a:prstClr val="black"/>
                </a:solidFill>
                <a:effectLst/>
                <a:uLnTx/>
                <a:uFillTx/>
                <a:ea typeface="+mn-ea"/>
                <a:cs typeface="+mn-cs"/>
              </a:rPr>
              <a:pPr marL="0" marR="0" lvl="0" indent="0" algn="r" defTabSz="914400" eaLnBrk="1" fontAlgn="auto" latinLnBrk="0" hangingPunct="1">
                <a:lnSpc>
                  <a:spcPct val="100000"/>
                </a:lnSpc>
                <a:spcBef>
                  <a:spcPts val="0"/>
                </a:spcBef>
                <a:spcAft>
                  <a:spcPts val="0"/>
                </a:spcAft>
                <a:buClrTx/>
                <a:buSzTx/>
                <a:buFontTx/>
                <a:buNone/>
                <a:tabLst/>
                <a:defRPr/>
              </a:pPr>
              <a:t>89</a:t>
            </a:fld>
            <a:endParaRPr kumimoji="0" lang="pt-BR" sz="120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36171153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DBF1B7-0A53-8772-803D-CB3396CC9A2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F77494-35B2-880D-0457-D4E808114C7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A35DA0-F368-AE72-32E5-78F3C2E2B65B}"/>
              </a:ext>
            </a:extLst>
          </p:cNvPr>
          <p:cNvSpPr>
            <a:spLocks noGrp="1"/>
          </p:cNvSpPr>
          <p:nvPr>
            <p:ph type="body" idx="1"/>
          </p:nvPr>
        </p:nvSpPr>
        <p:spPr/>
        <p:txBody>
          <a:bodyPr/>
          <a:lstStyle/>
          <a:p>
            <a:endParaRPr lang="pt-BR" dirty="0"/>
          </a:p>
        </p:txBody>
      </p:sp>
      <p:sp>
        <p:nvSpPr>
          <p:cNvPr id="4" name="Slide Number Placeholder 3">
            <a:extLst>
              <a:ext uri="{FF2B5EF4-FFF2-40B4-BE49-F238E27FC236}">
                <a16:creationId xmlns:a16="http://schemas.microsoft.com/office/drawing/2014/main" id="{B6B8016C-7C56-1BFF-07BB-B0CB0C936C21}"/>
              </a:ext>
            </a:extLst>
          </p:cNvPr>
          <p:cNvSpPr>
            <a:spLocks noGrp="1"/>
          </p:cNvSpPr>
          <p:nvPr>
            <p:ph type="sldNum" sz="quarter" idx="5"/>
          </p:nvPr>
        </p:nvSpPr>
        <p:spPr/>
        <p:txBody>
          <a:bodyPr/>
          <a:lstStyle/>
          <a:p>
            <a:fld id="{8F681651-9904-804F-8355-78350773C1A7}" type="slidenum">
              <a:rPr lang="pt-BR" smtClean="0"/>
              <a:pPr/>
              <a:t>9</a:t>
            </a:fld>
            <a:endParaRPr lang="pt-BR" dirty="0"/>
          </a:p>
        </p:txBody>
      </p:sp>
    </p:spTree>
    <p:extLst>
      <p:ext uri="{BB962C8B-B14F-4D97-AF65-F5344CB8AC3E}">
        <p14:creationId xmlns:p14="http://schemas.microsoft.com/office/powerpoint/2010/main" val="276201733"/>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pt-BR"/>
              <a:t>     </a:t>
            </a:r>
          </a:p>
          <a:p>
            <a:endParaRPr lang="pt-BR"/>
          </a:p>
          <a:p>
            <a:endParaRPr lang="pt-BR"/>
          </a:p>
          <a:p>
            <a:endParaRPr lang="pt-BR" dirty="0"/>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436E8A87-18DA-4CCE-A8C2-BDBC489258C6}" type="slidenum">
              <a:rPr kumimoji="0" lang="pt-BR" sz="1200" u="none" strike="noStrike" kern="1200" cap="none" spc="0" normalizeH="0" baseline="0" noProof="0" smtClean="0">
                <a:ln>
                  <a:noFill/>
                </a:ln>
                <a:solidFill>
                  <a:prstClr val="black"/>
                </a:solidFill>
                <a:effectLst/>
                <a:uLnTx/>
                <a:uFillTx/>
                <a:ea typeface="+mn-ea"/>
                <a:cs typeface="+mn-cs"/>
              </a:rPr>
              <a:pPr marL="0" marR="0" lvl="0" indent="0" algn="r" defTabSz="914400" eaLnBrk="1" fontAlgn="auto" latinLnBrk="0" hangingPunct="1">
                <a:lnSpc>
                  <a:spcPct val="100000"/>
                </a:lnSpc>
                <a:spcBef>
                  <a:spcPts val="0"/>
                </a:spcBef>
                <a:spcAft>
                  <a:spcPts val="0"/>
                </a:spcAft>
                <a:buClrTx/>
                <a:buSzTx/>
                <a:buFontTx/>
                <a:buNone/>
                <a:tabLst/>
                <a:defRPr/>
              </a:pPr>
              <a:t>90</a:t>
            </a:fld>
            <a:endParaRPr kumimoji="0" lang="pt-BR" sz="120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1856966261"/>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pt-BR"/>
              <a:t>     </a:t>
            </a:r>
          </a:p>
          <a:p>
            <a:endParaRPr lang="pt-BR"/>
          </a:p>
          <a:p>
            <a:endParaRPr lang="pt-BR"/>
          </a:p>
          <a:p>
            <a:endParaRPr lang="pt-BR" dirty="0"/>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436E8A87-18DA-4CCE-A8C2-BDBC489258C6}" type="slidenum">
              <a:rPr kumimoji="0" lang="pt-BR" sz="1200" u="none" strike="noStrike" kern="1200" cap="none" spc="0" normalizeH="0" baseline="0" noProof="0" smtClean="0">
                <a:ln>
                  <a:noFill/>
                </a:ln>
                <a:solidFill>
                  <a:prstClr val="black"/>
                </a:solidFill>
                <a:effectLst/>
                <a:uLnTx/>
                <a:uFillTx/>
                <a:ea typeface="+mn-ea"/>
                <a:cs typeface="+mn-cs"/>
              </a:rPr>
              <a:pPr marL="0" marR="0" lvl="0" indent="0" algn="r" defTabSz="914400" eaLnBrk="1" fontAlgn="auto" latinLnBrk="0" hangingPunct="1">
                <a:lnSpc>
                  <a:spcPct val="100000"/>
                </a:lnSpc>
                <a:spcBef>
                  <a:spcPts val="0"/>
                </a:spcBef>
                <a:spcAft>
                  <a:spcPts val="0"/>
                </a:spcAft>
                <a:buClrTx/>
                <a:buSzTx/>
                <a:buFontTx/>
                <a:buNone/>
                <a:tabLst/>
                <a:defRPr/>
              </a:pPr>
              <a:t>91</a:t>
            </a:fld>
            <a:endParaRPr kumimoji="0" lang="pt-BR" sz="120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2054475903"/>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pt-BR"/>
              <a:t>     </a:t>
            </a:r>
          </a:p>
          <a:p>
            <a:endParaRPr lang="pt-BR"/>
          </a:p>
          <a:p>
            <a:endParaRPr lang="pt-BR"/>
          </a:p>
          <a:p>
            <a:endParaRPr lang="pt-BR" dirty="0"/>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436E8A87-18DA-4CCE-A8C2-BDBC489258C6}" type="slidenum">
              <a:rPr kumimoji="0" lang="pt-BR" sz="1200" u="none" strike="noStrike" kern="1200" cap="none" spc="0" normalizeH="0" baseline="0" noProof="0" smtClean="0">
                <a:ln>
                  <a:noFill/>
                </a:ln>
                <a:solidFill>
                  <a:prstClr val="black"/>
                </a:solidFill>
                <a:effectLst/>
                <a:uLnTx/>
                <a:uFillTx/>
                <a:ea typeface="+mn-ea"/>
                <a:cs typeface="+mn-cs"/>
              </a:rPr>
              <a:pPr marL="0" marR="0" lvl="0" indent="0" algn="r" defTabSz="914400" eaLnBrk="1" fontAlgn="auto" latinLnBrk="0" hangingPunct="1">
                <a:lnSpc>
                  <a:spcPct val="100000"/>
                </a:lnSpc>
                <a:spcBef>
                  <a:spcPts val="0"/>
                </a:spcBef>
                <a:spcAft>
                  <a:spcPts val="0"/>
                </a:spcAft>
                <a:buClrTx/>
                <a:buSzTx/>
                <a:buFontTx/>
                <a:buNone/>
                <a:tabLst/>
                <a:defRPr/>
              </a:pPr>
              <a:t>92</a:t>
            </a:fld>
            <a:endParaRPr kumimoji="0" lang="pt-BR" sz="120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398835786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pt-BR"/>
              <a:t>     </a:t>
            </a:r>
          </a:p>
          <a:p>
            <a:endParaRPr lang="pt-BR"/>
          </a:p>
          <a:p>
            <a:endParaRPr lang="pt-BR"/>
          </a:p>
          <a:p>
            <a:endParaRPr lang="pt-BR" dirty="0"/>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436E8A87-18DA-4CCE-A8C2-BDBC489258C6}" type="slidenum">
              <a:rPr kumimoji="0" lang="pt-BR" sz="1200" u="none" strike="noStrike" kern="1200" cap="none" spc="0" normalizeH="0" baseline="0" noProof="0" smtClean="0">
                <a:ln>
                  <a:noFill/>
                </a:ln>
                <a:solidFill>
                  <a:prstClr val="black"/>
                </a:solidFill>
                <a:effectLst/>
                <a:uLnTx/>
                <a:uFillTx/>
                <a:ea typeface="+mn-ea"/>
                <a:cs typeface="+mn-cs"/>
              </a:rPr>
              <a:pPr marL="0" marR="0" lvl="0" indent="0" algn="r" defTabSz="914400" eaLnBrk="1" fontAlgn="auto" latinLnBrk="0" hangingPunct="1">
                <a:lnSpc>
                  <a:spcPct val="100000"/>
                </a:lnSpc>
                <a:spcBef>
                  <a:spcPts val="0"/>
                </a:spcBef>
                <a:spcAft>
                  <a:spcPts val="0"/>
                </a:spcAft>
                <a:buClrTx/>
                <a:buSzTx/>
                <a:buFontTx/>
                <a:buNone/>
                <a:tabLst/>
                <a:defRPr/>
              </a:pPr>
              <a:t>93</a:t>
            </a:fld>
            <a:endParaRPr kumimoji="0" lang="pt-BR" sz="120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770704260"/>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8F681651-9904-804F-8355-78350773C1A7}" type="slidenum">
              <a:rPr lang="pt-BR" smtClean="0"/>
              <a:pPr/>
              <a:t>94</a:t>
            </a:fld>
            <a:endParaRPr lang="pt-BR" dirty="0"/>
          </a:p>
        </p:txBody>
      </p:sp>
    </p:spTree>
    <p:extLst>
      <p:ext uri="{BB962C8B-B14F-4D97-AF65-F5344CB8AC3E}">
        <p14:creationId xmlns:p14="http://schemas.microsoft.com/office/powerpoint/2010/main" val="3772199917"/>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59741A-7FE8-2E44-C630-F9DC69F58FD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BCDCA1E-83C6-7C03-2CF9-4D7FAFDBCC59}"/>
              </a:ext>
            </a:extLst>
          </p:cNvPr>
          <p:cNvSpPr>
            <a:spLocks noGrp="1" noRot="1" noChangeAspect="1"/>
          </p:cNvSpPr>
          <p:nvPr>
            <p:ph type="sldImg"/>
          </p:nvPr>
        </p:nvSpPr>
        <p:spPr>
          <a:xfrm>
            <a:off x="50800" y="274638"/>
            <a:ext cx="4733925" cy="2662237"/>
          </a:xfrm>
        </p:spPr>
      </p:sp>
      <p:sp>
        <p:nvSpPr>
          <p:cNvPr id="3" name="Notes Placeholder 2">
            <a:extLst>
              <a:ext uri="{FF2B5EF4-FFF2-40B4-BE49-F238E27FC236}">
                <a16:creationId xmlns:a16="http://schemas.microsoft.com/office/drawing/2014/main" id="{7C9981C8-E520-512A-FE20-C6300EC2582E}"/>
              </a:ext>
            </a:extLst>
          </p:cNvPr>
          <p:cNvSpPr>
            <a:spLocks noGrp="1"/>
          </p:cNvSpPr>
          <p:nvPr>
            <p:ph type="body" idx="1"/>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pt-BR"/>
              <a:t>     </a:t>
            </a:r>
          </a:p>
          <a:p>
            <a:endParaRPr lang="pt-BR"/>
          </a:p>
          <a:p>
            <a:endParaRPr lang="pt-BR"/>
          </a:p>
          <a:p>
            <a:endParaRPr lang="pt-BR" dirty="0"/>
          </a:p>
        </p:txBody>
      </p:sp>
      <p:sp>
        <p:nvSpPr>
          <p:cNvPr id="4" name="Slide Number Placeholder 3">
            <a:extLst>
              <a:ext uri="{FF2B5EF4-FFF2-40B4-BE49-F238E27FC236}">
                <a16:creationId xmlns:a16="http://schemas.microsoft.com/office/drawing/2014/main" id="{32E7450E-60AE-36C2-80E1-2119E3CDDA48}"/>
              </a:ext>
            </a:extLst>
          </p:cNvPr>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436E8A87-18DA-4CCE-A8C2-BDBC489258C6}" type="slidenum">
              <a:rPr kumimoji="0" lang="pt-BR" sz="1200" u="none" strike="noStrike" kern="1200" cap="none" spc="0" normalizeH="0" baseline="0" noProof="0" smtClean="0">
                <a:ln>
                  <a:noFill/>
                </a:ln>
                <a:solidFill>
                  <a:prstClr val="black"/>
                </a:solidFill>
                <a:effectLst/>
                <a:uLnTx/>
                <a:uFillTx/>
                <a:ea typeface="+mn-ea"/>
                <a:cs typeface="+mn-cs"/>
              </a:rPr>
              <a:pPr marL="0" marR="0" lvl="0" indent="0" algn="r" defTabSz="914400" eaLnBrk="1" fontAlgn="auto" latinLnBrk="0" hangingPunct="1">
                <a:lnSpc>
                  <a:spcPct val="100000"/>
                </a:lnSpc>
                <a:spcBef>
                  <a:spcPts val="0"/>
                </a:spcBef>
                <a:spcAft>
                  <a:spcPts val="0"/>
                </a:spcAft>
                <a:buClrTx/>
                <a:buSzTx/>
                <a:buFontTx/>
                <a:buNone/>
                <a:tabLst/>
                <a:defRPr/>
              </a:pPr>
              <a:t>95</a:t>
            </a:fld>
            <a:endParaRPr kumimoji="0" lang="pt-BR" sz="120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4051447295"/>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4DB89D-BEE1-CFD7-78FF-9A0A190E193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C0A48F2-B8A7-F13C-BA5A-9D95B0B8F95F}"/>
              </a:ext>
            </a:extLst>
          </p:cNvPr>
          <p:cNvSpPr>
            <a:spLocks noGrp="1" noRot="1" noChangeAspect="1"/>
          </p:cNvSpPr>
          <p:nvPr>
            <p:ph type="sldImg"/>
          </p:nvPr>
        </p:nvSpPr>
        <p:spPr>
          <a:xfrm>
            <a:off x="50800" y="274638"/>
            <a:ext cx="4733925" cy="2662237"/>
          </a:xfrm>
        </p:spPr>
      </p:sp>
      <p:sp>
        <p:nvSpPr>
          <p:cNvPr id="3" name="Notes Placeholder 2">
            <a:extLst>
              <a:ext uri="{FF2B5EF4-FFF2-40B4-BE49-F238E27FC236}">
                <a16:creationId xmlns:a16="http://schemas.microsoft.com/office/drawing/2014/main" id="{07DC6209-906A-9594-506C-01E65544C9DB}"/>
              </a:ext>
            </a:extLst>
          </p:cNvPr>
          <p:cNvSpPr>
            <a:spLocks noGrp="1"/>
          </p:cNvSpPr>
          <p:nvPr>
            <p:ph type="body" idx="1"/>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pt-BR"/>
              <a:t>     </a:t>
            </a:r>
          </a:p>
          <a:p>
            <a:endParaRPr lang="pt-BR"/>
          </a:p>
          <a:p>
            <a:endParaRPr lang="pt-BR"/>
          </a:p>
          <a:p>
            <a:endParaRPr lang="pt-BR" dirty="0"/>
          </a:p>
        </p:txBody>
      </p:sp>
      <p:sp>
        <p:nvSpPr>
          <p:cNvPr id="4" name="Slide Number Placeholder 3">
            <a:extLst>
              <a:ext uri="{FF2B5EF4-FFF2-40B4-BE49-F238E27FC236}">
                <a16:creationId xmlns:a16="http://schemas.microsoft.com/office/drawing/2014/main" id="{E6BABB0C-D0E8-A67B-08D7-6E77DC5E1BD7}"/>
              </a:ext>
            </a:extLst>
          </p:cNvPr>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436E8A87-18DA-4CCE-A8C2-BDBC489258C6}" type="slidenum">
              <a:rPr kumimoji="0" lang="pt-BR" sz="1200" u="none" strike="noStrike" kern="1200" cap="none" spc="0" normalizeH="0" baseline="0" noProof="0" smtClean="0">
                <a:ln>
                  <a:noFill/>
                </a:ln>
                <a:solidFill>
                  <a:prstClr val="black"/>
                </a:solidFill>
                <a:effectLst/>
                <a:uLnTx/>
                <a:uFillTx/>
                <a:ea typeface="+mn-ea"/>
                <a:cs typeface="+mn-cs"/>
              </a:rPr>
              <a:pPr marL="0" marR="0" lvl="0" indent="0" algn="r" defTabSz="914400" eaLnBrk="1" fontAlgn="auto" latinLnBrk="0" hangingPunct="1">
                <a:lnSpc>
                  <a:spcPct val="100000"/>
                </a:lnSpc>
                <a:spcBef>
                  <a:spcPts val="0"/>
                </a:spcBef>
                <a:spcAft>
                  <a:spcPts val="0"/>
                </a:spcAft>
                <a:buClrTx/>
                <a:buSzTx/>
                <a:buFontTx/>
                <a:buNone/>
                <a:tabLst/>
                <a:defRPr/>
              </a:pPr>
              <a:t>96</a:t>
            </a:fld>
            <a:endParaRPr kumimoji="0" lang="pt-BR" sz="120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1785506810"/>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pt-BR"/>
              <a:t>     </a:t>
            </a:r>
          </a:p>
          <a:p>
            <a:endParaRPr lang="pt-BR"/>
          </a:p>
          <a:p>
            <a:endParaRPr lang="pt-BR"/>
          </a:p>
          <a:p>
            <a:endParaRPr lang="pt-BR" dirty="0"/>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436E8A87-18DA-4CCE-A8C2-BDBC489258C6}" type="slidenum">
              <a:rPr kumimoji="0" lang="pt-BR" sz="1200" u="none" strike="noStrike" kern="1200" cap="none" spc="0" normalizeH="0" baseline="0" noProof="0" smtClean="0">
                <a:ln>
                  <a:noFill/>
                </a:ln>
                <a:solidFill>
                  <a:prstClr val="black"/>
                </a:solidFill>
                <a:effectLst/>
                <a:uLnTx/>
                <a:uFillTx/>
                <a:ea typeface="+mn-ea"/>
                <a:cs typeface="+mn-cs"/>
              </a:rPr>
              <a:pPr marL="0" marR="0" lvl="0" indent="0" algn="r" defTabSz="914400" eaLnBrk="1" fontAlgn="auto" latinLnBrk="0" hangingPunct="1">
                <a:lnSpc>
                  <a:spcPct val="100000"/>
                </a:lnSpc>
                <a:spcBef>
                  <a:spcPts val="0"/>
                </a:spcBef>
                <a:spcAft>
                  <a:spcPts val="0"/>
                </a:spcAft>
                <a:buClrTx/>
                <a:buSzTx/>
                <a:buFontTx/>
                <a:buNone/>
                <a:tabLst/>
                <a:defRPr/>
              </a:pPr>
              <a:t>97</a:t>
            </a:fld>
            <a:endParaRPr kumimoji="0" lang="pt-BR" sz="120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231401309"/>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8F681651-9904-804F-8355-78350773C1A7}" type="slidenum">
              <a:rPr lang="pt-BR" smtClean="0"/>
              <a:pPr/>
              <a:t>98</a:t>
            </a:fld>
            <a:endParaRPr lang="pt-BR" dirty="0"/>
          </a:p>
        </p:txBody>
      </p:sp>
    </p:spTree>
    <p:extLst>
      <p:ext uri="{BB962C8B-B14F-4D97-AF65-F5344CB8AC3E}">
        <p14:creationId xmlns:p14="http://schemas.microsoft.com/office/powerpoint/2010/main" val="2962859846"/>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pt-BR"/>
              <a:t>     </a:t>
            </a:r>
          </a:p>
          <a:p>
            <a:endParaRPr lang="pt-BR"/>
          </a:p>
          <a:p>
            <a:endParaRPr lang="pt-BR"/>
          </a:p>
          <a:p>
            <a:endParaRPr lang="pt-BR" dirty="0"/>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436E8A87-18DA-4CCE-A8C2-BDBC489258C6}" type="slidenum">
              <a:rPr kumimoji="0" lang="pt-BR" sz="1200" u="none" strike="noStrike" kern="1200" cap="none" spc="0" normalizeH="0" baseline="0" noProof="0" smtClean="0">
                <a:ln>
                  <a:noFill/>
                </a:ln>
                <a:solidFill>
                  <a:prstClr val="black"/>
                </a:solidFill>
                <a:effectLst/>
                <a:uLnTx/>
                <a:uFillTx/>
                <a:ea typeface="+mn-ea"/>
                <a:cs typeface="+mn-cs"/>
              </a:rPr>
              <a:pPr marL="0" marR="0" lvl="0" indent="0" algn="r" defTabSz="914400" eaLnBrk="1" fontAlgn="auto" latinLnBrk="0" hangingPunct="1">
                <a:lnSpc>
                  <a:spcPct val="100000"/>
                </a:lnSpc>
                <a:spcBef>
                  <a:spcPts val="0"/>
                </a:spcBef>
                <a:spcAft>
                  <a:spcPts val="0"/>
                </a:spcAft>
                <a:buClrTx/>
                <a:buSzTx/>
                <a:buFontTx/>
                <a:buNone/>
                <a:tabLst/>
                <a:defRPr/>
              </a:pPr>
              <a:t>99</a:t>
            </a:fld>
            <a:endParaRPr kumimoji="0" lang="pt-BR" sz="120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18446025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5.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37.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40.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1.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43.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xml"/><Relationship Id="rId1" Type="http://schemas.openxmlformats.org/officeDocument/2006/relationships/tags" Target="../tags/tag46.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1.xml"/><Relationship Id="rId1" Type="http://schemas.openxmlformats.org/officeDocument/2006/relationships/tags" Target="../tags/tag47.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1.xml"/><Relationship Id="rId1" Type="http://schemas.openxmlformats.org/officeDocument/2006/relationships/tags" Target="../tags/tag49.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1.xml"/><Relationship Id="rId1" Type="http://schemas.openxmlformats.org/officeDocument/2006/relationships/tags" Target="../tags/tag50.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1.xml"/><Relationship Id="rId1" Type="http://schemas.openxmlformats.org/officeDocument/2006/relationships/tags" Target="../tags/tag51.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1.xml"/><Relationship Id="rId1" Type="http://schemas.openxmlformats.org/officeDocument/2006/relationships/tags" Target="../tags/tag52.xml"/><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1.xml"/><Relationship Id="rId1" Type="http://schemas.openxmlformats.org/officeDocument/2006/relationships/tags" Target="../tags/tag53.xml"/><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1.xml"/><Relationship Id="rId1" Type="http://schemas.openxmlformats.org/officeDocument/2006/relationships/tags" Target="../tags/tag54.xml"/><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1.xml"/><Relationship Id="rId1" Type="http://schemas.openxmlformats.org/officeDocument/2006/relationships/tags" Target="../tags/tag55.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1.xml"/><Relationship Id="rId1" Type="http://schemas.openxmlformats.org/officeDocument/2006/relationships/tags" Target="../tags/tag56.xml"/><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gradien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17AB523-6616-8B7D-2AB7-768807584704}"/>
              </a:ext>
            </a:extLst>
          </p:cNvPr>
          <p:cNvGraphicFramePr>
            <a:graphicFrameLocks noChangeAspect="1"/>
          </p:cNvGraphicFramePr>
          <p:nvPr userDrawn="1">
            <p:custDataLst>
              <p:tags r:id="rId1"/>
            </p:custDataLst>
            <p:extLst>
              <p:ext uri="{D42A27DB-BD31-4B8C-83A1-F6EECF244321}">
                <p14:modId xmlns:p14="http://schemas.microsoft.com/office/powerpoint/2010/main" val="3296139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4" name="think-cell data - do not delete" hidden="1">
                        <a:extLst>
                          <a:ext uri="{FF2B5EF4-FFF2-40B4-BE49-F238E27FC236}">
                            <a16:creationId xmlns:a16="http://schemas.microsoft.com/office/drawing/2014/main" id="{D17AB523-6616-8B7D-2AB7-7688075847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46E4763-F545-C94B-51CE-F4BC514CB5E2}"/>
              </a:ext>
            </a:extLst>
          </p:cNvPr>
          <p:cNvSpPr>
            <a:spLocks noGrp="1"/>
          </p:cNvSpPr>
          <p:nvPr>
            <p:ph type="title"/>
          </p:nvPr>
        </p:nvSpPr>
        <p:spPr>
          <a:xfrm>
            <a:off x="1164969" y="3010439"/>
            <a:ext cx="6793919" cy="1329595"/>
          </a:xfrm>
          <a:prstGeom prst="rect">
            <a:avLst/>
          </a:prstGeom>
        </p:spPr>
        <p:txBody>
          <a:bodyPr vert="horz" anchor="b">
            <a:spAutoFit/>
          </a:bodyPr>
          <a:lstStyle>
            <a:lvl1pPr algn="l" rtl="0">
              <a:lnSpc>
                <a:spcPct val="90000"/>
              </a:lnSpc>
              <a:defRPr sz="4800" b="0">
                <a:solidFill>
                  <a:schemeClr val="tx1"/>
                </a:solidFill>
              </a:defRPr>
            </a:lvl1pPr>
          </a:lstStyle>
          <a:p>
            <a:r>
              <a:rPr lang="pt-BR"/>
              <a:t>Click to edit Master title style</a:t>
            </a:r>
            <a:endParaRPr lang="pt-BR" dirty="0"/>
          </a:p>
        </p:txBody>
      </p:sp>
      <p:sp>
        <p:nvSpPr>
          <p:cNvPr id="16" name="Subtitle 2">
            <a:extLst>
              <a:ext uri="{FF2B5EF4-FFF2-40B4-BE49-F238E27FC236}">
                <a16:creationId xmlns:a16="http://schemas.microsoft.com/office/drawing/2014/main" id="{BC002026-094D-D1B0-BDA1-62996F241354}"/>
              </a:ext>
            </a:extLst>
          </p:cNvPr>
          <p:cNvSpPr>
            <a:spLocks noGrp="1"/>
          </p:cNvSpPr>
          <p:nvPr>
            <p:ph type="subTitle" idx="1" hasCustomPrompt="1"/>
          </p:nvPr>
        </p:nvSpPr>
        <p:spPr>
          <a:xfrm>
            <a:off x="1164969" y="4464055"/>
            <a:ext cx="6793919" cy="1092845"/>
          </a:xfrm>
          <a:prstGeom prst="rect">
            <a:avLst/>
          </a:prstGeom>
        </p:spPr>
        <p:txBody>
          <a:bodyPr/>
          <a:lstStyle>
            <a:lvl1pPr marL="0" indent="0" algn="l" rtl="0">
              <a:lnSpc>
                <a:spcPct val="90000"/>
              </a:lnSpc>
              <a:spcAft>
                <a:spcPts val="0"/>
              </a:spcAft>
              <a:buNone/>
              <a:defRPr sz="1800" b="0" i="0" spc="0">
                <a:solidFill>
                  <a:schemeClr val="tx1"/>
                </a:solidFill>
                <a:latin typeface="Graphik" panose="020B0503030202060203" pitchFamily="34" charset="77"/>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pPr marL="0" lvl="0" indent="0" algn="l" defTabSz="914377" rtl="0" eaLnBrk="1" latinLnBrk="0" hangingPunct="1">
              <a:lnSpc>
                <a:spcPct val="100000"/>
              </a:lnSpc>
              <a:spcBef>
                <a:spcPts val="0"/>
              </a:spcBef>
              <a:spcAft>
                <a:spcPts val="0"/>
              </a:spcAft>
              <a:buFont typeface="Graphik" panose="020B0604020202020204" pitchFamily="34" charset="0"/>
              <a:buNone/>
            </a:pPr>
            <a:r>
              <a:rPr lang="pt-BR"/>
              <a:t>Place subtitle here in Graphik regular</a:t>
            </a:r>
            <a:endParaRPr lang="pt-BR" dirty="0"/>
          </a:p>
        </p:txBody>
      </p:sp>
      <p:sp>
        <p:nvSpPr>
          <p:cNvPr id="18" name="Text Placeholder 16">
            <a:extLst>
              <a:ext uri="{FF2B5EF4-FFF2-40B4-BE49-F238E27FC236}">
                <a16:creationId xmlns:a16="http://schemas.microsoft.com/office/drawing/2014/main" id="{21E81FC3-5B5A-36F1-7992-060E05D4773E}"/>
              </a:ext>
            </a:extLst>
          </p:cNvPr>
          <p:cNvSpPr>
            <a:spLocks noGrp="1"/>
          </p:cNvSpPr>
          <p:nvPr>
            <p:ph type="body" sz="quarter" idx="12" hasCustomPrompt="1"/>
          </p:nvPr>
        </p:nvSpPr>
        <p:spPr>
          <a:xfrm>
            <a:off x="1171950" y="5674232"/>
            <a:ext cx="3816000" cy="634494"/>
          </a:xfrm>
          <a:prstGeom prst="rect">
            <a:avLst/>
          </a:prstGeom>
        </p:spPr>
        <p:txBody>
          <a:bodyPr anchor="b"/>
          <a:lstStyle>
            <a:lvl1pPr marL="0" indent="0" algn="l" defTabSz="914377" rtl="0" eaLnBrk="1" latinLnBrk="0" hangingPunct="1">
              <a:spcAft>
                <a:spcPts val="0"/>
              </a:spcAft>
              <a:buNone/>
              <a:defRPr lang="en-US" sz="1200" b="0" i="0" kern="1200" dirty="0" smtClean="0">
                <a:solidFill>
                  <a:schemeClr val="tx1"/>
                </a:solidFill>
                <a:latin typeface="Graphik" panose="020B0503030202060203" pitchFamily="34" charset="77"/>
                <a:ea typeface="+mn-ea"/>
                <a:cs typeface="+mn-cs"/>
              </a:defRPr>
            </a:lvl1pPr>
            <a:lvl2pPr marL="0" algn="l" defTabSz="914377" rtl="0" eaLnBrk="1" latinLnBrk="0" hangingPunct="1">
              <a:spcAft>
                <a:spcPts val="0"/>
              </a:spcAft>
              <a:defRPr lang="en-US" sz="1400" b="0" kern="1200" dirty="0" smtClean="0">
                <a:solidFill>
                  <a:schemeClr val="tx1"/>
                </a:solidFill>
                <a:latin typeface="+mn-lt"/>
                <a:ea typeface="+mn-ea"/>
                <a:cs typeface="+mn-cs"/>
              </a:defRPr>
            </a:lvl2pPr>
            <a:lvl3pPr marL="0" algn="l" defTabSz="914377" rtl="0" eaLnBrk="1" latinLnBrk="0" hangingPunct="1">
              <a:spcAft>
                <a:spcPts val="0"/>
              </a:spcAft>
              <a:defRPr lang="en-US" sz="1400" b="0" kern="1200" dirty="0" smtClean="0">
                <a:solidFill>
                  <a:schemeClr val="tx1"/>
                </a:solidFill>
                <a:latin typeface="+mn-lt"/>
                <a:ea typeface="+mn-ea"/>
                <a:cs typeface="+mn-cs"/>
              </a:defRPr>
            </a:lvl3pPr>
            <a:lvl4pPr marL="0" algn="l" defTabSz="914377" rtl="0" eaLnBrk="1" latinLnBrk="0" hangingPunct="1">
              <a:spcAft>
                <a:spcPts val="0"/>
              </a:spcAft>
              <a:defRPr lang="en-US" sz="1400" b="0" kern="1200" dirty="0" smtClean="0">
                <a:solidFill>
                  <a:schemeClr val="tx1"/>
                </a:solidFill>
                <a:latin typeface="+mn-lt"/>
                <a:ea typeface="+mn-ea"/>
                <a:cs typeface="+mn-cs"/>
              </a:defRPr>
            </a:lvl4pPr>
            <a:lvl5pPr marL="0" algn="l" defTabSz="914377" rtl="0" eaLnBrk="1" latinLnBrk="0" hangingPunct="1">
              <a:spcAft>
                <a:spcPts val="0"/>
              </a:spcAft>
              <a:defRPr lang="en-US" sz="1400" b="0" kern="1200" dirty="0" smtClean="0">
                <a:solidFill>
                  <a:schemeClr val="tx1"/>
                </a:solidFill>
                <a:latin typeface="+mn-lt"/>
                <a:ea typeface="+mn-ea"/>
                <a:cs typeface="+mn-cs"/>
              </a:defRPr>
            </a:lvl5pPr>
          </a:lstStyle>
          <a:p>
            <a:pPr lvl="0"/>
            <a:r>
              <a:rPr lang="pt-BR"/>
              <a:t>Presenter</a:t>
            </a:r>
            <a:endParaRPr lang="pt-BR" dirty="0"/>
          </a:p>
        </p:txBody>
      </p:sp>
      <p:sp>
        <p:nvSpPr>
          <p:cNvPr id="23" name="Text Placeholder 16">
            <a:extLst>
              <a:ext uri="{FF2B5EF4-FFF2-40B4-BE49-F238E27FC236}">
                <a16:creationId xmlns:a16="http://schemas.microsoft.com/office/drawing/2014/main" id="{36108AED-3E3E-1C9D-6AD6-AB28DC816233}"/>
              </a:ext>
            </a:extLst>
          </p:cNvPr>
          <p:cNvSpPr>
            <a:spLocks noGrp="1"/>
          </p:cNvSpPr>
          <p:nvPr>
            <p:ph type="body" sz="quarter" idx="15" hasCustomPrompt="1"/>
          </p:nvPr>
        </p:nvSpPr>
        <p:spPr>
          <a:xfrm>
            <a:off x="9158956" y="6124059"/>
            <a:ext cx="1832894" cy="184666"/>
          </a:xfrm>
          <a:prstGeom prst="rect">
            <a:avLst/>
          </a:prstGeom>
        </p:spPr>
        <p:txBody>
          <a:bodyPr wrap="square">
            <a:spAutoFit/>
          </a:bodyPr>
          <a:lstStyle>
            <a:lvl1pPr marL="0" indent="0" algn="r" defTabSz="914377" rtl="0" eaLnBrk="1" latinLnBrk="0" hangingPunct="1">
              <a:spcAft>
                <a:spcPts val="0"/>
              </a:spcAft>
              <a:buNone/>
              <a:defRPr lang="en-US" sz="1200" b="0" i="0" kern="1200" dirty="0">
                <a:solidFill>
                  <a:schemeClr val="tx1"/>
                </a:solidFill>
                <a:latin typeface="Graphik Semibold" panose="020B0703030202060203" pitchFamily="34" charset="0"/>
                <a:ea typeface="+mn-ea"/>
                <a:cs typeface="+mn-cs"/>
              </a:defRPr>
            </a:lvl1pPr>
            <a:lvl2pPr marL="0" algn="l" defTabSz="914377" rtl="0" eaLnBrk="1" latinLnBrk="0" hangingPunct="1">
              <a:spcAft>
                <a:spcPts val="0"/>
              </a:spcAft>
              <a:defRPr lang="en-US" sz="1400" b="0" kern="1200" dirty="0" smtClean="0">
                <a:solidFill>
                  <a:schemeClr val="tx1"/>
                </a:solidFill>
                <a:latin typeface="+mn-lt"/>
                <a:ea typeface="+mn-ea"/>
                <a:cs typeface="+mn-cs"/>
              </a:defRPr>
            </a:lvl2pPr>
            <a:lvl3pPr marL="0" algn="l" defTabSz="914377" rtl="0" eaLnBrk="1" latinLnBrk="0" hangingPunct="1">
              <a:spcAft>
                <a:spcPts val="0"/>
              </a:spcAft>
              <a:defRPr lang="en-US" sz="1400" b="0" kern="1200" dirty="0" smtClean="0">
                <a:solidFill>
                  <a:schemeClr val="tx1"/>
                </a:solidFill>
                <a:latin typeface="+mn-lt"/>
                <a:ea typeface="+mn-ea"/>
                <a:cs typeface="+mn-cs"/>
              </a:defRPr>
            </a:lvl3pPr>
            <a:lvl4pPr marL="0" algn="l" defTabSz="914377" rtl="0" eaLnBrk="1" latinLnBrk="0" hangingPunct="1">
              <a:spcAft>
                <a:spcPts val="0"/>
              </a:spcAft>
              <a:defRPr lang="en-US" sz="1400" b="0" kern="1200" dirty="0" smtClean="0">
                <a:solidFill>
                  <a:schemeClr val="tx1"/>
                </a:solidFill>
                <a:latin typeface="+mn-lt"/>
                <a:ea typeface="+mn-ea"/>
                <a:cs typeface="+mn-cs"/>
              </a:defRPr>
            </a:lvl4pPr>
            <a:lvl5pPr marL="0" algn="l" defTabSz="914377" rtl="0" eaLnBrk="1" latinLnBrk="0" hangingPunct="1">
              <a:spcAft>
                <a:spcPts val="0"/>
              </a:spcAft>
              <a:defRPr lang="en-US" sz="1400" b="0" kern="1200" dirty="0" smtClean="0">
                <a:solidFill>
                  <a:schemeClr val="tx1"/>
                </a:solidFill>
                <a:latin typeface="+mn-lt"/>
                <a:ea typeface="+mn-ea"/>
                <a:cs typeface="+mn-cs"/>
              </a:defRPr>
            </a:lvl5pPr>
          </a:lstStyle>
          <a:p>
            <a:pPr lvl="0"/>
            <a:r>
              <a:rPr lang="pt-BR"/>
              <a:t>MM.DD.YYYY</a:t>
            </a:r>
            <a:endParaRPr lang="pt-BR" dirty="0"/>
          </a:p>
        </p:txBody>
      </p:sp>
    </p:spTree>
    <p:extLst>
      <p:ext uri="{BB962C8B-B14F-4D97-AF65-F5344CB8AC3E}">
        <p14:creationId xmlns:p14="http://schemas.microsoft.com/office/powerpoint/2010/main" val="220930696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1620"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ection divider: gradient">
    <p:bg>
      <p:bgPr>
        <a:solidFill>
          <a:schemeClr val="accent3"/>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A7B0DF9-70F3-6D55-4A87-870CE3C3EAF5}"/>
              </a:ext>
            </a:extLst>
          </p:cNvPr>
          <p:cNvGraphicFramePr>
            <a:graphicFrameLocks noChangeAspect="1"/>
          </p:cNvGraphicFramePr>
          <p:nvPr userDrawn="1">
            <p:custDataLst>
              <p:tags r:id="rId1"/>
            </p:custDataLst>
            <p:extLst>
              <p:ext uri="{D42A27DB-BD31-4B8C-83A1-F6EECF244321}">
                <p14:modId xmlns:p14="http://schemas.microsoft.com/office/powerpoint/2010/main" val="1157706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5" name="think-cell data - do not delete" hidden="1">
                        <a:extLst>
                          <a:ext uri="{FF2B5EF4-FFF2-40B4-BE49-F238E27FC236}">
                            <a16:creationId xmlns:a16="http://schemas.microsoft.com/office/drawing/2014/main" id="{EA7B0DF9-70F3-6D55-4A87-870CE3C3EA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descr="A purple and white blurry background&#10;&#10;AI-generated content may be incorrect.">
            <a:extLst>
              <a:ext uri="{FF2B5EF4-FFF2-40B4-BE49-F238E27FC236}">
                <a16:creationId xmlns:a16="http://schemas.microsoft.com/office/drawing/2014/main" id="{87111667-186F-DD25-9A4B-3608F196AB79}"/>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rot="5400000">
            <a:off x="2665522" y="-2667001"/>
            <a:ext cx="6857998" cy="12192000"/>
          </a:xfrm>
          <a:prstGeom prst="rect">
            <a:avLst/>
          </a:prstGeom>
        </p:spPr>
      </p:pic>
      <p:sp>
        <p:nvSpPr>
          <p:cNvPr id="17" name="Title 1">
            <a:extLst>
              <a:ext uri="{FF2B5EF4-FFF2-40B4-BE49-F238E27FC236}">
                <a16:creationId xmlns:a16="http://schemas.microsoft.com/office/drawing/2014/main" id="{2B28B826-EFF3-117E-A205-62F240EBE2CC}"/>
              </a:ext>
            </a:extLst>
          </p:cNvPr>
          <p:cNvSpPr>
            <a:spLocks noGrp="1"/>
          </p:cNvSpPr>
          <p:nvPr>
            <p:ph type="ctrTitle"/>
          </p:nvPr>
        </p:nvSpPr>
        <p:spPr bwMode="white">
          <a:xfrm>
            <a:off x="1182796" y="3776810"/>
            <a:ext cx="5715000" cy="1329595"/>
          </a:xfrm>
          <a:prstGeom prst="rect">
            <a:avLst/>
          </a:prstGeom>
        </p:spPr>
        <p:txBody>
          <a:bodyPr vert="horz" anchor="b"/>
          <a:lstStyle>
            <a:lvl1pPr algn="l" rtl="0">
              <a:lnSpc>
                <a:spcPct val="90000"/>
              </a:lnSpc>
              <a:defRPr sz="4800">
                <a:solidFill>
                  <a:schemeClr val="tx1"/>
                </a:solidFill>
              </a:defRPr>
            </a:lvl1pPr>
          </a:lstStyle>
          <a:p>
            <a:r>
              <a:rPr lang="pt-BR"/>
              <a:t>Click to edit Master title style</a:t>
            </a:r>
            <a:endParaRPr lang="pt-BR" dirty="0"/>
          </a:p>
        </p:txBody>
      </p:sp>
      <p:sp>
        <p:nvSpPr>
          <p:cNvPr id="18" name="Subtitle 2">
            <a:extLst>
              <a:ext uri="{FF2B5EF4-FFF2-40B4-BE49-F238E27FC236}">
                <a16:creationId xmlns:a16="http://schemas.microsoft.com/office/drawing/2014/main" id="{31547BE7-16A3-D21E-ADAC-48D17CDF3008}"/>
              </a:ext>
            </a:extLst>
          </p:cNvPr>
          <p:cNvSpPr>
            <a:spLocks noGrp="1"/>
          </p:cNvSpPr>
          <p:nvPr>
            <p:ph type="subTitle" idx="1" hasCustomPrompt="1"/>
          </p:nvPr>
        </p:nvSpPr>
        <p:spPr bwMode="white">
          <a:xfrm>
            <a:off x="1182796" y="5219056"/>
            <a:ext cx="5715000" cy="1092845"/>
          </a:xfrm>
          <a:prstGeom prst="rect">
            <a:avLst/>
          </a:prstGeom>
        </p:spPr>
        <p:txBody>
          <a:bodyPr/>
          <a:lstStyle>
            <a:lvl1pPr marL="0" indent="0" algn="l" rtl="0">
              <a:lnSpc>
                <a:spcPct val="90000"/>
              </a:lnSpc>
              <a:spcAft>
                <a:spcPts val="0"/>
              </a:spcAft>
              <a:buNone/>
              <a:defRPr sz="1800" b="0" i="0" spc="0">
                <a:solidFill>
                  <a:schemeClr val="tx1"/>
                </a:solidFill>
                <a:latin typeface="Graphik" panose="020B0503030202060203" pitchFamily="34" charset="77"/>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pPr marL="0" lvl="0" indent="0" algn="l" defTabSz="914377" rtl="0" eaLnBrk="1" latinLnBrk="0" hangingPunct="1">
              <a:lnSpc>
                <a:spcPct val="100000"/>
              </a:lnSpc>
              <a:spcBef>
                <a:spcPts val="0"/>
              </a:spcBef>
              <a:spcAft>
                <a:spcPts val="0"/>
              </a:spcAft>
              <a:buFont typeface="Graphik" panose="020B0604020202020204" pitchFamily="34" charset="0"/>
              <a:buNone/>
            </a:pPr>
            <a:r>
              <a:rPr lang="pt-BR"/>
              <a:t>Place subtitle here in Graphik regular</a:t>
            </a:r>
            <a:endParaRPr lang="pt-BR" dirty="0"/>
          </a:p>
        </p:txBody>
      </p:sp>
      <p:sp>
        <p:nvSpPr>
          <p:cNvPr id="2" name="Text Placeholder 8">
            <a:extLst>
              <a:ext uri="{FF2B5EF4-FFF2-40B4-BE49-F238E27FC236}">
                <a16:creationId xmlns:a16="http://schemas.microsoft.com/office/drawing/2014/main" id="{56C59DBC-B2E5-1892-B37B-68897D161976}"/>
              </a:ext>
            </a:extLst>
          </p:cNvPr>
          <p:cNvSpPr>
            <a:spLocks noGrp="1"/>
          </p:cNvSpPr>
          <p:nvPr>
            <p:ph type="body" sz="quarter" idx="11" hasCustomPrompt="1"/>
          </p:nvPr>
        </p:nvSpPr>
        <p:spPr>
          <a:xfrm>
            <a:off x="1189497" y="2433053"/>
            <a:ext cx="1150956" cy="1231106"/>
          </a:xfrm>
        </p:spPr>
        <p:txBody>
          <a:bodyPr wrap="none" anchor="b">
            <a:spAutoFit/>
          </a:bodyPr>
          <a:lstStyle>
            <a:lvl1pPr rtl="0">
              <a:defRPr sz="8000">
                <a:latin typeface="Graphik Semibold" panose="020B0703030202060203" pitchFamily="34" charset="0"/>
              </a:defRPr>
            </a:lvl1pPr>
          </a:lstStyle>
          <a:p>
            <a:pPr lvl="0"/>
            <a:r>
              <a:rPr lang="pt-BR"/>
              <a:t>##</a:t>
            </a:r>
            <a:endParaRPr lang="pt-BR" dirty="0"/>
          </a:p>
        </p:txBody>
      </p:sp>
    </p:spTree>
    <p:extLst>
      <p:ext uri="{BB962C8B-B14F-4D97-AF65-F5344CB8AC3E}">
        <p14:creationId xmlns:p14="http://schemas.microsoft.com/office/powerpoint/2010/main" val="2624428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ection divider: image dark mode">
    <p:bg>
      <p:bgPr>
        <a:solidFill>
          <a:srgbClr val="000000"/>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A5C553B-0BC2-6B8B-20D7-B0B9959ED5AE}"/>
              </a:ext>
            </a:extLst>
          </p:cNvPr>
          <p:cNvGraphicFramePr>
            <a:graphicFrameLocks noChangeAspect="1"/>
          </p:cNvGraphicFramePr>
          <p:nvPr userDrawn="1">
            <p:custDataLst>
              <p:tags r:id="rId1"/>
            </p:custDataLst>
            <p:extLst>
              <p:ext uri="{D42A27DB-BD31-4B8C-83A1-F6EECF244321}">
                <p14:modId xmlns:p14="http://schemas.microsoft.com/office/powerpoint/2010/main" val="3112467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8" name="think-cell data - do not delete" hidden="1">
                        <a:extLst>
                          <a:ext uri="{FF2B5EF4-FFF2-40B4-BE49-F238E27FC236}">
                            <a16:creationId xmlns:a16="http://schemas.microsoft.com/office/drawing/2014/main" id="{1A5C553B-0BC2-6B8B-20D7-B0B9959ED5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574352" y="4020089"/>
            <a:ext cx="4205323" cy="787908"/>
          </a:xfrm>
          <a:prstGeom prst="rect">
            <a:avLst/>
          </a:prstGeom>
        </p:spPr>
        <p:txBody>
          <a:bodyPr vert="horz" anchor="b" anchorCtr="0"/>
          <a:lstStyle>
            <a:lvl1pPr rtl="0">
              <a:defRPr sz="3200">
                <a:solidFill>
                  <a:schemeClr val="tx1"/>
                </a:solidFill>
              </a:defRPr>
            </a:lvl1pPr>
          </a:lstStyle>
          <a:p>
            <a:r>
              <a:rPr lang="pt-BR"/>
              <a:t>Click to edit Section title style</a:t>
            </a:r>
            <a:endParaRPr lang="pt-BR" dirty="0"/>
          </a:p>
        </p:txBody>
      </p:sp>
      <p:sp>
        <p:nvSpPr>
          <p:cNvPr id="3" name="Text Placeholder 8">
            <a:extLst>
              <a:ext uri="{FF2B5EF4-FFF2-40B4-BE49-F238E27FC236}">
                <a16:creationId xmlns:a16="http://schemas.microsoft.com/office/drawing/2014/main" id="{1462BA77-FAF3-D3DC-18C0-2C2257012AB5}"/>
              </a:ext>
            </a:extLst>
          </p:cNvPr>
          <p:cNvSpPr>
            <a:spLocks noGrp="1"/>
          </p:cNvSpPr>
          <p:nvPr>
            <p:ph type="body" sz="quarter" idx="11" hasCustomPrompt="1"/>
          </p:nvPr>
        </p:nvSpPr>
        <p:spPr>
          <a:xfrm>
            <a:off x="574352" y="2576447"/>
            <a:ext cx="1150956" cy="1231106"/>
          </a:xfrm>
        </p:spPr>
        <p:txBody>
          <a:bodyPr wrap="none" anchor="b">
            <a:spAutoFit/>
          </a:bodyPr>
          <a:lstStyle>
            <a:lvl1pPr rtl="0">
              <a:defRPr sz="8000">
                <a:latin typeface="Graphik Semibold" panose="020B0703030202060203" pitchFamily="34" charset="0"/>
              </a:defRPr>
            </a:lvl1pPr>
          </a:lstStyle>
          <a:p>
            <a:pPr lvl="0"/>
            <a:r>
              <a:rPr lang="pt-BR"/>
              <a:t>##</a:t>
            </a:r>
            <a:endParaRPr lang="pt-BR" dirty="0"/>
          </a:p>
        </p:txBody>
      </p:sp>
      <p:sp>
        <p:nvSpPr>
          <p:cNvPr id="5" name="Text Placeholder 8">
            <a:extLst>
              <a:ext uri="{FF2B5EF4-FFF2-40B4-BE49-F238E27FC236}">
                <a16:creationId xmlns:a16="http://schemas.microsoft.com/office/drawing/2014/main" id="{772726BC-B615-3428-7DAF-2FCAE36D30B4}"/>
              </a:ext>
            </a:extLst>
          </p:cNvPr>
          <p:cNvSpPr>
            <a:spLocks noGrp="1"/>
          </p:cNvSpPr>
          <p:nvPr>
            <p:ph type="body" sz="quarter" idx="19" hasCustomPrompt="1"/>
          </p:nvPr>
        </p:nvSpPr>
        <p:spPr>
          <a:xfrm>
            <a:off x="574352" y="5080829"/>
            <a:ext cx="4205324" cy="787909"/>
          </a:xfrm>
          <a:prstGeom prst="rect">
            <a:avLst/>
          </a:prstGeom>
        </p:spPr>
        <p:txBody>
          <a:bodyPr/>
          <a:lstStyle>
            <a:lvl1pPr marL="0" indent="0" rtl="0">
              <a:lnSpc>
                <a:spcPct val="90000"/>
              </a:lnSpc>
              <a:spcAft>
                <a:spcPts val="600"/>
              </a:spcAft>
              <a:buNone/>
              <a:defRPr sz="1600" b="0" i="0">
                <a:solidFill>
                  <a:schemeClr val="accent2"/>
                </a:solidFill>
                <a:latin typeface="Graphik" panose="020B0503030202060203" pitchFamily="34" charset="77"/>
              </a:defRPr>
            </a:lvl1pPr>
            <a:lvl2pPr marL="0" indent="0">
              <a:spcAft>
                <a:spcPts val="600"/>
              </a:spcAft>
              <a:buNone/>
              <a:defRPr sz="2400">
                <a:latin typeface="GT Sectra Fine Rg" panose="00000500000000000000" pitchFamily="50" charset="0"/>
              </a:defRPr>
            </a:lvl2pPr>
            <a:lvl3pPr marL="0" indent="0">
              <a:spcAft>
                <a:spcPts val="600"/>
              </a:spcAft>
              <a:buNone/>
              <a:defRPr sz="2400">
                <a:latin typeface="GT Sectra Fine Rg" panose="00000500000000000000" pitchFamily="50" charset="0"/>
              </a:defRPr>
            </a:lvl3pPr>
            <a:lvl4pPr marL="0" indent="0">
              <a:spcAft>
                <a:spcPts val="600"/>
              </a:spcAft>
              <a:buNone/>
              <a:defRPr sz="2400">
                <a:latin typeface="GT Sectra Fine Rg" panose="00000500000000000000" pitchFamily="50" charset="0"/>
              </a:defRPr>
            </a:lvl4pPr>
            <a:lvl5pPr marL="0" indent="0">
              <a:spcAft>
                <a:spcPts val="600"/>
              </a:spcAft>
              <a:buNone/>
              <a:defRPr sz="2400">
                <a:latin typeface="GT Sectra Fine Rg" panose="00000500000000000000" pitchFamily="50" charset="0"/>
              </a:defRPr>
            </a:lvl5pPr>
          </a:lstStyle>
          <a:p>
            <a:pPr lvl="0"/>
            <a:r>
              <a:rPr lang="pt-BR"/>
              <a:t>Place subtitle here in Graphik regular</a:t>
            </a:r>
            <a:endParaRPr lang="pt-BR" dirty="0"/>
          </a:p>
        </p:txBody>
      </p:sp>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5362807" y="549275"/>
            <a:ext cx="6278331" cy="5759449"/>
          </a:xfrm>
          <a:prstGeom prst="rect">
            <a:avLst/>
          </a:prstGeom>
          <a:solidFill>
            <a:schemeClr val="tx1">
              <a:lumMod val="95000"/>
            </a:schemeClr>
          </a:solidFill>
        </p:spPr>
        <p:txBody>
          <a:bodyPr tIns="274320" bIns="274320" anchor="ctr"/>
          <a:lstStyle>
            <a:lvl1pPr marL="0" indent="0" algn="ctr" rtl="0">
              <a:buNone/>
              <a:defRPr sz="1400" b="0" i="0">
                <a:solidFill>
                  <a:schemeClr val="bg1"/>
                </a:solidFill>
                <a:latin typeface="Graphik" panose="020B0503030202060203" pitchFamily="34" charset="77"/>
              </a:defRPr>
            </a:lvl1pPr>
          </a:lstStyle>
          <a:p>
            <a:r>
              <a:rPr lang="pt-BR"/>
              <a:t>Drag picture to placeholder or click icon to add</a:t>
            </a:r>
            <a:endParaRPr lang="pt-BR" dirty="0"/>
          </a:p>
        </p:txBody>
      </p:sp>
      <p:sp>
        <p:nvSpPr>
          <p:cNvPr id="7" name="slide number automatic">
            <a:extLst>
              <a:ext uri="{FF2B5EF4-FFF2-40B4-BE49-F238E27FC236}">
                <a16:creationId xmlns:a16="http://schemas.microsoft.com/office/drawing/2014/main" id="{89017E74-C690-EF85-4C2D-25D3ED0FF55F}"/>
              </a:ext>
            </a:extLst>
          </p:cNvPr>
          <p:cNvSpPr txBox="1"/>
          <p:nvPr userDrawn="1"/>
        </p:nvSpPr>
        <p:spPr>
          <a:xfrm>
            <a:off x="11685965" y="6429853"/>
            <a:ext cx="125035" cy="123111"/>
          </a:xfrm>
          <a:prstGeom prst="rect">
            <a:avLst/>
          </a:prstGeom>
          <a:noFill/>
        </p:spPr>
        <p:txBody>
          <a:bodyPr wrap="none" lIns="0" tIns="0" rIns="0" bIns="0" rtlCol="0" anchor="ctr">
            <a:spAutoFit/>
          </a:bodyPr>
          <a:lstStyle/>
          <a:p>
            <a:pPr marL="0" marR="0" lvl="0" indent="0" algn="r" defTabSz="228594" rtl="0" eaLnBrk="1" fontAlgn="auto" latinLnBrk="0" hangingPunct="1">
              <a:lnSpc>
                <a:spcPct val="100000"/>
              </a:lnSpc>
              <a:spcBef>
                <a:spcPts val="0"/>
              </a:spcBef>
              <a:spcAft>
                <a:spcPts val="1200"/>
              </a:spcAft>
              <a:buClrTx/>
              <a:buSzTx/>
              <a:buFontTx/>
              <a:buNone/>
              <a:tabLst/>
              <a:defRPr/>
            </a:pPr>
            <a:fld id="{8A1971D9-5B62-3C46-9EC9-FDAAB88557B2}" type="slidenum">
              <a:rPr lang="pt-BR" sz="800" smtClean="0">
                <a:solidFill>
                  <a:srgbClr val="FFFFFF">
                    <a:alpha val="75000"/>
                  </a:srgbClr>
                </a:solidFill>
                <a:latin typeface="Graphik Semibold" panose="020B0703030202060203" pitchFamily="34" charset="0"/>
              </a:rPr>
              <a:pPr marL="0" marR="0" lvl="0" indent="0" algn="r" defTabSz="228594" rtl="0" eaLnBrk="1" fontAlgn="auto" latinLnBrk="0" hangingPunct="1">
                <a:lnSpc>
                  <a:spcPct val="100000"/>
                </a:lnSpc>
                <a:spcBef>
                  <a:spcPts val="0"/>
                </a:spcBef>
                <a:spcAft>
                  <a:spcPts val="1200"/>
                </a:spcAft>
                <a:buClrTx/>
                <a:buSzTx/>
                <a:buFontTx/>
                <a:buNone/>
                <a:tabLst/>
                <a:defRPr/>
              </a:pPr>
              <a:t>‹#›</a:t>
            </a:fld>
            <a:endParaRPr lang="pt-BR" sz="1351" noProof="0" dirty="0">
              <a:solidFill>
                <a:srgbClr val="FFFFFF">
                  <a:alpha val="75000"/>
                </a:srgbClr>
              </a:solidFill>
              <a:latin typeface="Graphik Semibold" panose="020B0703030202060203" pitchFamily="34" charset="0"/>
            </a:endParaRPr>
          </a:p>
        </p:txBody>
      </p:sp>
    </p:spTree>
    <p:extLst>
      <p:ext uri="{BB962C8B-B14F-4D97-AF65-F5344CB8AC3E}">
        <p14:creationId xmlns:p14="http://schemas.microsoft.com/office/powerpoint/2010/main" val="83659789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divider: image light mo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7C7A36F-53EB-E787-47BA-E7A0102AFCF3}"/>
              </a:ext>
            </a:extLst>
          </p:cNvPr>
          <p:cNvGraphicFramePr>
            <a:graphicFrameLocks noChangeAspect="1"/>
          </p:cNvGraphicFramePr>
          <p:nvPr userDrawn="1">
            <p:custDataLst>
              <p:tags r:id="rId1"/>
            </p:custDataLst>
            <p:extLst>
              <p:ext uri="{D42A27DB-BD31-4B8C-83A1-F6EECF244321}">
                <p14:modId xmlns:p14="http://schemas.microsoft.com/office/powerpoint/2010/main" val="34167452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4" name="think-cell data - do not delete" hidden="1">
                        <a:extLst>
                          <a:ext uri="{FF2B5EF4-FFF2-40B4-BE49-F238E27FC236}">
                            <a16:creationId xmlns:a16="http://schemas.microsoft.com/office/drawing/2014/main" id="{77C7A36F-53EB-E787-47BA-E7A0102AFC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1F18E800-DE3F-7813-356B-5ABD491337A5}"/>
              </a:ext>
            </a:extLst>
          </p:cNvPr>
          <p:cNvSpPr>
            <a:spLocks noGrp="1"/>
          </p:cNvSpPr>
          <p:nvPr>
            <p:ph type="title" hasCustomPrompt="1"/>
          </p:nvPr>
        </p:nvSpPr>
        <p:spPr>
          <a:xfrm>
            <a:off x="574352" y="4020089"/>
            <a:ext cx="4205323" cy="787908"/>
          </a:xfrm>
          <a:prstGeom prst="rect">
            <a:avLst/>
          </a:prstGeom>
        </p:spPr>
        <p:txBody>
          <a:bodyPr vert="horz" anchor="b" anchorCtr="0"/>
          <a:lstStyle>
            <a:lvl1pPr rtl="0">
              <a:defRPr sz="3200">
                <a:solidFill>
                  <a:schemeClr val="tx1"/>
                </a:solidFill>
              </a:defRPr>
            </a:lvl1pPr>
          </a:lstStyle>
          <a:p>
            <a:r>
              <a:rPr lang="pt-BR"/>
              <a:t>Click to edit Section title style</a:t>
            </a:r>
            <a:endParaRPr lang="pt-BR" dirty="0"/>
          </a:p>
        </p:txBody>
      </p:sp>
      <p:sp>
        <p:nvSpPr>
          <p:cNvPr id="11" name="Picture Placeholder 18">
            <a:extLst>
              <a:ext uri="{FF2B5EF4-FFF2-40B4-BE49-F238E27FC236}">
                <a16:creationId xmlns:a16="http://schemas.microsoft.com/office/drawing/2014/main" id="{C1C7CFCC-2C79-7017-C82B-A74A23285174}"/>
              </a:ext>
            </a:extLst>
          </p:cNvPr>
          <p:cNvSpPr>
            <a:spLocks noGrp="1"/>
          </p:cNvSpPr>
          <p:nvPr>
            <p:ph type="pic" sz="quarter" idx="13" hasCustomPrompt="1"/>
          </p:nvPr>
        </p:nvSpPr>
        <p:spPr>
          <a:xfrm>
            <a:off x="5362807" y="549275"/>
            <a:ext cx="6278331" cy="5759449"/>
          </a:xfrm>
          <a:prstGeom prst="rect">
            <a:avLst/>
          </a:prstGeom>
          <a:solidFill>
            <a:schemeClr val="bg1">
              <a:lumMod val="95000"/>
            </a:schemeClr>
          </a:solidFill>
        </p:spPr>
        <p:txBody>
          <a:bodyPr tIns="274320" bIns="274320" anchor="ctr"/>
          <a:lstStyle>
            <a:lvl1pPr marL="0" indent="0" algn="ctr" rtl="0">
              <a:buNone/>
              <a:defRPr sz="1400" b="0" i="0">
                <a:solidFill>
                  <a:schemeClr val="tx1"/>
                </a:solidFill>
                <a:latin typeface="Graphik" panose="020B0503030202060203" pitchFamily="34" charset="77"/>
              </a:defRPr>
            </a:lvl1pPr>
          </a:lstStyle>
          <a:p>
            <a:r>
              <a:rPr lang="pt-BR"/>
              <a:t>Drag picture to placeholder or click icon to add</a:t>
            </a:r>
            <a:endParaRPr lang="pt-BR" dirty="0"/>
          </a:p>
        </p:txBody>
      </p:sp>
      <p:sp>
        <p:nvSpPr>
          <p:cNvPr id="12" name="Text Placeholder 8">
            <a:extLst>
              <a:ext uri="{FF2B5EF4-FFF2-40B4-BE49-F238E27FC236}">
                <a16:creationId xmlns:a16="http://schemas.microsoft.com/office/drawing/2014/main" id="{A631764B-7AB2-0534-6571-AAD04310DAF4}"/>
              </a:ext>
            </a:extLst>
          </p:cNvPr>
          <p:cNvSpPr>
            <a:spLocks noGrp="1"/>
          </p:cNvSpPr>
          <p:nvPr>
            <p:ph type="body" sz="quarter" idx="19" hasCustomPrompt="1"/>
          </p:nvPr>
        </p:nvSpPr>
        <p:spPr>
          <a:xfrm>
            <a:off x="574352" y="5080829"/>
            <a:ext cx="4205324" cy="787909"/>
          </a:xfrm>
          <a:prstGeom prst="rect">
            <a:avLst/>
          </a:prstGeom>
        </p:spPr>
        <p:txBody>
          <a:bodyPr/>
          <a:lstStyle>
            <a:lvl1pPr marL="0" indent="0" rtl="0">
              <a:lnSpc>
                <a:spcPct val="90000"/>
              </a:lnSpc>
              <a:spcAft>
                <a:spcPts val="600"/>
              </a:spcAft>
              <a:buNone/>
              <a:defRPr sz="1600" b="0" i="0">
                <a:solidFill>
                  <a:schemeClr val="bg2"/>
                </a:solidFill>
                <a:latin typeface="Graphik" panose="020B0503030202060203" pitchFamily="34" charset="77"/>
              </a:defRPr>
            </a:lvl1pPr>
            <a:lvl2pPr marL="0" indent="0">
              <a:spcAft>
                <a:spcPts val="600"/>
              </a:spcAft>
              <a:buNone/>
              <a:defRPr sz="2400">
                <a:latin typeface="GT Sectra Fine Rg" panose="00000500000000000000" pitchFamily="50" charset="0"/>
              </a:defRPr>
            </a:lvl2pPr>
            <a:lvl3pPr marL="0" indent="0">
              <a:spcAft>
                <a:spcPts val="600"/>
              </a:spcAft>
              <a:buNone/>
              <a:defRPr sz="2400">
                <a:latin typeface="GT Sectra Fine Rg" panose="00000500000000000000" pitchFamily="50" charset="0"/>
              </a:defRPr>
            </a:lvl3pPr>
            <a:lvl4pPr marL="0" indent="0">
              <a:spcAft>
                <a:spcPts val="600"/>
              </a:spcAft>
              <a:buNone/>
              <a:defRPr sz="2400">
                <a:latin typeface="GT Sectra Fine Rg" panose="00000500000000000000" pitchFamily="50" charset="0"/>
              </a:defRPr>
            </a:lvl4pPr>
            <a:lvl5pPr marL="0" indent="0">
              <a:spcAft>
                <a:spcPts val="600"/>
              </a:spcAft>
              <a:buNone/>
              <a:defRPr sz="2400">
                <a:latin typeface="GT Sectra Fine Rg" panose="00000500000000000000" pitchFamily="50" charset="0"/>
              </a:defRPr>
            </a:lvl5pPr>
          </a:lstStyle>
          <a:p>
            <a:pPr lvl="0"/>
            <a:r>
              <a:rPr lang="pt-BR"/>
              <a:t>Place subtitle here in Graphik regular</a:t>
            </a:r>
            <a:endParaRPr lang="pt-BR" dirty="0"/>
          </a:p>
        </p:txBody>
      </p:sp>
      <p:sp>
        <p:nvSpPr>
          <p:cNvPr id="3" name="Text Placeholder 8">
            <a:extLst>
              <a:ext uri="{FF2B5EF4-FFF2-40B4-BE49-F238E27FC236}">
                <a16:creationId xmlns:a16="http://schemas.microsoft.com/office/drawing/2014/main" id="{2823CF50-4615-0652-00EC-47F06086B36E}"/>
              </a:ext>
            </a:extLst>
          </p:cNvPr>
          <p:cNvSpPr>
            <a:spLocks noGrp="1"/>
          </p:cNvSpPr>
          <p:nvPr>
            <p:ph type="body" sz="quarter" idx="11" hasCustomPrompt="1"/>
          </p:nvPr>
        </p:nvSpPr>
        <p:spPr>
          <a:xfrm>
            <a:off x="574352" y="2576447"/>
            <a:ext cx="1150956" cy="1231106"/>
          </a:xfrm>
        </p:spPr>
        <p:txBody>
          <a:bodyPr wrap="none" anchor="b">
            <a:spAutoFit/>
          </a:bodyPr>
          <a:lstStyle>
            <a:lvl1pPr rtl="0">
              <a:defRPr sz="8000">
                <a:latin typeface="Graphik Semibold" panose="020B0703030202060203" pitchFamily="34" charset="0"/>
              </a:defRPr>
            </a:lvl1pPr>
          </a:lstStyle>
          <a:p>
            <a:pPr lvl="0"/>
            <a:r>
              <a:rPr lang="pt-BR"/>
              <a:t>##</a:t>
            </a:r>
            <a:endParaRPr lang="pt-BR" dirty="0"/>
          </a:p>
        </p:txBody>
      </p:sp>
    </p:spTree>
    <p:extLst>
      <p:ext uri="{BB962C8B-B14F-4D97-AF65-F5344CB8AC3E}">
        <p14:creationId xmlns:p14="http://schemas.microsoft.com/office/powerpoint/2010/main" val="34628648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title only">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B2EEB4C-F9A2-3C72-8CEC-B3EC3F482DAF}"/>
              </a:ext>
            </a:extLst>
          </p:cNvPr>
          <p:cNvGraphicFramePr>
            <a:graphicFrameLocks noChangeAspect="1"/>
          </p:cNvGraphicFramePr>
          <p:nvPr userDrawn="1">
            <p:custDataLst>
              <p:tags r:id="rId1"/>
            </p:custDataLst>
            <p:extLst>
              <p:ext uri="{D42A27DB-BD31-4B8C-83A1-F6EECF244321}">
                <p14:modId xmlns:p14="http://schemas.microsoft.com/office/powerpoint/2010/main" val="3122005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4" name="think-cell data - do not delete" hidden="1">
                        <a:extLst>
                          <a:ext uri="{FF2B5EF4-FFF2-40B4-BE49-F238E27FC236}">
                            <a16:creationId xmlns:a16="http://schemas.microsoft.com/office/drawing/2014/main" id="{9B2EEB4C-F9A2-3C72-8CEC-B3EC3F482D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E215616-27C6-76EE-5488-166BFD01211E}"/>
              </a:ext>
            </a:extLst>
          </p:cNvPr>
          <p:cNvSpPr>
            <a:spLocks noGrp="1"/>
          </p:cNvSpPr>
          <p:nvPr>
            <p:ph type="title"/>
          </p:nvPr>
        </p:nvSpPr>
        <p:spPr>
          <a:xfrm>
            <a:off x="556467" y="572600"/>
            <a:ext cx="11084672" cy="393954"/>
          </a:xfrm>
        </p:spPr>
        <p:txBody>
          <a:bodyPr vert="horz"/>
          <a:lstStyle>
            <a:lvl1pPr rtl="0">
              <a:defRPr/>
            </a:lvl1pPr>
          </a:lstStyle>
          <a:p>
            <a:r>
              <a:rPr lang="pt-BR"/>
              <a:t>Click to edit Master title style</a:t>
            </a:r>
            <a:endParaRPr lang="pt-BR" dirty="0"/>
          </a:p>
        </p:txBody>
      </p:sp>
    </p:spTree>
    <p:extLst>
      <p:ext uri="{BB962C8B-B14F-4D97-AF65-F5344CB8AC3E}">
        <p14:creationId xmlns:p14="http://schemas.microsoft.com/office/powerpoint/2010/main" val="27667841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title only dark mode">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5010469-B6FB-96D3-1B55-21482385ADCC}"/>
              </a:ext>
            </a:extLst>
          </p:cNvPr>
          <p:cNvGraphicFramePr>
            <a:graphicFrameLocks noChangeAspect="1"/>
          </p:cNvGraphicFramePr>
          <p:nvPr userDrawn="1">
            <p:custDataLst>
              <p:tags r:id="rId1"/>
            </p:custDataLst>
            <p:extLst>
              <p:ext uri="{D42A27DB-BD31-4B8C-83A1-F6EECF244321}">
                <p14:modId xmlns:p14="http://schemas.microsoft.com/office/powerpoint/2010/main" val="24081370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3" name="think-cell data - do not delete" hidden="1">
                        <a:extLst>
                          <a:ext uri="{FF2B5EF4-FFF2-40B4-BE49-F238E27FC236}">
                            <a16:creationId xmlns:a16="http://schemas.microsoft.com/office/drawing/2014/main" id="{85010469-B6FB-96D3-1B55-21482385AD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2">
            <a:extLst>
              <a:ext uri="{FF2B5EF4-FFF2-40B4-BE49-F238E27FC236}">
                <a16:creationId xmlns:a16="http://schemas.microsoft.com/office/drawing/2014/main" id="{A7088337-B770-9033-B18E-F20E290B6743}"/>
              </a:ext>
            </a:extLst>
          </p:cNvPr>
          <p:cNvSpPr>
            <a:spLocks noGrp="1"/>
          </p:cNvSpPr>
          <p:nvPr>
            <p:ph type="title"/>
          </p:nvPr>
        </p:nvSpPr>
        <p:spPr>
          <a:xfrm>
            <a:off x="556467" y="572600"/>
            <a:ext cx="11084672" cy="393954"/>
          </a:xfrm>
        </p:spPr>
        <p:txBody>
          <a:bodyPr vert="horz"/>
          <a:lstStyle>
            <a:lvl1pPr rtl="0">
              <a:defRPr/>
            </a:lvl1pPr>
          </a:lstStyle>
          <a:p>
            <a:r>
              <a:rPr lang="pt-BR"/>
              <a:t>Click to edit Master title style</a:t>
            </a:r>
            <a:endParaRPr lang="pt-BR" dirty="0"/>
          </a:p>
        </p:txBody>
      </p:sp>
    </p:spTree>
    <p:extLst>
      <p:ext uri="{BB962C8B-B14F-4D97-AF65-F5344CB8AC3E}">
        <p14:creationId xmlns:p14="http://schemas.microsoft.com/office/powerpoint/2010/main" val="3999418117"/>
      </p:ext>
    </p:extLst>
  </p:cSld>
  <p:clrMapOvr>
    <a:overrideClrMapping bg1="dk1" tx1="lt1" bg2="dk2" tx2="lt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numbered bullets dark mode ">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7C9F08A-8AA5-0EEC-4171-8E539BBF13A7}"/>
              </a:ext>
            </a:extLst>
          </p:cNvPr>
          <p:cNvGraphicFramePr>
            <a:graphicFrameLocks noChangeAspect="1"/>
          </p:cNvGraphicFramePr>
          <p:nvPr userDrawn="1">
            <p:custDataLst>
              <p:tags r:id="rId1"/>
            </p:custDataLst>
            <p:extLst>
              <p:ext uri="{D42A27DB-BD31-4B8C-83A1-F6EECF244321}">
                <p14:modId xmlns:p14="http://schemas.microsoft.com/office/powerpoint/2010/main" val="1606274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3" name="think-cell data - do not delete" hidden="1">
                        <a:extLst>
                          <a:ext uri="{FF2B5EF4-FFF2-40B4-BE49-F238E27FC236}">
                            <a16:creationId xmlns:a16="http://schemas.microsoft.com/office/drawing/2014/main" id="{B7C9F08A-8AA5-0EEC-4171-8E539BBF13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2">
            <a:extLst>
              <a:ext uri="{FF2B5EF4-FFF2-40B4-BE49-F238E27FC236}">
                <a16:creationId xmlns:a16="http://schemas.microsoft.com/office/drawing/2014/main" id="{A7088337-B770-9033-B18E-F20E290B6743}"/>
              </a:ext>
            </a:extLst>
          </p:cNvPr>
          <p:cNvSpPr>
            <a:spLocks noGrp="1"/>
          </p:cNvSpPr>
          <p:nvPr>
            <p:ph type="title"/>
          </p:nvPr>
        </p:nvSpPr>
        <p:spPr>
          <a:xfrm>
            <a:off x="556467" y="572600"/>
            <a:ext cx="11084672" cy="393954"/>
          </a:xfrm>
        </p:spPr>
        <p:txBody>
          <a:bodyPr vert="horz"/>
          <a:lstStyle>
            <a:lvl1pPr rtl="0">
              <a:defRPr/>
            </a:lvl1pPr>
          </a:lstStyle>
          <a:p>
            <a:r>
              <a:rPr lang="pt-BR"/>
              <a:t>Click to edit Master title style</a:t>
            </a:r>
            <a:endParaRPr lang="pt-BR" dirty="0"/>
          </a:p>
        </p:txBody>
      </p:sp>
      <p:sp>
        <p:nvSpPr>
          <p:cNvPr id="20" name="Text Placeholder 4">
            <a:extLst>
              <a:ext uri="{FF2B5EF4-FFF2-40B4-BE49-F238E27FC236}">
                <a16:creationId xmlns:a16="http://schemas.microsoft.com/office/drawing/2014/main" id="{B399DA3F-4572-D252-06D8-F77FDA3E4F31}"/>
              </a:ext>
            </a:extLst>
          </p:cNvPr>
          <p:cNvSpPr>
            <a:spLocks noGrp="1"/>
          </p:cNvSpPr>
          <p:nvPr>
            <p:ph type="body" sz="quarter" idx="16" hasCustomPrompt="1"/>
          </p:nvPr>
        </p:nvSpPr>
        <p:spPr>
          <a:xfrm>
            <a:off x="1968842" y="1866147"/>
            <a:ext cx="3226642" cy="485340"/>
          </a:xfrm>
          <a:prstGeom prst="rect">
            <a:avLst/>
          </a:prstGeom>
        </p:spPr>
        <p:txBody>
          <a:bodyPr anchor="t"/>
          <a:lstStyle>
            <a:lvl1pPr rtl="0">
              <a:spcAft>
                <a:spcPts val="0"/>
              </a:spcAft>
              <a:buNone/>
              <a:defRPr lang="en-US" sz="1200" kern="1200" dirty="0">
                <a:solidFill>
                  <a:schemeClr val="tx1"/>
                </a:solidFill>
                <a:latin typeface="Graphik" panose="020B0503030202060203" pitchFamily="34" charset="77"/>
                <a:ea typeface="+mn-ea"/>
                <a:cs typeface="+mn-cs"/>
              </a:defRPr>
            </a:lvl1pPr>
          </a:lstStyle>
          <a:p>
            <a:pPr lvl="0"/>
            <a:r>
              <a:rPr lang="pt-BR"/>
              <a:t>Insert text here</a:t>
            </a:r>
            <a:endParaRPr lang="pt-BR" dirty="0"/>
          </a:p>
        </p:txBody>
      </p:sp>
      <p:sp>
        <p:nvSpPr>
          <p:cNvPr id="21" name="Text Placeholder 9">
            <a:extLst>
              <a:ext uri="{FF2B5EF4-FFF2-40B4-BE49-F238E27FC236}">
                <a16:creationId xmlns:a16="http://schemas.microsoft.com/office/drawing/2014/main" id="{6325E3FE-E322-E468-99F4-AB54161673A1}"/>
              </a:ext>
            </a:extLst>
          </p:cNvPr>
          <p:cNvSpPr>
            <a:spLocks noGrp="1"/>
          </p:cNvSpPr>
          <p:nvPr>
            <p:ph type="body" sz="quarter" idx="32" hasCustomPrompt="1"/>
          </p:nvPr>
        </p:nvSpPr>
        <p:spPr>
          <a:xfrm>
            <a:off x="557213" y="1866147"/>
            <a:ext cx="1163099" cy="393954"/>
          </a:xfrm>
        </p:spPr>
        <p:txBody>
          <a:bodyPr/>
          <a:lstStyle>
            <a:lvl1pPr rtl="0">
              <a:defRPr lang="en-AR" sz="1600" b="1" kern="1200" dirty="0">
                <a:solidFill>
                  <a:schemeClr val="accent2"/>
                </a:solidFill>
                <a:latin typeface="Graphik Semibold" panose="020B0503030202060203" pitchFamily="34" charset="77"/>
                <a:ea typeface="+mn-ea"/>
                <a:cs typeface="+mn-cs"/>
              </a:defRPr>
            </a:lvl1pPr>
          </a:lstStyle>
          <a:p>
            <a:pPr lvl="0"/>
            <a:r>
              <a:rPr lang="pt-BR"/>
              <a:t>##</a:t>
            </a:r>
            <a:endParaRPr lang="pt-BR" dirty="0"/>
          </a:p>
        </p:txBody>
      </p:sp>
      <p:sp>
        <p:nvSpPr>
          <p:cNvPr id="22" name="Text Placeholder 4">
            <a:extLst>
              <a:ext uri="{FF2B5EF4-FFF2-40B4-BE49-F238E27FC236}">
                <a16:creationId xmlns:a16="http://schemas.microsoft.com/office/drawing/2014/main" id="{05F341DC-1615-BF26-3E11-E7C93BBCA3BD}"/>
              </a:ext>
            </a:extLst>
          </p:cNvPr>
          <p:cNvSpPr>
            <a:spLocks noGrp="1"/>
          </p:cNvSpPr>
          <p:nvPr>
            <p:ph type="body" sz="quarter" idx="33" hasCustomPrompt="1"/>
          </p:nvPr>
        </p:nvSpPr>
        <p:spPr>
          <a:xfrm>
            <a:off x="7765208" y="1866147"/>
            <a:ext cx="3226642" cy="485340"/>
          </a:xfrm>
          <a:prstGeom prst="rect">
            <a:avLst/>
          </a:prstGeom>
        </p:spPr>
        <p:txBody>
          <a:bodyPr anchor="t"/>
          <a:lstStyle>
            <a:lvl1pPr rtl="0">
              <a:spcAft>
                <a:spcPts val="0"/>
              </a:spcAft>
              <a:buNone/>
              <a:defRPr lang="en-US" sz="1200" kern="1200" dirty="0">
                <a:solidFill>
                  <a:schemeClr val="tx1"/>
                </a:solidFill>
                <a:latin typeface="Graphik" panose="020B0503030202060203" pitchFamily="34" charset="77"/>
                <a:ea typeface="+mn-ea"/>
                <a:cs typeface="+mn-cs"/>
              </a:defRPr>
            </a:lvl1pPr>
          </a:lstStyle>
          <a:p>
            <a:pPr lvl="0"/>
            <a:r>
              <a:rPr lang="pt-BR"/>
              <a:t>Insert text here</a:t>
            </a:r>
            <a:endParaRPr lang="pt-BR" dirty="0"/>
          </a:p>
        </p:txBody>
      </p:sp>
      <p:sp>
        <p:nvSpPr>
          <p:cNvPr id="23" name="Text Placeholder 9">
            <a:extLst>
              <a:ext uri="{FF2B5EF4-FFF2-40B4-BE49-F238E27FC236}">
                <a16:creationId xmlns:a16="http://schemas.microsoft.com/office/drawing/2014/main" id="{346A6073-19DD-BFEA-265B-416448C27FF5}"/>
              </a:ext>
            </a:extLst>
          </p:cNvPr>
          <p:cNvSpPr>
            <a:spLocks noGrp="1"/>
          </p:cNvSpPr>
          <p:nvPr>
            <p:ph type="body" sz="quarter" idx="34" hasCustomPrompt="1"/>
          </p:nvPr>
        </p:nvSpPr>
        <p:spPr>
          <a:xfrm>
            <a:off x="6353579" y="1866147"/>
            <a:ext cx="1163099" cy="393954"/>
          </a:xfrm>
        </p:spPr>
        <p:txBody>
          <a:bodyPr/>
          <a:lstStyle>
            <a:lvl1pPr rtl="0">
              <a:defRPr lang="en-AR" sz="1600" b="1" kern="1200" dirty="0">
                <a:solidFill>
                  <a:schemeClr val="accent2"/>
                </a:solidFill>
                <a:latin typeface="Graphik Semibold" panose="020B0503030202060203" pitchFamily="34" charset="77"/>
                <a:ea typeface="+mn-ea"/>
                <a:cs typeface="+mn-cs"/>
              </a:defRPr>
            </a:lvl1pPr>
          </a:lstStyle>
          <a:p>
            <a:pPr lvl="0"/>
            <a:r>
              <a:rPr lang="pt-BR"/>
              <a:t>##</a:t>
            </a:r>
            <a:endParaRPr lang="pt-BR" dirty="0"/>
          </a:p>
        </p:txBody>
      </p:sp>
      <p:sp>
        <p:nvSpPr>
          <p:cNvPr id="24" name="Text Placeholder 4">
            <a:extLst>
              <a:ext uri="{FF2B5EF4-FFF2-40B4-BE49-F238E27FC236}">
                <a16:creationId xmlns:a16="http://schemas.microsoft.com/office/drawing/2014/main" id="{CC817BB1-741A-B4D2-8998-7808F772A725}"/>
              </a:ext>
            </a:extLst>
          </p:cNvPr>
          <p:cNvSpPr>
            <a:spLocks noGrp="1"/>
          </p:cNvSpPr>
          <p:nvPr>
            <p:ph type="body" sz="quarter" idx="35" hasCustomPrompt="1"/>
          </p:nvPr>
        </p:nvSpPr>
        <p:spPr>
          <a:xfrm>
            <a:off x="1968842" y="2917024"/>
            <a:ext cx="3226642" cy="485340"/>
          </a:xfrm>
          <a:prstGeom prst="rect">
            <a:avLst/>
          </a:prstGeom>
        </p:spPr>
        <p:txBody>
          <a:bodyPr anchor="t"/>
          <a:lstStyle>
            <a:lvl1pPr rtl="0">
              <a:spcAft>
                <a:spcPts val="0"/>
              </a:spcAft>
              <a:buNone/>
              <a:defRPr lang="en-US" sz="1200" kern="1200" dirty="0">
                <a:solidFill>
                  <a:schemeClr val="tx1"/>
                </a:solidFill>
                <a:latin typeface="Graphik" panose="020B0503030202060203" pitchFamily="34" charset="77"/>
                <a:ea typeface="+mn-ea"/>
                <a:cs typeface="+mn-cs"/>
              </a:defRPr>
            </a:lvl1pPr>
          </a:lstStyle>
          <a:p>
            <a:pPr lvl="0"/>
            <a:r>
              <a:rPr lang="pt-BR"/>
              <a:t>Insert text here</a:t>
            </a:r>
            <a:endParaRPr lang="pt-BR" dirty="0"/>
          </a:p>
        </p:txBody>
      </p:sp>
      <p:sp>
        <p:nvSpPr>
          <p:cNvPr id="25" name="Text Placeholder 9">
            <a:extLst>
              <a:ext uri="{FF2B5EF4-FFF2-40B4-BE49-F238E27FC236}">
                <a16:creationId xmlns:a16="http://schemas.microsoft.com/office/drawing/2014/main" id="{81E65BC6-F788-3A86-EAB2-5E9C6AA562A6}"/>
              </a:ext>
            </a:extLst>
          </p:cNvPr>
          <p:cNvSpPr>
            <a:spLocks noGrp="1"/>
          </p:cNvSpPr>
          <p:nvPr>
            <p:ph type="body" sz="quarter" idx="36" hasCustomPrompt="1"/>
          </p:nvPr>
        </p:nvSpPr>
        <p:spPr>
          <a:xfrm>
            <a:off x="557213" y="2917024"/>
            <a:ext cx="1163099" cy="393954"/>
          </a:xfrm>
        </p:spPr>
        <p:txBody>
          <a:bodyPr/>
          <a:lstStyle>
            <a:lvl1pPr rtl="0">
              <a:defRPr lang="en-AR" sz="1600" b="1" kern="1200" dirty="0">
                <a:solidFill>
                  <a:schemeClr val="accent2"/>
                </a:solidFill>
                <a:latin typeface="Graphik Semibold" panose="020B0503030202060203" pitchFamily="34" charset="77"/>
                <a:ea typeface="+mn-ea"/>
                <a:cs typeface="+mn-cs"/>
              </a:defRPr>
            </a:lvl1pPr>
          </a:lstStyle>
          <a:p>
            <a:pPr lvl="0"/>
            <a:r>
              <a:rPr lang="pt-BR"/>
              <a:t>##</a:t>
            </a:r>
            <a:endParaRPr lang="pt-BR" dirty="0"/>
          </a:p>
        </p:txBody>
      </p:sp>
      <p:sp>
        <p:nvSpPr>
          <p:cNvPr id="26" name="Text Placeholder 4">
            <a:extLst>
              <a:ext uri="{FF2B5EF4-FFF2-40B4-BE49-F238E27FC236}">
                <a16:creationId xmlns:a16="http://schemas.microsoft.com/office/drawing/2014/main" id="{78A59011-034B-A4E1-6C3C-7B8CC2C9083E}"/>
              </a:ext>
            </a:extLst>
          </p:cNvPr>
          <p:cNvSpPr>
            <a:spLocks noGrp="1"/>
          </p:cNvSpPr>
          <p:nvPr>
            <p:ph type="body" sz="quarter" idx="37" hasCustomPrompt="1"/>
          </p:nvPr>
        </p:nvSpPr>
        <p:spPr>
          <a:xfrm>
            <a:off x="7765208" y="2917024"/>
            <a:ext cx="3226642" cy="485340"/>
          </a:xfrm>
          <a:prstGeom prst="rect">
            <a:avLst/>
          </a:prstGeom>
        </p:spPr>
        <p:txBody>
          <a:bodyPr anchor="t"/>
          <a:lstStyle>
            <a:lvl1pPr rtl="0">
              <a:spcAft>
                <a:spcPts val="0"/>
              </a:spcAft>
              <a:buNone/>
              <a:defRPr lang="en-US" sz="1200" kern="1200" dirty="0">
                <a:solidFill>
                  <a:schemeClr val="tx1"/>
                </a:solidFill>
                <a:latin typeface="Graphik" panose="020B0503030202060203" pitchFamily="34" charset="77"/>
                <a:ea typeface="+mn-ea"/>
                <a:cs typeface="+mn-cs"/>
              </a:defRPr>
            </a:lvl1pPr>
          </a:lstStyle>
          <a:p>
            <a:pPr lvl="0"/>
            <a:r>
              <a:rPr lang="pt-BR"/>
              <a:t>Insert text here</a:t>
            </a:r>
            <a:endParaRPr lang="pt-BR" dirty="0"/>
          </a:p>
        </p:txBody>
      </p:sp>
      <p:sp>
        <p:nvSpPr>
          <p:cNvPr id="27" name="Text Placeholder 9">
            <a:extLst>
              <a:ext uri="{FF2B5EF4-FFF2-40B4-BE49-F238E27FC236}">
                <a16:creationId xmlns:a16="http://schemas.microsoft.com/office/drawing/2014/main" id="{2995DA47-C5B7-57CE-BB2F-D8DF22C66EEB}"/>
              </a:ext>
            </a:extLst>
          </p:cNvPr>
          <p:cNvSpPr>
            <a:spLocks noGrp="1"/>
          </p:cNvSpPr>
          <p:nvPr>
            <p:ph type="body" sz="quarter" idx="38" hasCustomPrompt="1"/>
          </p:nvPr>
        </p:nvSpPr>
        <p:spPr>
          <a:xfrm>
            <a:off x="6353579" y="2917024"/>
            <a:ext cx="1163099" cy="393954"/>
          </a:xfrm>
        </p:spPr>
        <p:txBody>
          <a:bodyPr/>
          <a:lstStyle>
            <a:lvl1pPr rtl="0">
              <a:defRPr lang="en-AR" sz="1600" b="1" kern="1200" dirty="0">
                <a:solidFill>
                  <a:schemeClr val="accent2"/>
                </a:solidFill>
                <a:latin typeface="Graphik Semibold" panose="020B0503030202060203" pitchFamily="34" charset="77"/>
                <a:ea typeface="+mn-ea"/>
                <a:cs typeface="+mn-cs"/>
              </a:defRPr>
            </a:lvl1pPr>
          </a:lstStyle>
          <a:p>
            <a:pPr lvl="0"/>
            <a:r>
              <a:rPr lang="pt-BR"/>
              <a:t>##</a:t>
            </a:r>
            <a:endParaRPr lang="pt-BR" dirty="0"/>
          </a:p>
        </p:txBody>
      </p:sp>
      <p:sp>
        <p:nvSpPr>
          <p:cNvPr id="28" name="Text Placeholder 4">
            <a:extLst>
              <a:ext uri="{FF2B5EF4-FFF2-40B4-BE49-F238E27FC236}">
                <a16:creationId xmlns:a16="http://schemas.microsoft.com/office/drawing/2014/main" id="{3791AE70-D198-977B-3194-D99863B9AF2E}"/>
              </a:ext>
            </a:extLst>
          </p:cNvPr>
          <p:cNvSpPr>
            <a:spLocks noGrp="1"/>
          </p:cNvSpPr>
          <p:nvPr>
            <p:ph type="body" sz="quarter" idx="43" hasCustomPrompt="1"/>
          </p:nvPr>
        </p:nvSpPr>
        <p:spPr>
          <a:xfrm>
            <a:off x="1968842" y="3967901"/>
            <a:ext cx="3226642" cy="485340"/>
          </a:xfrm>
          <a:prstGeom prst="rect">
            <a:avLst/>
          </a:prstGeom>
        </p:spPr>
        <p:txBody>
          <a:bodyPr anchor="t"/>
          <a:lstStyle>
            <a:lvl1pPr rtl="0">
              <a:spcAft>
                <a:spcPts val="0"/>
              </a:spcAft>
              <a:buNone/>
              <a:defRPr lang="en-US" sz="1200" kern="1200" dirty="0">
                <a:solidFill>
                  <a:schemeClr val="tx1"/>
                </a:solidFill>
                <a:latin typeface="Graphik" panose="020B0503030202060203" pitchFamily="34" charset="77"/>
                <a:ea typeface="+mn-ea"/>
                <a:cs typeface="+mn-cs"/>
              </a:defRPr>
            </a:lvl1pPr>
          </a:lstStyle>
          <a:p>
            <a:pPr lvl="0"/>
            <a:r>
              <a:rPr lang="pt-BR"/>
              <a:t>Insert text here</a:t>
            </a:r>
            <a:endParaRPr lang="pt-BR" dirty="0"/>
          </a:p>
        </p:txBody>
      </p:sp>
      <p:sp>
        <p:nvSpPr>
          <p:cNvPr id="29" name="Text Placeholder 9">
            <a:extLst>
              <a:ext uri="{FF2B5EF4-FFF2-40B4-BE49-F238E27FC236}">
                <a16:creationId xmlns:a16="http://schemas.microsoft.com/office/drawing/2014/main" id="{55334FA3-2E0A-0615-2560-B2DC41B4690C}"/>
              </a:ext>
            </a:extLst>
          </p:cNvPr>
          <p:cNvSpPr>
            <a:spLocks noGrp="1"/>
          </p:cNvSpPr>
          <p:nvPr>
            <p:ph type="body" sz="quarter" idx="44" hasCustomPrompt="1"/>
          </p:nvPr>
        </p:nvSpPr>
        <p:spPr>
          <a:xfrm>
            <a:off x="557213" y="3967901"/>
            <a:ext cx="1163099" cy="393954"/>
          </a:xfrm>
        </p:spPr>
        <p:txBody>
          <a:bodyPr/>
          <a:lstStyle>
            <a:lvl1pPr rtl="0">
              <a:defRPr lang="en-AR" sz="1600" b="1" kern="1200" dirty="0">
                <a:solidFill>
                  <a:schemeClr val="accent2"/>
                </a:solidFill>
                <a:latin typeface="Graphik Semibold" panose="020B0503030202060203" pitchFamily="34" charset="77"/>
                <a:ea typeface="+mn-ea"/>
                <a:cs typeface="+mn-cs"/>
              </a:defRPr>
            </a:lvl1pPr>
          </a:lstStyle>
          <a:p>
            <a:pPr lvl="0"/>
            <a:r>
              <a:rPr lang="pt-BR"/>
              <a:t>##</a:t>
            </a:r>
            <a:endParaRPr lang="pt-BR" dirty="0"/>
          </a:p>
        </p:txBody>
      </p:sp>
      <p:sp>
        <p:nvSpPr>
          <p:cNvPr id="30" name="Text Placeholder 4">
            <a:extLst>
              <a:ext uri="{FF2B5EF4-FFF2-40B4-BE49-F238E27FC236}">
                <a16:creationId xmlns:a16="http://schemas.microsoft.com/office/drawing/2014/main" id="{5F5DE397-D6A0-D7D6-85BF-7FE7AFED826E}"/>
              </a:ext>
            </a:extLst>
          </p:cNvPr>
          <p:cNvSpPr>
            <a:spLocks noGrp="1"/>
          </p:cNvSpPr>
          <p:nvPr>
            <p:ph type="body" sz="quarter" idx="45" hasCustomPrompt="1"/>
          </p:nvPr>
        </p:nvSpPr>
        <p:spPr>
          <a:xfrm>
            <a:off x="7765208" y="3967901"/>
            <a:ext cx="3226642" cy="485340"/>
          </a:xfrm>
          <a:prstGeom prst="rect">
            <a:avLst/>
          </a:prstGeom>
        </p:spPr>
        <p:txBody>
          <a:bodyPr anchor="t"/>
          <a:lstStyle>
            <a:lvl1pPr rtl="0">
              <a:spcAft>
                <a:spcPts val="0"/>
              </a:spcAft>
              <a:buNone/>
              <a:defRPr lang="en-US" sz="1200" kern="1200" dirty="0">
                <a:solidFill>
                  <a:schemeClr val="tx1"/>
                </a:solidFill>
                <a:latin typeface="Graphik" panose="020B0503030202060203" pitchFamily="34" charset="77"/>
                <a:ea typeface="+mn-ea"/>
                <a:cs typeface="+mn-cs"/>
              </a:defRPr>
            </a:lvl1pPr>
          </a:lstStyle>
          <a:p>
            <a:pPr lvl="0"/>
            <a:r>
              <a:rPr lang="pt-BR"/>
              <a:t>Insert text here</a:t>
            </a:r>
            <a:endParaRPr lang="pt-BR" dirty="0"/>
          </a:p>
        </p:txBody>
      </p:sp>
      <p:sp>
        <p:nvSpPr>
          <p:cNvPr id="31" name="Text Placeholder 9">
            <a:extLst>
              <a:ext uri="{FF2B5EF4-FFF2-40B4-BE49-F238E27FC236}">
                <a16:creationId xmlns:a16="http://schemas.microsoft.com/office/drawing/2014/main" id="{E93286B5-3D1C-B060-1798-83F5D175BF03}"/>
              </a:ext>
            </a:extLst>
          </p:cNvPr>
          <p:cNvSpPr>
            <a:spLocks noGrp="1"/>
          </p:cNvSpPr>
          <p:nvPr>
            <p:ph type="body" sz="quarter" idx="46" hasCustomPrompt="1"/>
          </p:nvPr>
        </p:nvSpPr>
        <p:spPr>
          <a:xfrm>
            <a:off x="6353579" y="3967901"/>
            <a:ext cx="1163099" cy="393954"/>
          </a:xfrm>
        </p:spPr>
        <p:txBody>
          <a:bodyPr/>
          <a:lstStyle>
            <a:lvl1pPr rtl="0">
              <a:defRPr lang="en-AR" sz="1600" b="1" kern="1200" dirty="0">
                <a:solidFill>
                  <a:schemeClr val="accent2"/>
                </a:solidFill>
                <a:latin typeface="Graphik Semibold" panose="020B0503030202060203" pitchFamily="34" charset="77"/>
                <a:ea typeface="+mn-ea"/>
                <a:cs typeface="+mn-cs"/>
              </a:defRPr>
            </a:lvl1pPr>
          </a:lstStyle>
          <a:p>
            <a:pPr lvl="0"/>
            <a:r>
              <a:rPr lang="pt-BR"/>
              <a:t>##</a:t>
            </a:r>
            <a:endParaRPr lang="pt-BR" dirty="0"/>
          </a:p>
        </p:txBody>
      </p:sp>
      <p:sp>
        <p:nvSpPr>
          <p:cNvPr id="32" name="Text Placeholder 4">
            <a:extLst>
              <a:ext uri="{FF2B5EF4-FFF2-40B4-BE49-F238E27FC236}">
                <a16:creationId xmlns:a16="http://schemas.microsoft.com/office/drawing/2014/main" id="{B84C73AF-390F-770C-CE5B-5193037C14B1}"/>
              </a:ext>
            </a:extLst>
          </p:cNvPr>
          <p:cNvSpPr>
            <a:spLocks noGrp="1"/>
          </p:cNvSpPr>
          <p:nvPr>
            <p:ph type="body" sz="quarter" idx="51" hasCustomPrompt="1"/>
          </p:nvPr>
        </p:nvSpPr>
        <p:spPr>
          <a:xfrm>
            <a:off x="1968842" y="5021786"/>
            <a:ext cx="3226642" cy="485340"/>
          </a:xfrm>
          <a:prstGeom prst="rect">
            <a:avLst/>
          </a:prstGeom>
        </p:spPr>
        <p:txBody>
          <a:bodyPr anchor="t"/>
          <a:lstStyle>
            <a:lvl1pPr rtl="0">
              <a:spcAft>
                <a:spcPts val="0"/>
              </a:spcAft>
              <a:buNone/>
              <a:defRPr lang="en-US" sz="1200" kern="1200" dirty="0">
                <a:solidFill>
                  <a:schemeClr val="tx1"/>
                </a:solidFill>
                <a:latin typeface="Graphik" panose="020B0503030202060203" pitchFamily="34" charset="77"/>
                <a:ea typeface="+mn-ea"/>
                <a:cs typeface="+mn-cs"/>
              </a:defRPr>
            </a:lvl1pPr>
          </a:lstStyle>
          <a:p>
            <a:pPr lvl="0"/>
            <a:r>
              <a:rPr lang="pt-BR"/>
              <a:t>Insert text here</a:t>
            </a:r>
            <a:endParaRPr lang="pt-BR" dirty="0"/>
          </a:p>
        </p:txBody>
      </p:sp>
      <p:sp>
        <p:nvSpPr>
          <p:cNvPr id="33" name="Text Placeholder 9">
            <a:extLst>
              <a:ext uri="{FF2B5EF4-FFF2-40B4-BE49-F238E27FC236}">
                <a16:creationId xmlns:a16="http://schemas.microsoft.com/office/drawing/2014/main" id="{C7D3162B-A725-7B11-308B-B829F919CAF0}"/>
              </a:ext>
            </a:extLst>
          </p:cNvPr>
          <p:cNvSpPr>
            <a:spLocks noGrp="1"/>
          </p:cNvSpPr>
          <p:nvPr>
            <p:ph type="body" sz="quarter" idx="52" hasCustomPrompt="1"/>
          </p:nvPr>
        </p:nvSpPr>
        <p:spPr>
          <a:xfrm>
            <a:off x="557213" y="5021786"/>
            <a:ext cx="1163099" cy="393954"/>
          </a:xfrm>
        </p:spPr>
        <p:txBody>
          <a:bodyPr/>
          <a:lstStyle>
            <a:lvl1pPr rtl="0">
              <a:defRPr lang="en-AR" sz="1600" b="1" kern="1200" dirty="0">
                <a:solidFill>
                  <a:schemeClr val="accent2"/>
                </a:solidFill>
                <a:latin typeface="Graphik Semibold" panose="020B0503030202060203" pitchFamily="34" charset="77"/>
                <a:ea typeface="+mn-ea"/>
                <a:cs typeface="+mn-cs"/>
              </a:defRPr>
            </a:lvl1pPr>
          </a:lstStyle>
          <a:p>
            <a:pPr lvl="0"/>
            <a:r>
              <a:rPr lang="pt-BR"/>
              <a:t>##</a:t>
            </a:r>
            <a:endParaRPr lang="pt-BR" dirty="0"/>
          </a:p>
        </p:txBody>
      </p:sp>
      <p:sp>
        <p:nvSpPr>
          <p:cNvPr id="34" name="Text Placeholder 4">
            <a:extLst>
              <a:ext uri="{FF2B5EF4-FFF2-40B4-BE49-F238E27FC236}">
                <a16:creationId xmlns:a16="http://schemas.microsoft.com/office/drawing/2014/main" id="{F1036F6C-1EB0-4671-DED0-7D383AB6A059}"/>
              </a:ext>
            </a:extLst>
          </p:cNvPr>
          <p:cNvSpPr>
            <a:spLocks noGrp="1"/>
          </p:cNvSpPr>
          <p:nvPr>
            <p:ph type="body" sz="quarter" idx="53" hasCustomPrompt="1"/>
          </p:nvPr>
        </p:nvSpPr>
        <p:spPr>
          <a:xfrm>
            <a:off x="7765208" y="5021786"/>
            <a:ext cx="3226642" cy="485340"/>
          </a:xfrm>
          <a:prstGeom prst="rect">
            <a:avLst/>
          </a:prstGeom>
        </p:spPr>
        <p:txBody>
          <a:bodyPr anchor="t"/>
          <a:lstStyle>
            <a:lvl1pPr rtl="0">
              <a:spcAft>
                <a:spcPts val="0"/>
              </a:spcAft>
              <a:buNone/>
              <a:defRPr lang="en-US" sz="1200" kern="1200" dirty="0">
                <a:solidFill>
                  <a:schemeClr val="tx1"/>
                </a:solidFill>
                <a:latin typeface="Graphik" panose="020B0503030202060203" pitchFamily="34" charset="77"/>
                <a:ea typeface="+mn-ea"/>
                <a:cs typeface="+mn-cs"/>
              </a:defRPr>
            </a:lvl1pPr>
          </a:lstStyle>
          <a:p>
            <a:pPr lvl="0"/>
            <a:r>
              <a:rPr lang="pt-BR"/>
              <a:t>Insert text here</a:t>
            </a:r>
            <a:endParaRPr lang="pt-BR" dirty="0"/>
          </a:p>
        </p:txBody>
      </p:sp>
      <p:sp>
        <p:nvSpPr>
          <p:cNvPr id="35" name="Text Placeholder 9">
            <a:extLst>
              <a:ext uri="{FF2B5EF4-FFF2-40B4-BE49-F238E27FC236}">
                <a16:creationId xmlns:a16="http://schemas.microsoft.com/office/drawing/2014/main" id="{0C635698-D554-679D-6A5E-E4E69ABF662E}"/>
              </a:ext>
            </a:extLst>
          </p:cNvPr>
          <p:cNvSpPr>
            <a:spLocks noGrp="1"/>
          </p:cNvSpPr>
          <p:nvPr>
            <p:ph type="body" sz="quarter" idx="54" hasCustomPrompt="1"/>
          </p:nvPr>
        </p:nvSpPr>
        <p:spPr>
          <a:xfrm>
            <a:off x="6353579" y="5021786"/>
            <a:ext cx="1163099" cy="393954"/>
          </a:xfrm>
        </p:spPr>
        <p:txBody>
          <a:bodyPr/>
          <a:lstStyle>
            <a:lvl1pPr rtl="0">
              <a:defRPr lang="en-AR" sz="1600" b="1" kern="1200" dirty="0">
                <a:solidFill>
                  <a:schemeClr val="accent2"/>
                </a:solidFill>
                <a:latin typeface="Graphik Semibold" panose="020B0503030202060203" pitchFamily="34" charset="77"/>
                <a:ea typeface="+mn-ea"/>
                <a:cs typeface="+mn-cs"/>
              </a:defRPr>
            </a:lvl1pPr>
          </a:lstStyle>
          <a:p>
            <a:pPr lvl="0"/>
            <a:r>
              <a:rPr lang="pt-BR"/>
              <a:t>##</a:t>
            </a:r>
            <a:endParaRPr lang="pt-BR" dirty="0"/>
          </a:p>
        </p:txBody>
      </p:sp>
    </p:spTree>
    <p:extLst>
      <p:ext uri="{BB962C8B-B14F-4D97-AF65-F5344CB8AC3E}">
        <p14:creationId xmlns:p14="http://schemas.microsoft.com/office/powerpoint/2010/main" val="3548074746"/>
      </p:ext>
    </p:extLst>
  </p:cSld>
  <p:clrMapOvr>
    <a:overrideClrMapping bg1="dk1" tx1="lt1" bg2="dk2" tx2="lt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numbered bullets light mode ">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27D9979-A410-3C22-BF0A-C5ED7EAEBD1C}"/>
              </a:ext>
            </a:extLst>
          </p:cNvPr>
          <p:cNvGraphicFramePr>
            <a:graphicFrameLocks noChangeAspect="1"/>
          </p:cNvGraphicFramePr>
          <p:nvPr userDrawn="1">
            <p:custDataLst>
              <p:tags r:id="rId1"/>
            </p:custDataLst>
            <p:extLst>
              <p:ext uri="{D42A27DB-BD31-4B8C-83A1-F6EECF244321}">
                <p14:modId xmlns:p14="http://schemas.microsoft.com/office/powerpoint/2010/main" val="3076450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4" name="think-cell data - do not delete" hidden="1">
                        <a:extLst>
                          <a:ext uri="{FF2B5EF4-FFF2-40B4-BE49-F238E27FC236}">
                            <a16:creationId xmlns:a16="http://schemas.microsoft.com/office/drawing/2014/main" id="{227D9979-A410-3C22-BF0A-C5ED7EAEBD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E215616-27C6-76EE-5488-166BFD01211E}"/>
              </a:ext>
            </a:extLst>
          </p:cNvPr>
          <p:cNvSpPr>
            <a:spLocks noGrp="1"/>
          </p:cNvSpPr>
          <p:nvPr>
            <p:ph type="title"/>
          </p:nvPr>
        </p:nvSpPr>
        <p:spPr>
          <a:xfrm>
            <a:off x="556467" y="572600"/>
            <a:ext cx="11084672" cy="393954"/>
          </a:xfrm>
        </p:spPr>
        <p:txBody>
          <a:bodyPr vert="horz"/>
          <a:lstStyle>
            <a:lvl1pPr rtl="0">
              <a:defRPr/>
            </a:lvl1pPr>
          </a:lstStyle>
          <a:p>
            <a:r>
              <a:rPr lang="pt-BR"/>
              <a:t>Click to edit Master title style</a:t>
            </a:r>
            <a:endParaRPr lang="pt-BR" dirty="0"/>
          </a:p>
        </p:txBody>
      </p:sp>
      <p:sp>
        <p:nvSpPr>
          <p:cNvPr id="11" name="Text Placeholder 4">
            <a:extLst>
              <a:ext uri="{FF2B5EF4-FFF2-40B4-BE49-F238E27FC236}">
                <a16:creationId xmlns:a16="http://schemas.microsoft.com/office/drawing/2014/main" id="{77491F38-EA5D-D7B9-CAB2-157B785C367F}"/>
              </a:ext>
            </a:extLst>
          </p:cNvPr>
          <p:cNvSpPr>
            <a:spLocks noGrp="1"/>
          </p:cNvSpPr>
          <p:nvPr>
            <p:ph type="body" sz="quarter" idx="16" hasCustomPrompt="1"/>
          </p:nvPr>
        </p:nvSpPr>
        <p:spPr>
          <a:xfrm>
            <a:off x="1968842" y="1866147"/>
            <a:ext cx="3226642" cy="485340"/>
          </a:xfrm>
          <a:prstGeom prst="rect">
            <a:avLst/>
          </a:prstGeom>
        </p:spPr>
        <p:txBody>
          <a:bodyPr anchor="t"/>
          <a:lstStyle>
            <a:lvl1pPr rtl="0">
              <a:spcAft>
                <a:spcPts val="0"/>
              </a:spcAft>
              <a:buNone/>
              <a:defRPr lang="en-US" sz="1200" kern="1200" dirty="0">
                <a:solidFill>
                  <a:srgbClr val="000000"/>
                </a:solidFill>
                <a:latin typeface="Graphik" panose="020B0503030202060203" pitchFamily="34" charset="77"/>
                <a:ea typeface="+mn-ea"/>
                <a:cs typeface="+mn-cs"/>
              </a:defRPr>
            </a:lvl1pPr>
          </a:lstStyle>
          <a:p>
            <a:pPr lvl="0"/>
            <a:r>
              <a:rPr lang="pt-BR"/>
              <a:t>Insert text here</a:t>
            </a:r>
            <a:endParaRPr lang="pt-BR" dirty="0"/>
          </a:p>
        </p:txBody>
      </p:sp>
      <p:sp>
        <p:nvSpPr>
          <p:cNvPr id="12" name="Text Placeholder 9">
            <a:extLst>
              <a:ext uri="{FF2B5EF4-FFF2-40B4-BE49-F238E27FC236}">
                <a16:creationId xmlns:a16="http://schemas.microsoft.com/office/drawing/2014/main" id="{62419F48-27CD-9483-1EC7-3FB199CA40D7}"/>
              </a:ext>
            </a:extLst>
          </p:cNvPr>
          <p:cNvSpPr>
            <a:spLocks noGrp="1"/>
          </p:cNvSpPr>
          <p:nvPr>
            <p:ph type="body" sz="quarter" idx="32" hasCustomPrompt="1"/>
          </p:nvPr>
        </p:nvSpPr>
        <p:spPr>
          <a:xfrm>
            <a:off x="557213" y="1866147"/>
            <a:ext cx="1163099" cy="393954"/>
          </a:xfrm>
        </p:spPr>
        <p:txBody>
          <a:bodyPr/>
          <a:lstStyle>
            <a:lvl1pPr rtl="0">
              <a:defRPr lang="en-AR" sz="1600" b="1" kern="1200" dirty="0">
                <a:solidFill>
                  <a:schemeClr val="bg2"/>
                </a:solidFill>
                <a:latin typeface="Graphik Semibold" panose="020B0503030202060203" pitchFamily="34" charset="77"/>
                <a:ea typeface="+mn-ea"/>
                <a:cs typeface="+mn-cs"/>
              </a:defRPr>
            </a:lvl1pPr>
          </a:lstStyle>
          <a:p>
            <a:pPr lvl="0"/>
            <a:r>
              <a:rPr lang="pt-BR"/>
              <a:t>##</a:t>
            </a:r>
            <a:endParaRPr lang="pt-BR" dirty="0"/>
          </a:p>
        </p:txBody>
      </p:sp>
      <p:sp>
        <p:nvSpPr>
          <p:cNvPr id="15" name="Text Placeholder 4">
            <a:extLst>
              <a:ext uri="{FF2B5EF4-FFF2-40B4-BE49-F238E27FC236}">
                <a16:creationId xmlns:a16="http://schemas.microsoft.com/office/drawing/2014/main" id="{08345CBF-50C2-FB65-17ED-3D6DA4271AC9}"/>
              </a:ext>
            </a:extLst>
          </p:cNvPr>
          <p:cNvSpPr>
            <a:spLocks noGrp="1"/>
          </p:cNvSpPr>
          <p:nvPr>
            <p:ph type="body" sz="quarter" idx="33" hasCustomPrompt="1"/>
          </p:nvPr>
        </p:nvSpPr>
        <p:spPr>
          <a:xfrm>
            <a:off x="7765208" y="1866147"/>
            <a:ext cx="3226642" cy="485340"/>
          </a:xfrm>
          <a:prstGeom prst="rect">
            <a:avLst/>
          </a:prstGeom>
        </p:spPr>
        <p:txBody>
          <a:bodyPr anchor="t"/>
          <a:lstStyle>
            <a:lvl1pPr rtl="0">
              <a:spcAft>
                <a:spcPts val="0"/>
              </a:spcAft>
              <a:buNone/>
              <a:defRPr lang="en-US" sz="1200" kern="1200" dirty="0">
                <a:solidFill>
                  <a:srgbClr val="000000"/>
                </a:solidFill>
                <a:latin typeface="Graphik" panose="020B0503030202060203" pitchFamily="34" charset="77"/>
                <a:ea typeface="+mn-ea"/>
                <a:cs typeface="+mn-cs"/>
              </a:defRPr>
            </a:lvl1pPr>
          </a:lstStyle>
          <a:p>
            <a:pPr lvl="0"/>
            <a:r>
              <a:rPr lang="pt-BR"/>
              <a:t>Insert text here</a:t>
            </a:r>
            <a:endParaRPr lang="pt-BR" dirty="0"/>
          </a:p>
        </p:txBody>
      </p:sp>
      <p:sp>
        <p:nvSpPr>
          <p:cNvPr id="16" name="Text Placeholder 9">
            <a:extLst>
              <a:ext uri="{FF2B5EF4-FFF2-40B4-BE49-F238E27FC236}">
                <a16:creationId xmlns:a16="http://schemas.microsoft.com/office/drawing/2014/main" id="{4AFE20C7-1104-B877-56C6-12779547D579}"/>
              </a:ext>
            </a:extLst>
          </p:cNvPr>
          <p:cNvSpPr>
            <a:spLocks noGrp="1"/>
          </p:cNvSpPr>
          <p:nvPr>
            <p:ph type="body" sz="quarter" idx="34" hasCustomPrompt="1"/>
          </p:nvPr>
        </p:nvSpPr>
        <p:spPr>
          <a:xfrm>
            <a:off x="6353579" y="1866147"/>
            <a:ext cx="1163099" cy="393954"/>
          </a:xfrm>
        </p:spPr>
        <p:txBody>
          <a:bodyPr/>
          <a:lstStyle>
            <a:lvl1pPr rtl="0">
              <a:defRPr lang="en-AR" sz="1600" b="1" kern="1200" dirty="0">
                <a:solidFill>
                  <a:schemeClr val="bg2"/>
                </a:solidFill>
                <a:latin typeface="Graphik Semibold" panose="020B0503030202060203" pitchFamily="34" charset="77"/>
                <a:ea typeface="+mn-ea"/>
                <a:cs typeface="+mn-cs"/>
              </a:defRPr>
            </a:lvl1pPr>
          </a:lstStyle>
          <a:p>
            <a:pPr lvl="0"/>
            <a:r>
              <a:rPr lang="pt-BR"/>
              <a:t>##</a:t>
            </a:r>
            <a:endParaRPr lang="pt-BR" dirty="0"/>
          </a:p>
        </p:txBody>
      </p:sp>
      <p:sp>
        <p:nvSpPr>
          <p:cNvPr id="17" name="Text Placeholder 4">
            <a:extLst>
              <a:ext uri="{FF2B5EF4-FFF2-40B4-BE49-F238E27FC236}">
                <a16:creationId xmlns:a16="http://schemas.microsoft.com/office/drawing/2014/main" id="{888AF1FA-5C2F-7A4F-3490-6716382D7C62}"/>
              </a:ext>
            </a:extLst>
          </p:cNvPr>
          <p:cNvSpPr>
            <a:spLocks noGrp="1"/>
          </p:cNvSpPr>
          <p:nvPr>
            <p:ph type="body" sz="quarter" idx="35" hasCustomPrompt="1"/>
          </p:nvPr>
        </p:nvSpPr>
        <p:spPr>
          <a:xfrm>
            <a:off x="1968842" y="2917024"/>
            <a:ext cx="3226642" cy="485340"/>
          </a:xfrm>
          <a:prstGeom prst="rect">
            <a:avLst/>
          </a:prstGeom>
        </p:spPr>
        <p:txBody>
          <a:bodyPr anchor="t"/>
          <a:lstStyle>
            <a:lvl1pPr rtl="0">
              <a:spcAft>
                <a:spcPts val="0"/>
              </a:spcAft>
              <a:buNone/>
              <a:defRPr lang="en-US" sz="1200" kern="1200" dirty="0">
                <a:solidFill>
                  <a:srgbClr val="000000"/>
                </a:solidFill>
                <a:latin typeface="Graphik" panose="020B0503030202060203" pitchFamily="34" charset="77"/>
                <a:ea typeface="+mn-ea"/>
                <a:cs typeface="+mn-cs"/>
              </a:defRPr>
            </a:lvl1pPr>
          </a:lstStyle>
          <a:p>
            <a:pPr lvl="0"/>
            <a:r>
              <a:rPr lang="pt-BR"/>
              <a:t>Insert text here</a:t>
            </a:r>
            <a:endParaRPr lang="pt-BR" dirty="0"/>
          </a:p>
        </p:txBody>
      </p:sp>
      <p:sp>
        <p:nvSpPr>
          <p:cNvPr id="18" name="Text Placeholder 9">
            <a:extLst>
              <a:ext uri="{FF2B5EF4-FFF2-40B4-BE49-F238E27FC236}">
                <a16:creationId xmlns:a16="http://schemas.microsoft.com/office/drawing/2014/main" id="{270E8484-BCCD-6724-FC4D-BC84FAAE73CC}"/>
              </a:ext>
            </a:extLst>
          </p:cNvPr>
          <p:cNvSpPr>
            <a:spLocks noGrp="1"/>
          </p:cNvSpPr>
          <p:nvPr>
            <p:ph type="body" sz="quarter" idx="36" hasCustomPrompt="1"/>
          </p:nvPr>
        </p:nvSpPr>
        <p:spPr>
          <a:xfrm>
            <a:off x="557213" y="2917024"/>
            <a:ext cx="1163099" cy="393954"/>
          </a:xfrm>
        </p:spPr>
        <p:txBody>
          <a:bodyPr/>
          <a:lstStyle>
            <a:lvl1pPr rtl="0">
              <a:defRPr lang="en-AR" sz="1600" b="1" kern="1200" dirty="0">
                <a:solidFill>
                  <a:schemeClr val="bg2"/>
                </a:solidFill>
                <a:latin typeface="Graphik Semibold" panose="020B0503030202060203" pitchFamily="34" charset="77"/>
                <a:ea typeface="+mn-ea"/>
                <a:cs typeface="+mn-cs"/>
              </a:defRPr>
            </a:lvl1pPr>
          </a:lstStyle>
          <a:p>
            <a:pPr lvl="0"/>
            <a:r>
              <a:rPr lang="pt-BR"/>
              <a:t>##</a:t>
            </a:r>
            <a:endParaRPr lang="pt-BR" dirty="0"/>
          </a:p>
        </p:txBody>
      </p:sp>
      <p:sp>
        <p:nvSpPr>
          <p:cNvPr id="19" name="Text Placeholder 4">
            <a:extLst>
              <a:ext uri="{FF2B5EF4-FFF2-40B4-BE49-F238E27FC236}">
                <a16:creationId xmlns:a16="http://schemas.microsoft.com/office/drawing/2014/main" id="{0F859FF9-60D5-2DBD-4D3D-49BD3A4EC22C}"/>
              </a:ext>
            </a:extLst>
          </p:cNvPr>
          <p:cNvSpPr>
            <a:spLocks noGrp="1"/>
          </p:cNvSpPr>
          <p:nvPr>
            <p:ph type="body" sz="quarter" idx="37" hasCustomPrompt="1"/>
          </p:nvPr>
        </p:nvSpPr>
        <p:spPr>
          <a:xfrm>
            <a:off x="7765208" y="2917024"/>
            <a:ext cx="3226642" cy="485340"/>
          </a:xfrm>
          <a:prstGeom prst="rect">
            <a:avLst/>
          </a:prstGeom>
        </p:spPr>
        <p:txBody>
          <a:bodyPr anchor="t"/>
          <a:lstStyle>
            <a:lvl1pPr rtl="0">
              <a:spcAft>
                <a:spcPts val="0"/>
              </a:spcAft>
              <a:buNone/>
              <a:defRPr lang="en-US" sz="1200" kern="1200" dirty="0">
                <a:solidFill>
                  <a:srgbClr val="000000"/>
                </a:solidFill>
                <a:latin typeface="Graphik" panose="020B0503030202060203" pitchFamily="34" charset="77"/>
                <a:ea typeface="+mn-ea"/>
                <a:cs typeface="+mn-cs"/>
              </a:defRPr>
            </a:lvl1pPr>
          </a:lstStyle>
          <a:p>
            <a:pPr lvl="0"/>
            <a:r>
              <a:rPr lang="pt-BR"/>
              <a:t>Insert text here</a:t>
            </a:r>
            <a:endParaRPr lang="pt-BR" dirty="0"/>
          </a:p>
        </p:txBody>
      </p:sp>
      <p:sp>
        <p:nvSpPr>
          <p:cNvPr id="20" name="Text Placeholder 9">
            <a:extLst>
              <a:ext uri="{FF2B5EF4-FFF2-40B4-BE49-F238E27FC236}">
                <a16:creationId xmlns:a16="http://schemas.microsoft.com/office/drawing/2014/main" id="{698D04DC-A35C-18BC-A09D-06ED6125A3FF}"/>
              </a:ext>
            </a:extLst>
          </p:cNvPr>
          <p:cNvSpPr>
            <a:spLocks noGrp="1"/>
          </p:cNvSpPr>
          <p:nvPr>
            <p:ph type="body" sz="quarter" idx="38" hasCustomPrompt="1"/>
          </p:nvPr>
        </p:nvSpPr>
        <p:spPr>
          <a:xfrm>
            <a:off x="6353579" y="2917024"/>
            <a:ext cx="1163099" cy="393954"/>
          </a:xfrm>
        </p:spPr>
        <p:txBody>
          <a:bodyPr/>
          <a:lstStyle>
            <a:lvl1pPr rtl="0">
              <a:defRPr lang="en-AR" sz="1600" b="1" kern="1200" dirty="0">
                <a:solidFill>
                  <a:schemeClr val="bg2"/>
                </a:solidFill>
                <a:latin typeface="Graphik Semibold" panose="020B0503030202060203" pitchFamily="34" charset="77"/>
                <a:ea typeface="+mn-ea"/>
                <a:cs typeface="+mn-cs"/>
              </a:defRPr>
            </a:lvl1pPr>
          </a:lstStyle>
          <a:p>
            <a:pPr lvl="0"/>
            <a:r>
              <a:rPr lang="pt-BR"/>
              <a:t>##</a:t>
            </a:r>
            <a:endParaRPr lang="pt-BR" dirty="0"/>
          </a:p>
        </p:txBody>
      </p:sp>
      <p:sp>
        <p:nvSpPr>
          <p:cNvPr id="25" name="Text Placeholder 4">
            <a:extLst>
              <a:ext uri="{FF2B5EF4-FFF2-40B4-BE49-F238E27FC236}">
                <a16:creationId xmlns:a16="http://schemas.microsoft.com/office/drawing/2014/main" id="{7AC48787-061F-65B7-CA0E-CA985E032C3F}"/>
              </a:ext>
            </a:extLst>
          </p:cNvPr>
          <p:cNvSpPr>
            <a:spLocks noGrp="1"/>
          </p:cNvSpPr>
          <p:nvPr>
            <p:ph type="body" sz="quarter" idx="43" hasCustomPrompt="1"/>
          </p:nvPr>
        </p:nvSpPr>
        <p:spPr>
          <a:xfrm>
            <a:off x="1968842" y="3967901"/>
            <a:ext cx="3226642" cy="485340"/>
          </a:xfrm>
          <a:prstGeom prst="rect">
            <a:avLst/>
          </a:prstGeom>
        </p:spPr>
        <p:txBody>
          <a:bodyPr anchor="t"/>
          <a:lstStyle>
            <a:lvl1pPr rtl="0">
              <a:spcAft>
                <a:spcPts val="0"/>
              </a:spcAft>
              <a:buNone/>
              <a:defRPr lang="en-US" sz="1200" kern="1200" dirty="0">
                <a:solidFill>
                  <a:srgbClr val="000000"/>
                </a:solidFill>
                <a:latin typeface="Graphik" panose="020B0503030202060203" pitchFamily="34" charset="77"/>
                <a:ea typeface="+mn-ea"/>
                <a:cs typeface="+mn-cs"/>
              </a:defRPr>
            </a:lvl1pPr>
          </a:lstStyle>
          <a:p>
            <a:pPr lvl="0"/>
            <a:r>
              <a:rPr lang="pt-BR"/>
              <a:t>Insert text here</a:t>
            </a:r>
            <a:endParaRPr lang="pt-BR" dirty="0"/>
          </a:p>
        </p:txBody>
      </p:sp>
      <p:sp>
        <p:nvSpPr>
          <p:cNvPr id="26" name="Text Placeholder 9">
            <a:extLst>
              <a:ext uri="{FF2B5EF4-FFF2-40B4-BE49-F238E27FC236}">
                <a16:creationId xmlns:a16="http://schemas.microsoft.com/office/drawing/2014/main" id="{40C38646-2C59-7604-F628-AACD4C03C391}"/>
              </a:ext>
            </a:extLst>
          </p:cNvPr>
          <p:cNvSpPr>
            <a:spLocks noGrp="1"/>
          </p:cNvSpPr>
          <p:nvPr>
            <p:ph type="body" sz="quarter" idx="44" hasCustomPrompt="1"/>
          </p:nvPr>
        </p:nvSpPr>
        <p:spPr>
          <a:xfrm>
            <a:off x="557213" y="3967901"/>
            <a:ext cx="1163099" cy="393954"/>
          </a:xfrm>
        </p:spPr>
        <p:txBody>
          <a:bodyPr/>
          <a:lstStyle>
            <a:lvl1pPr rtl="0">
              <a:defRPr lang="en-AR" sz="1600" b="1" kern="1200" dirty="0">
                <a:solidFill>
                  <a:schemeClr val="bg2"/>
                </a:solidFill>
                <a:latin typeface="Graphik Semibold" panose="020B0503030202060203" pitchFamily="34" charset="77"/>
                <a:ea typeface="+mn-ea"/>
                <a:cs typeface="+mn-cs"/>
              </a:defRPr>
            </a:lvl1pPr>
          </a:lstStyle>
          <a:p>
            <a:pPr lvl="0"/>
            <a:r>
              <a:rPr lang="pt-BR"/>
              <a:t>##</a:t>
            </a:r>
            <a:endParaRPr lang="pt-BR" dirty="0"/>
          </a:p>
        </p:txBody>
      </p:sp>
      <p:sp>
        <p:nvSpPr>
          <p:cNvPr id="27" name="Text Placeholder 4">
            <a:extLst>
              <a:ext uri="{FF2B5EF4-FFF2-40B4-BE49-F238E27FC236}">
                <a16:creationId xmlns:a16="http://schemas.microsoft.com/office/drawing/2014/main" id="{08AF3CEC-3718-6D4C-CF1D-F7582BAC7136}"/>
              </a:ext>
            </a:extLst>
          </p:cNvPr>
          <p:cNvSpPr>
            <a:spLocks noGrp="1"/>
          </p:cNvSpPr>
          <p:nvPr>
            <p:ph type="body" sz="quarter" idx="45" hasCustomPrompt="1"/>
          </p:nvPr>
        </p:nvSpPr>
        <p:spPr>
          <a:xfrm>
            <a:off x="7765208" y="3967901"/>
            <a:ext cx="3226642" cy="485340"/>
          </a:xfrm>
          <a:prstGeom prst="rect">
            <a:avLst/>
          </a:prstGeom>
        </p:spPr>
        <p:txBody>
          <a:bodyPr anchor="t"/>
          <a:lstStyle>
            <a:lvl1pPr rtl="0">
              <a:spcAft>
                <a:spcPts val="0"/>
              </a:spcAft>
              <a:buNone/>
              <a:defRPr lang="en-US" sz="1200" kern="1200" dirty="0">
                <a:solidFill>
                  <a:srgbClr val="000000"/>
                </a:solidFill>
                <a:latin typeface="Graphik" panose="020B0503030202060203" pitchFamily="34" charset="77"/>
                <a:ea typeface="+mn-ea"/>
                <a:cs typeface="+mn-cs"/>
              </a:defRPr>
            </a:lvl1pPr>
          </a:lstStyle>
          <a:p>
            <a:pPr lvl="0"/>
            <a:r>
              <a:rPr lang="pt-BR"/>
              <a:t>Insert text here</a:t>
            </a:r>
            <a:endParaRPr lang="pt-BR" dirty="0"/>
          </a:p>
        </p:txBody>
      </p:sp>
      <p:sp>
        <p:nvSpPr>
          <p:cNvPr id="28" name="Text Placeholder 9">
            <a:extLst>
              <a:ext uri="{FF2B5EF4-FFF2-40B4-BE49-F238E27FC236}">
                <a16:creationId xmlns:a16="http://schemas.microsoft.com/office/drawing/2014/main" id="{9BE62818-1BA0-8973-B3E1-B2AA7A6835E1}"/>
              </a:ext>
            </a:extLst>
          </p:cNvPr>
          <p:cNvSpPr>
            <a:spLocks noGrp="1"/>
          </p:cNvSpPr>
          <p:nvPr>
            <p:ph type="body" sz="quarter" idx="46" hasCustomPrompt="1"/>
          </p:nvPr>
        </p:nvSpPr>
        <p:spPr>
          <a:xfrm>
            <a:off x="6353579" y="3967901"/>
            <a:ext cx="1163099" cy="393954"/>
          </a:xfrm>
        </p:spPr>
        <p:txBody>
          <a:bodyPr/>
          <a:lstStyle>
            <a:lvl1pPr rtl="0">
              <a:defRPr lang="en-AR" sz="1600" b="1" kern="1200" dirty="0">
                <a:solidFill>
                  <a:schemeClr val="bg2"/>
                </a:solidFill>
                <a:latin typeface="Graphik Semibold" panose="020B0503030202060203" pitchFamily="34" charset="77"/>
                <a:ea typeface="+mn-ea"/>
                <a:cs typeface="+mn-cs"/>
              </a:defRPr>
            </a:lvl1pPr>
          </a:lstStyle>
          <a:p>
            <a:pPr lvl="0"/>
            <a:r>
              <a:rPr lang="pt-BR"/>
              <a:t>##</a:t>
            </a:r>
            <a:endParaRPr lang="pt-BR" dirty="0"/>
          </a:p>
        </p:txBody>
      </p:sp>
      <p:sp>
        <p:nvSpPr>
          <p:cNvPr id="35" name="Text Placeholder 4">
            <a:extLst>
              <a:ext uri="{FF2B5EF4-FFF2-40B4-BE49-F238E27FC236}">
                <a16:creationId xmlns:a16="http://schemas.microsoft.com/office/drawing/2014/main" id="{11860888-916F-055D-8C9B-DC5AE56B0E7C}"/>
              </a:ext>
            </a:extLst>
          </p:cNvPr>
          <p:cNvSpPr>
            <a:spLocks noGrp="1"/>
          </p:cNvSpPr>
          <p:nvPr>
            <p:ph type="body" sz="quarter" idx="51" hasCustomPrompt="1"/>
          </p:nvPr>
        </p:nvSpPr>
        <p:spPr>
          <a:xfrm>
            <a:off x="1968842" y="5021786"/>
            <a:ext cx="3226642" cy="485340"/>
          </a:xfrm>
          <a:prstGeom prst="rect">
            <a:avLst/>
          </a:prstGeom>
        </p:spPr>
        <p:txBody>
          <a:bodyPr anchor="t"/>
          <a:lstStyle>
            <a:lvl1pPr rtl="0">
              <a:spcAft>
                <a:spcPts val="0"/>
              </a:spcAft>
              <a:buNone/>
              <a:defRPr lang="en-US" sz="1200" kern="1200" dirty="0">
                <a:solidFill>
                  <a:srgbClr val="000000"/>
                </a:solidFill>
                <a:latin typeface="Graphik" panose="020B0503030202060203" pitchFamily="34" charset="77"/>
                <a:ea typeface="+mn-ea"/>
                <a:cs typeface="+mn-cs"/>
              </a:defRPr>
            </a:lvl1pPr>
          </a:lstStyle>
          <a:p>
            <a:pPr lvl="0"/>
            <a:r>
              <a:rPr lang="pt-BR"/>
              <a:t>Insert text here</a:t>
            </a:r>
            <a:endParaRPr lang="pt-BR" dirty="0"/>
          </a:p>
        </p:txBody>
      </p:sp>
      <p:sp>
        <p:nvSpPr>
          <p:cNvPr id="36" name="Text Placeholder 9">
            <a:extLst>
              <a:ext uri="{FF2B5EF4-FFF2-40B4-BE49-F238E27FC236}">
                <a16:creationId xmlns:a16="http://schemas.microsoft.com/office/drawing/2014/main" id="{6C40C10B-9AA5-FB91-4468-195612A4AAB4}"/>
              </a:ext>
            </a:extLst>
          </p:cNvPr>
          <p:cNvSpPr>
            <a:spLocks noGrp="1"/>
          </p:cNvSpPr>
          <p:nvPr>
            <p:ph type="body" sz="quarter" idx="52" hasCustomPrompt="1"/>
          </p:nvPr>
        </p:nvSpPr>
        <p:spPr>
          <a:xfrm>
            <a:off x="557213" y="5021786"/>
            <a:ext cx="1163099" cy="393954"/>
          </a:xfrm>
        </p:spPr>
        <p:txBody>
          <a:bodyPr/>
          <a:lstStyle>
            <a:lvl1pPr rtl="0">
              <a:defRPr lang="en-AR" sz="1600" b="1" kern="1200" dirty="0">
                <a:solidFill>
                  <a:schemeClr val="bg2"/>
                </a:solidFill>
                <a:latin typeface="Graphik Semibold" panose="020B0503030202060203" pitchFamily="34" charset="77"/>
                <a:ea typeface="+mn-ea"/>
                <a:cs typeface="+mn-cs"/>
              </a:defRPr>
            </a:lvl1pPr>
          </a:lstStyle>
          <a:p>
            <a:pPr lvl="0"/>
            <a:r>
              <a:rPr lang="pt-BR"/>
              <a:t>##</a:t>
            </a:r>
            <a:endParaRPr lang="pt-BR" dirty="0"/>
          </a:p>
        </p:txBody>
      </p:sp>
      <p:sp>
        <p:nvSpPr>
          <p:cNvPr id="37" name="Text Placeholder 4">
            <a:extLst>
              <a:ext uri="{FF2B5EF4-FFF2-40B4-BE49-F238E27FC236}">
                <a16:creationId xmlns:a16="http://schemas.microsoft.com/office/drawing/2014/main" id="{E87FBBF5-4C4B-2BA9-7671-182C65D1DBA6}"/>
              </a:ext>
            </a:extLst>
          </p:cNvPr>
          <p:cNvSpPr>
            <a:spLocks noGrp="1"/>
          </p:cNvSpPr>
          <p:nvPr>
            <p:ph type="body" sz="quarter" idx="53" hasCustomPrompt="1"/>
          </p:nvPr>
        </p:nvSpPr>
        <p:spPr>
          <a:xfrm>
            <a:off x="7765208" y="5021786"/>
            <a:ext cx="3226642" cy="485340"/>
          </a:xfrm>
          <a:prstGeom prst="rect">
            <a:avLst/>
          </a:prstGeom>
        </p:spPr>
        <p:txBody>
          <a:bodyPr anchor="t"/>
          <a:lstStyle>
            <a:lvl1pPr rtl="0">
              <a:spcAft>
                <a:spcPts val="0"/>
              </a:spcAft>
              <a:buNone/>
              <a:defRPr lang="en-US" sz="1200" kern="1200" dirty="0">
                <a:solidFill>
                  <a:srgbClr val="000000"/>
                </a:solidFill>
                <a:latin typeface="Graphik" panose="020B0503030202060203" pitchFamily="34" charset="77"/>
                <a:ea typeface="+mn-ea"/>
                <a:cs typeface="+mn-cs"/>
              </a:defRPr>
            </a:lvl1pPr>
          </a:lstStyle>
          <a:p>
            <a:pPr lvl="0"/>
            <a:r>
              <a:rPr lang="pt-BR"/>
              <a:t>Insert text here</a:t>
            </a:r>
            <a:endParaRPr lang="pt-BR" dirty="0"/>
          </a:p>
        </p:txBody>
      </p:sp>
      <p:sp>
        <p:nvSpPr>
          <p:cNvPr id="38" name="Text Placeholder 9">
            <a:extLst>
              <a:ext uri="{FF2B5EF4-FFF2-40B4-BE49-F238E27FC236}">
                <a16:creationId xmlns:a16="http://schemas.microsoft.com/office/drawing/2014/main" id="{E3CD5EEB-45B3-CF04-96A5-62C5367B83CA}"/>
              </a:ext>
            </a:extLst>
          </p:cNvPr>
          <p:cNvSpPr>
            <a:spLocks noGrp="1"/>
          </p:cNvSpPr>
          <p:nvPr>
            <p:ph type="body" sz="quarter" idx="54" hasCustomPrompt="1"/>
          </p:nvPr>
        </p:nvSpPr>
        <p:spPr>
          <a:xfrm>
            <a:off x="6353579" y="5021786"/>
            <a:ext cx="1163099" cy="393954"/>
          </a:xfrm>
        </p:spPr>
        <p:txBody>
          <a:bodyPr/>
          <a:lstStyle>
            <a:lvl1pPr rtl="0">
              <a:defRPr lang="en-AR" sz="1600" b="1" kern="1200" dirty="0">
                <a:solidFill>
                  <a:schemeClr val="bg2"/>
                </a:solidFill>
                <a:latin typeface="Graphik Semibold" panose="020B0503030202060203" pitchFamily="34" charset="77"/>
                <a:ea typeface="+mn-ea"/>
                <a:cs typeface="+mn-cs"/>
              </a:defRPr>
            </a:lvl1pPr>
          </a:lstStyle>
          <a:p>
            <a:pPr lvl="0"/>
            <a:r>
              <a:rPr lang="pt-BR"/>
              <a:t>##</a:t>
            </a:r>
            <a:endParaRPr lang="pt-BR" dirty="0"/>
          </a:p>
        </p:txBody>
      </p:sp>
    </p:spTree>
    <p:extLst>
      <p:ext uri="{BB962C8B-B14F-4D97-AF65-F5344CB8AC3E}">
        <p14:creationId xmlns:p14="http://schemas.microsoft.com/office/powerpoint/2010/main" val="14531764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1: light mo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1F189C4-D038-9C77-BBF0-F7913289B150}"/>
              </a:ext>
            </a:extLst>
          </p:cNvPr>
          <p:cNvGraphicFramePr>
            <a:graphicFrameLocks noChangeAspect="1"/>
          </p:cNvGraphicFramePr>
          <p:nvPr userDrawn="1">
            <p:custDataLst>
              <p:tags r:id="rId1"/>
            </p:custDataLst>
            <p:extLst>
              <p:ext uri="{D42A27DB-BD31-4B8C-83A1-F6EECF244321}">
                <p14:modId xmlns:p14="http://schemas.microsoft.com/office/powerpoint/2010/main" val="3843515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3" name="think-cell data - do not delete" hidden="1">
                        <a:extLst>
                          <a:ext uri="{FF2B5EF4-FFF2-40B4-BE49-F238E27FC236}">
                            <a16:creationId xmlns:a16="http://schemas.microsoft.com/office/drawing/2014/main" id="{A1F189C4-D038-9C77-BBF0-F7913289B1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2">
            <a:extLst>
              <a:ext uri="{FF2B5EF4-FFF2-40B4-BE49-F238E27FC236}">
                <a16:creationId xmlns:a16="http://schemas.microsoft.com/office/drawing/2014/main" id="{5E6475EA-05F8-881F-8077-6C5A702451D9}"/>
              </a:ext>
            </a:extLst>
          </p:cNvPr>
          <p:cNvSpPr>
            <a:spLocks noGrp="1"/>
          </p:cNvSpPr>
          <p:nvPr>
            <p:ph type="title"/>
          </p:nvPr>
        </p:nvSpPr>
        <p:spPr>
          <a:xfrm>
            <a:off x="556467" y="572600"/>
            <a:ext cx="11084672" cy="393954"/>
          </a:xfrm>
        </p:spPr>
        <p:txBody>
          <a:bodyPr vert="horz"/>
          <a:lstStyle>
            <a:lvl1pPr rtl="0">
              <a:defRPr/>
            </a:lvl1pPr>
          </a:lstStyle>
          <a:p>
            <a:r>
              <a:rPr lang="pt-BR"/>
              <a:t>Click to edit Master title style</a:t>
            </a:r>
            <a:endParaRPr lang="pt-BR" dirty="0"/>
          </a:p>
        </p:txBody>
      </p:sp>
      <p:sp>
        <p:nvSpPr>
          <p:cNvPr id="17" name="Text Placeholder 2">
            <a:extLst>
              <a:ext uri="{FF2B5EF4-FFF2-40B4-BE49-F238E27FC236}">
                <a16:creationId xmlns:a16="http://schemas.microsoft.com/office/drawing/2014/main" id="{23D344E3-E54F-25F8-2F2F-980511EB6BDF}"/>
              </a:ext>
            </a:extLst>
          </p:cNvPr>
          <p:cNvSpPr>
            <a:spLocks noGrp="1"/>
          </p:cNvSpPr>
          <p:nvPr>
            <p:ph idx="1" hasCustomPrompt="1"/>
          </p:nvPr>
        </p:nvSpPr>
        <p:spPr>
          <a:xfrm>
            <a:off x="563412" y="1371601"/>
            <a:ext cx="11077726" cy="4757738"/>
          </a:xfrm>
          <a:prstGeom prst="rect">
            <a:avLst/>
          </a:prstGeom>
        </p:spPr>
        <p:txBody>
          <a:bodyPr vert="horz" lIns="0" tIns="0" rIns="0" bIns="0" rtlCol="0">
            <a:noAutofit/>
          </a:bodyPr>
          <a:lstStyle>
            <a:lvl1pPr rtl="0">
              <a:defRPr sz="1400" b="0" i="0">
                <a:latin typeface="Graphik" panose="020B0503030202060203" pitchFamily="34" charset="77"/>
              </a:defRPr>
            </a:lvl1pPr>
            <a:lvl2pPr rtl="0">
              <a:defRPr sz="1400" b="0" i="0">
                <a:latin typeface="Graphik" panose="020B0503030202060203" pitchFamily="34" charset="77"/>
              </a:defRPr>
            </a:lvl2pPr>
            <a:lvl3pPr rtl="0">
              <a:defRPr sz="1400" b="0" i="0">
                <a:latin typeface="Graphik" panose="020B0503030202060203" pitchFamily="34" charset="77"/>
              </a:defRPr>
            </a:lvl3pPr>
            <a:lvl4pPr rtl="0">
              <a:defRPr sz="1050" b="0" i="0">
                <a:latin typeface="Graphik" panose="020B0503030202060203" pitchFamily="34" charset="77"/>
              </a:defRPr>
            </a:lvl4pPr>
            <a:lvl5pPr rtl="0">
              <a:defRPr sz="1050" b="0" i="0">
                <a:latin typeface="Graphik" panose="020B0503030202060203" pitchFamily="34" charset="77"/>
              </a:defRPr>
            </a:lvl5pPr>
            <a:lvl6pPr rtl="0">
              <a:defRPr sz="1400" b="0" i="0">
                <a:latin typeface="Graphik" panose="020B0503030202060203" pitchFamily="34" charset="77"/>
              </a:defRPr>
            </a:lvl6pPr>
            <a:lvl7pPr rtl="0">
              <a:defRPr sz="1100" b="0" i="0">
                <a:latin typeface="Graphik" panose="020B0503030202060203" pitchFamily="34" charset="77"/>
              </a:defRPr>
            </a:lvl7pPr>
            <a:lvl9pPr rtl="0">
              <a:defRPr sz="1100" b="0" i="0">
                <a:latin typeface="Graphik" panose="020B0503030202060203" pitchFamily="34" charset="77"/>
              </a:defRPr>
            </a:lvl9pPr>
          </a:lstStyle>
          <a:p>
            <a:pPr lvl="0"/>
            <a:r>
              <a:rPr lang="pt-BR"/>
              <a:t>First level (bullet)</a:t>
            </a:r>
          </a:p>
          <a:p>
            <a:pPr lvl="1"/>
            <a:r>
              <a:rPr lang="pt-BR"/>
              <a:t>Second level (bullet)</a:t>
            </a:r>
          </a:p>
          <a:p>
            <a:pPr lvl="2"/>
            <a:r>
              <a:rPr lang="pt-BR"/>
              <a:t>Third level (bullet)</a:t>
            </a:r>
          </a:p>
          <a:p>
            <a:pPr lvl="3"/>
            <a:r>
              <a:rPr lang="pt-BR"/>
              <a:t>Fourth level (bullet)</a:t>
            </a:r>
          </a:p>
          <a:p>
            <a:pPr lvl="4"/>
            <a:r>
              <a:rPr lang="pt-BR"/>
              <a:t>Fifth level (bullet)</a:t>
            </a:r>
          </a:p>
          <a:p>
            <a:pPr lvl="5"/>
            <a:r>
              <a:rPr lang="pt-BR"/>
              <a:t>Sixth level (copy)</a:t>
            </a:r>
          </a:p>
          <a:p>
            <a:pPr lvl="6"/>
            <a:r>
              <a:rPr lang="pt-BR"/>
              <a:t>Seventh level (small copy)</a:t>
            </a:r>
          </a:p>
          <a:p>
            <a:pPr lvl="8"/>
            <a:r>
              <a:rPr lang="pt-BR"/>
              <a:t>Ninth level (footnotes and citations)</a:t>
            </a:r>
            <a:endParaRPr lang="pt-BR" dirty="0"/>
          </a:p>
        </p:txBody>
      </p:sp>
    </p:spTree>
    <p:extLst>
      <p:ext uri="{BB962C8B-B14F-4D97-AF65-F5344CB8AC3E}">
        <p14:creationId xmlns:p14="http://schemas.microsoft.com/office/powerpoint/2010/main" val="23781402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1: purple">
    <p:bg>
      <p:bgPr>
        <a:solidFill>
          <a:srgbClr val="450073"/>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4E2D7B6-79E3-CC59-74D2-C2E360337861}"/>
              </a:ext>
            </a:extLst>
          </p:cNvPr>
          <p:cNvGraphicFramePr>
            <a:graphicFrameLocks noChangeAspect="1"/>
          </p:cNvGraphicFramePr>
          <p:nvPr userDrawn="1">
            <p:custDataLst>
              <p:tags r:id="rId1"/>
            </p:custDataLst>
            <p:extLst>
              <p:ext uri="{D42A27DB-BD31-4B8C-83A1-F6EECF244321}">
                <p14:modId xmlns:p14="http://schemas.microsoft.com/office/powerpoint/2010/main" val="3662095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4" name="think-cell data - do not delete" hidden="1">
                        <a:extLst>
                          <a:ext uri="{FF2B5EF4-FFF2-40B4-BE49-F238E27FC236}">
                            <a16:creationId xmlns:a16="http://schemas.microsoft.com/office/drawing/2014/main" id="{A4E2D7B6-79E3-CC59-74D2-C2E3603378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72BD5E18-7BA8-5728-2FF2-876642FDAD1A}"/>
              </a:ext>
            </a:extLst>
          </p:cNvPr>
          <p:cNvSpPr>
            <a:spLocks noGrp="1"/>
          </p:cNvSpPr>
          <p:nvPr>
            <p:ph idx="1" hasCustomPrompt="1"/>
          </p:nvPr>
        </p:nvSpPr>
        <p:spPr>
          <a:xfrm>
            <a:off x="563411" y="1371601"/>
            <a:ext cx="11077727" cy="4757738"/>
          </a:xfrm>
          <a:prstGeom prst="rect">
            <a:avLst/>
          </a:prstGeom>
        </p:spPr>
        <p:txBody>
          <a:bodyPr vert="horz" lIns="0" tIns="0" rIns="0" bIns="0" rtlCol="0">
            <a:noAutofit/>
          </a:bodyPr>
          <a:lstStyle>
            <a:lvl1pPr rtl="0">
              <a:defRPr sz="1400" b="0" i="0">
                <a:solidFill>
                  <a:schemeClr val="tx1"/>
                </a:solidFill>
                <a:latin typeface="Graphik" panose="020B0503030202060203" pitchFamily="34" charset="77"/>
              </a:defRPr>
            </a:lvl1pPr>
            <a:lvl2pPr rtl="0">
              <a:defRPr sz="1400" b="0" i="0">
                <a:solidFill>
                  <a:schemeClr val="tx1"/>
                </a:solidFill>
                <a:latin typeface="Graphik" panose="020B0503030202060203" pitchFamily="34" charset="77"/>
              </a:defRPr>
            </a:lvl2pPr>
            <a:lvl3pPr rtl="0">
              <a:defRPr sz="1400" b="0" i="0">
                <a:solidFill>
                  <a:schemeClr val="tx1"/>
                </a:solidFill>
                <a:latin typeface="Graphik" panose="020B0503030202060203" pitchFamily="34" charset="77"/>
              </a:defRPr>
            </a:lvl3pPr>
            <a:lvl4pPr rtl="0">
              <a:defRPr sz="1050" b="0" i="0">
                <a:solidFill>
                  <a:schemeClr val="tx1"/>
                </a:solidFill>
                <a:latin typeface="Graphik" panose="020B0503030202060203" pitchFamily="34" charset="77"/>
              </a:defRPr>
            </a:lvl4pPr>
            <a:lvl5pPr rtl="0">
              <a:defRPr sz="1050" b="0" i="0">
                <a:solidFill>
                  <a:schemeClr val="tx1"/>
                </a:solidFill>
                <a:latin typeface="Graphik" panose="020B0503030202060203" pitchFamily="34" charset="77"/>
              </a:defRPr>
            </a:lvl5pPr>
            <a:lvl6pPr rtl="0">
              <a:defRPr sz="1400" b="0" i="0">
                <a:solidFill>
                  <a:schemeClr val="tx1"/>
                </a:solidFill>
                <a:latin typeface="Graphik" panose="020B0503030202060203" pitchFamily="34" charset="77"/>
              </a:defRPr>
            </a:lvl6pPr>
            <a:lvl7pPr rtl="0">
              <a:defRPr sz="1100" b="0" i="0">
                <a:solidFill>
                  <a:schemeClr val="tx1"/>
                </a:solidFill>
                <a:latin typeface="Graphik" panose="020B0503030202060203" pitchFamily="34" charset="77"/>
              </a:defRPr>
            </a:lvl7pPr>
            <a:lvl9pPr rtl="0">
              <a:defRPr sz="1100" b="0" i="0">
                <a:solidFill>
                  <a:schemeClr val="tx1"/>
                </a:solidFill>
                <a:latin typeface="Graphik" panose="020B0503030202060203" pitchFamily="34" charset="77"/>
              </a:defRPr>
            </a:lvl9pPr>
          </a:lstStyle>
          <a:p>
            <a:pPr lvl="0"/>
            <a:r>
              <a:rPr lang="pt-BR"/>
              <a:t>First level (bullet)</a:t>
            </a:r>
          </a:p>
          <a:p>
            <a:pPr lvl="1"/>
            <a:r>
              <a:rPr lang="pt-BR"/>
              <a:t>Second level (bullet)</a:t>
            </a:r>
          </a:p>
          <a:p>
            <a:pPr lvl="2"/>
            <a:r>
              <a:rPr lang="pt-BR"/>
              <a:t>Third level (bullet)</a:t>
            </a:r>
          </a:p>
          <a:p>
            <a:pPr lvl="3"/>
            <a:r>
              <a:rPr lang="pt-BR"/>
              <a:t>Fourth level (bullet)</a:t>
            </a:r>
          </a:p>
          <a:p>
            <a:pPr lvl="4"/>
            <a:r>
              <a:rPr lang="pt-BR"/>
              <a:t>Fifth level (bullet)</a:t>
            </a:r>
          </a:p>
          <a:p>
            <a:pPr lvl="5"/>
            <a:r>
              <a:rPr lang="pt-BR"/>
              <a:t>Sixth level (copy)</a:t>
            </a:r>
          </a:p>
          <a:p>
            <a:pPr lvl="6"/>
            <a:r>
              <a:rPr lang="pt-BR"/>
              <a:t>Seventh level (small copy)</a:t>
            </a:r>
          </a:p>
          <a:p>
            <a:pPr lvl="8"/>
            <a:r>
              <a:rPr lang="pt-BR"/>
              <a:t>Ninth level (footnotes and citations)</a:t>
            </a:r>
            <a:endParaRPr lang="pt-BR" dirty="0"/>
          </a:p>
        </p:txBody>
      </p:sp>
      <p:sp>
        <p:nvSpPr>
          <p:cNvPr id="3" name="Title 2">
            <a:extLst>
              <a:ext uri="{FF2B5EF4-FFF2-40B4-BE49-F238E27FC236}">
                <a16:creationId xmlns:a16="http://schemas.microsoft.com/office/drawing/2014/main" id="{45C11A26-2DA7-C2CB-5CA4-C2226E694332}"/>
              </a:ext>
            </a:extLst>
          </p:cNvPr>
          <p:cNvSpPr>
            <a:spLocks noGrp="1"/>
          </p:cNvSpPr>
          <p:nvPr>
            <p:ph type="title"/>
          </p:nvPr>
        </p:nvSpPr>
        <p:spPr>
          <a:xfrm>
            <a:off x="556467" y="572600"/>
            <a:ext cx="11077728" cy="393954"/>
          </a:xfrm>
        </p:spPr>
        <p:txBody>
          <a:bodyPr vert="horz"/>
          <a:lstStyle>
            <a:lvl1pPr rtl="0">
              <a:defRPr/>
            </a:lvl1pPr>
          </a:lstStyle>
          <a:p>
            <a:r>
              <a:rPr lang="pt-BR"/>
              <a:t>Click to edit Master title style</a:t>
            </a:r>
            <a:endParaRPr lang="pt-BR" dirty="0"/>
          </a:p>
        </p:txBody>
      </p:sp>
    </p:spTree>
    <p:extLst>
      <p:ext uri="{BB962C8B-B14F-4D97-AF65-F5344CB8AC3E}">
        <p14:creationId xmlns:p14="http://schemas.microsoft.com/office/powerpoint/2010/main" val="28327334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1: dark mode">
    <p:bg>
      <p:bgPr>
        <a:solidFill>
          <a:srgbClr val="000000"/>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99435CA-E47D-84D5-9AA6-6D881A036448}"/>
              </a:ext>
            </a:extLst>
          </p:cNvPr>
          <p:cNvGraphicFramePr>
            <a:graphicFrameLocks noChangeAspect="1"/>
          </p:cNvGraphicFramePr>
          <p:nvPr userDrawn="1">
            <p:custDataLst>
              <p:tags r:id="rId1"/>
            </p:custDataLst>
            <p:extLst>
              <p:ext uri="{D42A27DB-BD31-4B8C-83A1-F6EECF244321}">
                <p14:modId xmlns:p14="http://schemas.microsoft.com/office/powerpoint/2010/main" val="2463472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3" name="think-cell data - do not delete" hidden="1">
                        <a:extLst>
                          <a:ext uri="{FF2B5EF4-FFF2-40B4-BE49-F238E27FC236}">
                            <a16:creationId xmlns:a16="http://schemas.microsoft.com/office/drawing/2014/main" id="{799435CA-E47D-84D5-9AA6-6D881A0364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2">
            <a:extLst>
              <a:ext uri="{FF2B5EF4-FFF2-40B4-BE49-F238E27FC236}">
                <a16:creationId xmlns:a16="http://schemas.microsoft.com/office/drawing/2014/main" id="{198A5B9C-C3DA-AD99-4E28-C97B8A81C3CC}"/>
              </a:ext>
            </a:extLst>
          </p:cNvPr>
          <p:cNvSpPr>
            <a:spLocks noGrp="1"/>
          </p:cNvSpPr>
          <p:nvPr>
            <p:ph type="title"/>
          </p:nvPr>
        </p:nvSpPr>
        <p:spPr>
          <a:xfrm>
            <a:off x="556467" y="572600"/>
            <a:ext cx="11084672" cy="393954"/>
          </a:xfrm>
        </p:spPr>
        <p:txBody>
          <a:bodyPr vert="horz"/>
          <a:lstStyle>
            <a:lvl1pPr rtl="0">
              <a:defRPr>
                <a:solidFill>
                  <a:schemeClr val="bg1"/>
                </a:solidFill>
              </a:defRPr>
            </a:lvl1pPr>
          </a:lstStyle>
          <a:p>
            <a:r>
              <a:rPr lang="pt-BR"/>
              <a:t>Click to edit Master title style</a:t>
            </a:r>
            <a:endParaRPr lang="pt-BR" dirty="0"/>
          </a:p>
        </p:txBody>
      </p:sp>
      <p:sp>
        <p:nvSpPr>
          <p:cNvPr id="17" name="Text Placeholder 2">
            <a:extLst>
              <a:ext uri="{FF2B5EF4-FFF2-40B4-BE49-F238E27FC236}">
                <a16:creationId xmlns:a16="http://schemas.microsoft.com/office/drawing/2014/main" id="{23D344E3-E54F-25F8-2F2F-980511EB6BDF}"/>
              </a:ext>
            </a:extLst>
          </p:cNvPr>
          <p:cNvSpPr>
            <a:spLocks noGrp="1"/>
          </p:cNvSpPr>
          <p:nvPr>
            <p:ph idx="1" hasCustomPrompt="1"/>
          </p:nvPr>
        </p:nvSpPr>
        <p:spPr>
          <a:xfrm>
            <a:off x="563411" y="1371601"/>
            <a:ext cx="11084673" cy="4757738"/>
          </a:xfrm>
          <a:prstGeom prst="rect">
            <a:avLst/>
          </a:prstGeom>
        </p:spPr>
        <p:txBody>
          <a:bodyPr vert="horz" lIns="0" tIns="0" rIns="0" bIns="0" rtlCol="0">
            <a:noAutofit/>
          </a:bodyPr>
          <a:lstStyle>
            <a:lvl1pPr rtl="0">
              <a:defRPr sz="1400" b="0" i="0">
                <a:solidFill>
                  <a:srgbClr val="FFFFFF"/>
                </a:solidFill>
                <a:latin typeface="Graphik" panose="020B0503030202060203" pitchFamily="34" charset="77"/>
              </a:defRPr>
            </a:lvl1pPr>
            <a:lvl2pPr rtl="0">
              <a:defRPr sz="1400" b="0" i="0">
                <a:solidFill>
                  <a:srgbClr val="FFFFFF"/>
                </a:solidFill>
                <a:latin typeface="Graphik" panose="020B0503030202060203" pitchFamily="34" charset="77"/>
              </a:defRPr>
            </a:lvl2pPr>
            <a:lvl3pPr rtl="0">
              <a:defRPr sz="1400" b="0" i="0">
                <a:solidFill>
                  <a:srgbClr val="FFFFFF"/>
                </a:solidFill>
                <a:latin typeface="Graphik" panose="020B0503030202060203" pitchFamily="34" charset="77"/>
              </a:defRPr>
            </a:lvl3pPr>
            <a:lvl4pPr rtl="0">
              <a:defRPr sz="1050" b="0" i="0">
                <a:solidFill>
                  <a:srgbClr val="FFFFFF"/>
                </a:solidFill>
                <a:latin typeface="Graphik" panose="020B0503030202060203" pitchFamily="34" charset="77"/>
              </a:defRPr>
            </a:lvl4pPr>
            <a:lvl5pPr rtl="0">
              <a:defRPr sz="1050" b="0" i="0">
                <a:solidFill>
                  <a:srgbClr val="FFFFFF"/>
                </a:solidFill>
                <a:latin typeface="Graphik" panose="020B0503030202060203" pitchFamily="34" charset="77"/>
              </a:defRPr>
            </a:lvl5pPr>
            <a:lvl6pPr rtl="0">
              <a:defRPr sz="1400" b="0" i="0">
                <a:solidFill>
                  <a:srgbClr val="FFFFFF"/>
                </a:solidFill>
                <a:latin typeface="Graphik" panose="020B0503030202060203" pitchFamily="34" charset="77"/>
              </a:defRPr>
            </a:lvl6pPr>
            <a:lvl7pPr rtl="0">
              <a:defRPr sz="1100" b="0" i="0">
                <a:solidFill>
                  <a:srgbClr val="FFFFFF"/>
                </a:solidFill>
                <a:latin typeface="Graphik" panose="020B0503030202060203" pitchFamily="34" charset="77"/>
              </a:defRPr>
            </a:lvl7pPr>
            <a:lvl9pPr rtl="0">
              <a:defRPr sz="1100" b="0" i="0">
                <a:solidFill>
                  <a:srgbClr val="FFFFFF"/>
                </a:solidFill>
                <a:latin typeface="Graphik" panose="020B0503030202060203" pitchFamily="34" charset="77"/>
              </a:defRPr>
            </a:lvl9pPr>
          </a:lstStyle>
          <a:p>
            <a:pPr lvl="0"/>
            <a:r>
              <a:rPr lang="pt-BR"/>
              <a:t>First level (bullet)</a:t>
            </a:r>
          </a:p>
          <a:p>
            <a:pPr lvl="1"/>
            <a:r>
              <a:rPr lang="pt-BR"/>
              <a:t>Second level (bullet)</a:t>
            </a:r>
          </a:p>
          <a:p>
            <a:pPr lvl="2"/>
            <a:r>
              <a:rPr lang="pt-BR"/>
              <a:t>Third level (bullet)</a:t>
            </a:r>
          </a:p>
          <a:p>
            <a:pPr lvl="3"/>
            <a:r>
              <a:rPr lang="pt-BR"/>
              <a:t>Fourth level (bullet)</a:t>
            </a:r>
          </a:p>
          <a:p>
            <a:pPr lvl="4"/>
            <a:r>
              <a:rPr lang="pt-BR"/>
              <a:t>Fifth level (bullet)</a:t>
            </a:r>
          </a:p>
          <a:p>
            <a:pPr lvl="5"/>
            <a:r>
              <a:rPr lang="pt-BR"/>
              <a:t>Sixth level (copy)</a:t>
            </a:r>
          </a:p>
          <a:p>
            <a:pPr lvl="6"/>
            <a:r>
              <a:rPr lang="pt-BR"/>
              <a:t>Seventh level (small copy)</a:t>
            </a:r>
          </a:p>
          <a:p>
            <a:pPr lvl="8"/>
            <a:r>
              <a:rPr lang="pt-BR"/>
              <a:t>Ninth level (footnotes and citations)</a:t>
            </a:r>
            <a:endParaRPr lang="pt-BR" dirty="0"/>
          </a:p>
        </p:txBody>
      </p:sp>
      <p:sp>
        <p:nvSpPr>
          <p:cNvPr id="4" name="GTS_WH">
            <a:extLst>
              <a:ext uri="{FF2B5EF4-FFF2-40B4-BE49-F238E27FC236}">
                <a16:creationId xmlns:a16="http://schemas.microsoft.com/office/drawing/2014/main" id="{7F75177E-60CD-488F-76CA-383DF4BA8EAB}"/>
              </a:ext>
              <a:ext uri="{C183D7F6-B498-43B3-948B-1728B52AA6E4}">
                <adec:decorative xmlns:adec="http://schemas.microsoft.com/office/drawing/2017/decorative" val="1"/>
              </a:ext>
            </a:extLst>
          </p:cNvPr>
          <p:cNvSpPr>
            <a:spLocks noChangeAspect="1"/>
          </p:cNvSpPr>
          <p:nvPr userDrawn="1"/>
        </p:nvSpPr>
        <p:spPr bwMode="black">
          <a:xfrm>
            <a:off x="561601" y="6384000"/>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pt-BR" sz="1351" b="0" i="0" dirty="0">
              <a:latin typeface="Graphik" panose="020B0503030202060203" pitchFamily="34" charset="77"/>
            </a:endParaRPr>
          </a:p>
        </p:txBody>
      </p:sp>
      <p:sp>
        <p:nvSpPr>
          <p:cNvPr id="5" name="Rectangle 4">
            <a:extLst>
              <a:ext uri="{FF2B5EF4-FFF2-40B4-BE49-F238E27FC236}">
                <a16:creationId xmlns:a16="http://schemas.microsoft.com/office/drawing/2014/main" id="{303D65E6-5BEA-7B07-3FCB-C3820D027043}"/>
              </a:ext>
            </a:extLst>
          </p:cNvPr>
          <p:cNvSpPr/>
          <p:nvPr userDrawn="1"/>
        </p:nvSpPr>
        <p:spPr>
          <a:xfrm>
            <a:off x="455185" y="6325693"/>
            <a:ext cx="386707" cy="333768"/>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pt-BR" dirty="0" err="1"/>
          </a:p>
        </p:txBody>
      </p:sp>
      <p:sp>
        <p:nvSpPr>
          <p:cNvPr id="7" name="Rectangle 6">
            <a:extLst>
              <a:ext uri="{FF2B5EF4-FFF2-40B4-BE49-F238E27FC236}">
                <a16:creationId xmlns:a16="http://schemas.microsoft.com/office/drawing/2014/main" id="{20C23B58-36A4-A3AB-A819-2E25BA1E48FE}"/>
              </a:ext>
            </a:extLst>
          </p:cNvPr>
          <p:cNvSpPr/>
          <p:nvPr userDrawn="1"/>
        </p:nvSpPr>
        <p:spPr>
          <a:xfrm>
            <a:off x="8950646" y="6285984"/>
            <a:ext cx="2580059" cy="445127"/>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pt-BR" dirty="0" err="1"/>
          </a:p>
        </p:txBody>
      </p:sp>
    </p:spTree>
    <p:extLst>
      <p:ext uri="{BB962C8B-B14F-4D97-AF65-F5344CB8AC3E}">
        <p14:creationId xmlns:p14="http://schemas.microsoft.com/office/powerpoint/2010/main" val="39512508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light mode">
    <p:bg>
      <p:bgPr>
        <a:solidFill>
          <a:schemeClr val="tx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D286A12-7D6E-F726-9E09-5FB31C125013}"/>
              </a:ext>
            </a:extLst>
          </p:cNvPr>
          <p:cNvGraphicFramePr>
            <a:graphicFrameLocks noChangeAspect="1"/>
          </p:cNvGraphicFramePr>
          <p:nvPr userDrawn="1">
            <p:custDataLst>
              <p:tags r:id="rId1"/>
            </p:custDataLst>
            <p:extLst>
              <p:ext uri="{D42A27DB-BD31-4B8C-83A1-F6EECF244321}">
                <p14:modId xmlns:p14="http://schemas.microsoft.com/office/powerpoint/2010/main" val="2266620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4" name="think-cell data - do not delete" hidden="1">
                        <a:extLst>
                          <a:ext uri="{FF2B5EF4-FFF2-40B4-BE49-F238E27FC236}">
                            <a16:creationId xmlns:a16="http://schemas.microsoft.com/office/drawing/2014/main" id="{5D286A12-7D6E-F726-9E09-5FB31C12501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131B3895-321B-8CAC-83C2-50F886A2CDA3}"/>
              </a:ext>
            </a:extLst>
          </p:cNvPr>
          <p:cNvSpPr>
            <a:spLocks noGrp="1"/>
          </p:cNvSpPr>
          <p:nvPr>
            <p:ph type="title"/>
          </p:nvPr>
        </p:nvSpPr>
        <p:spPr>
          <a:xfrm>
            <a:off x="1171951" y="3008948"/>
            <a:ext cx="6795392" cy="1329595"/>
          </a:xfrm>
          <a:prstGeom prst="rect">
            <a:avLst/>
          </a:prstGeom>
        </p:spPr>
        <p:txBody>
          <a:bodyPr vert="horz" anchor="b"/>
          <a:lstStyle>
            <a:lvl1pPr algn="l" rtl="0">
              <a:lnSpc>
                <a:spcPct val="90000"/>
              </a:lnSpc>
              <a:defRPr sz="4800">
                <a:solidFill>
                  <a:schemeClr val="bg1"/>
                </a:solidFill>
              </a:defRPr>
            </a:lvl1pPr>
          </a:lstStyle>
          <a:p>
            <a:r>
              <a:rPr lang="pt-BR"/>
              <a:t>Click to edit Master title style</a:t>
            </a:r>
            <a:endParaRPr lang="pt-BR" dirty="0"/>
          </a:p>
        </p:txBody>
      </p:sp>
      <p:sp>
        <p:nvSpPr>
          <p:cNvPr id="9" name="Subtitle 2">
            <a:extLst>
              <a:ext uri="{FF2B5EF4-FFF2-40B4-BE49-F238E27FC236}">
                <a16:creationId xmlns:a16="http://schemas.microsoft.com/office/drawing/2014/main" id="{79424AF0-EE9F-A1A8-B5A5-CF437B9F5DBA}"/>
              </a:ext>
            </a:extLst>
          </p:cNvPr>
          <p:cNvSpPr>
            <a:spLocks noGrp="1"/>
          </p:cNvSpPr>
          <p:nvPr>
            <p:ph type="subTitle" idx="1" hasCustomPrompt="1"/>
          </p:nvPr>
        </p:nvSpPr>
        <p:spPr>
          <a:xfrm>
            <a:off x="1171951" y="4475703"/>
            <a:ext cx="6795392" cy="1092845"/>
          </a:xfrm>
          <a:prstGeom prst="rect">
            <a:avLst/>
          </a:prstGeom>
        </p:spPr>
        <p:txBody>
          <a:bodyPr/>
          <a:lstStyle>
            <a:lvl1pPr marL="0" indent="0" algn="l" rtl="0">
              <a:lnSpc>
                <a:spcPct val="90000"/>
              </a:lnSpc>
              <a:spcAft>
                <a:spcPts val="0"/>
              </a:spcAft>
              <a:buNone/>
              <a:defRPr sz="1800" b="0" i="0" spc="0">
                <a:solidFill>
                  <a:schemeClr val="bg1"/>
                </a:solidFill>
                <a:latin typeface="Graphik" panose="020B0503030202060203" pitchFamily="34" charset="77"/>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pPr marL="0" lvl="0" indent="0" algn="l" defTabSz="914377" rtl="0" eaLnBrk="1" latinLnBrk="0" hangingPunct="1">
              <a:lnSpc>
                <a:spcPct val="100000"/>
              </a:lnSpc>
              <a:spcBef>
                <a:spcPts val="0"/>
              </a:spcBef>
              <a:spcAft>
                <a:spcPts val="0"/>
              </a:spcAft>
              <a:buFont typeface="Graphik" panose="020B0604020202020204" pitchFamily="34" charset="0"/>
              <a:buNone/>
            </a:pPr>
            <a:r>
              <a:rPr lang="pt-BR"/>
              <a:t>Place subtitle here in Graphik regular</a:t>
            </a:r>
            <a:endParaRPr lang="pt-BR" dirty="0"/>
          </a:p>
        </p:txBody>
      </p:sp>
      <p:sp>
        <p:nvSpPr>
          <p:cNvPr id="11" name="Text Placeholder 16">
            <a:extLst>
              <a:ext uri="{FF2B5EF4-FFF2-40B4-BE49-F238E27FC236}">
                <a16:creationId xmlns:a16="http://schemas.microsoft.com/office/drawing/2014/main" id="{349A45E5-70FE-79EB-8E7A-1A2061B62B79}"/>
              </a:ext>
            </a:extLst>
          </p:cNvPr>
          <p:cNvSpPr>
            <a:spLocks noGrp="1"/>
          </p:cNvSpPr>
          <p:nvPr>
            <p:ph type="body" sz="quarter" idx="12" hasCustomPrompt="1"/>
          </p:nvPr>
        </p:nvSpPr>
        <p:spPr>
          <a:xfrm>
            <a:off x="1171950" y="5674232"/>
            <a:ext cx="3816000" cy="634494"/>
          </a:xfrm>
          <a:prstGeom prst="rect">
            <a:avLst/>
          </a:prstGeom>
        </p:spPr>
        <p:txBody>
          <a:bodyPr anchor="b"/>
          <a:lstStyle>
            <a:lvl1pPr marL="0" indent="0" algn="l" defTabSz="914377" rtl="0" eaLnBrk="1" latinLnBrk="0" hangingPunct="1">
              <a:spcAft>
                <a:spcPts val="0"/>
              </a:spcAft>
              <a:buNone/>
              <a:defRPr lang="en-US" sz="1200" b="0" i="0" kern="1200" dirty="0" smtClean="0">
                <a:solidFill>
                  <a:schemeClr val="bg1"/>
                </a:solidFill>
                <a:latin typeface="Graphik" panose="020B0503030202060203" pitchFamily="34" charset="77"/>
                <a:ea typeface="+mn-ea"/>
                <a:cs typeface="+mn-cs"/>
              </a:defRPr>
            </a:lvl1pPr>
            <a:lvl2pPr marL="0" algn="l" defTabSz="914377" rtl="0" eaLnBrk="1" latinLnBrk="0" hangingPunct="1">
              <a:spcAft>
                <a:spcPts val="0"/>
              </a:spcAft>
              <a:defRPr lang="en-US" sz="1400" b="0" kern="1200" dirty="0" smtClean="0">
                <a:solidFill>
                  <a:schemeClr val="tx1"/>
                </a:solidFill>
                <a:latin typeface="+mn-lt"/>
                <a:ea typeface="+mn-ea"/>
                <a:cs typeface="+mn-cs"/>
              </a:defRPr>
            </a:lvl2pPr>
            <a:lvl3pPr marL="0" algn="l" defTabSz="914377" rtl="0" eaLnBrk="1" latinLnBrk="0" hangingPunct="1">
              <a:spcAft>
                <a:spcPts val="0"/>
              </a:spcAft>
              <a:defRPr lang="en-US" sz="1400" b="0" kern="1200" dirty="0" smtClean="0">
                <a:solidFill>
                  <a:schemeClr val="tx1"/>
                </a:solidFill>
                <a:latin typeface="+mn-lt"/>
                <a:ea typeface="+mn-ea"/>
                <a:cs typeface="+mn-cs"/>
              </a:defRPr>
            </a:lvl3pPr>
            <a:lvl4pPr marL="0" algn="l" defTabSz="914377" rtl="0" eaLnBrk="1" latinLnBrk="0" hangingPunct="1">
              <a:spcAft>
                <a:spcPts val="0"/>
              </a:spcAft>
              <a:defRPr lang="en-US" sz="1400" b="0" kern="1200" dirty="0" smtClean="0">
                <a:solidFill>
                  <a:schemeClr val="tx1"/>
                </a:solidFill>
                <a:latin typeface="+mn-lt"/>
                <a:ea typeface="+mn-ea"/>
                <a:cs typeface="+mn-cs"/>
              </a:defRPr>
            </a:lvl4pPr>
            <a:lvl5pPr marL="0" algn="l" defTabSz="914377" rtl="0" eaLnBrk="1" latinLnBrk="0" hangingPunct="1">
              <a:spcAft>
                <a:spcPts val="0"/>
              </a:spcAft>
              <a:defRPr lang="en-US" sz="1400" b="0" kern="1200" dirty="0" smtClean="0">
                <a:solidFill>
                  <a:schemeClr val="tx1"/>
                </a:solidFill>
                <a:latin typeface="+mn-lt"/>
                <a:ea typeface="+mn-ea"/>
                <a:cs typeface="+mn-cs"/>
              </a:defRPr>
            </a:lvl5pPr>
          </a:lstStyle>
          <a:p>
            <a:pPr lvl="0"/>
            <a:r>
              <a:rPr lang="pt-BR"/>
              <a:t>Presenter</a:t>
            </a:r>
            <a:endParaRPr lang="pt-BR" dirty="0"/>
          </a:p>
        </p:txBody>
      </p:sp>
      <p:sp>
        <p:nvSpPr>
          <p:cNvPr id="22" name="Text Placeholder 16">
            <a:extLst>
              <a:ext uri="{FF2B5EF4-FFF2-40B4-BE49-F238E27FC236}">
                <a16:creationId xmlns:a16="http://schemas.microsoft.com/office/drawing/2014/main" id="{57A6BE55-E9EF-68A2-0448-87EF125B2BE9}"/>
              </a:ext>
            </a:extLst>
          </p:cNvPr>
          <p:cNvSpPr>
            <a:spLocks noGrp="1"/>
          </p:cNvSpPr>
          <p:nvPr>
            <p:ph type="body" sz="quarter" idx="15" hasCustomPrompt="1"/>
          </p:nvPr>
        </p:nvSpPr>
        <p:spPr>
          <a:xfrm>
            <a:off x="9158956" y="6124059"/>
            <a:ext cx="1832894" cy="184666"/>
          </a:xfrm>
          <a:prstGeom prst="rect">
            <a:avLst/>
          </a:prstGeom>
        </p:spPr>
        <p:txBody>
          <a:bodyPr wrap="square" anchor="b">
            <a:spAutoFit/>
          </a:bodyPr>
          <a:lstStyle>
            <a:lvl1pPr marL="0" indent="0" algn="r" defTabSz="914377" rtl="0" eaLnBrk="1" latinLnBrk="0" hangingPunct="1">
              <a:spcAft>
                <a:spcPts val="0"/>
              </a:spcAft>
              <a:buNone/>
              <a:defRPr lang="en-US" sz="1200" b="0" i="0" kern="1200" dirty="0">
                <a:solidFill>
                  <a:schemeClr val="bg1"/>
                </a:solidFill>
                <a:latin typeface="Graphik Semibold" panose="020B0703030202060203" pitchFamily="34" charset="0"/>
                <a:ea typeface="+mn-ea"/>
                <a:cs typeface="+mn-cs"/>
              </a:defRPr>
            </a:lvl1pPr>
            <a:lvl2pPr marL="0" algn="l" defTabSz="914377" rtl="0" eaLnBrk="1" latinLnBrk="0" hangingPunct="1">
              <a:spcAft>
                <a:spcPts val="0"/>
              </a:spcAft>
              <a:defRPr lang="en-US" sz="1400" b="0" kern="1200" dirty="0" smtClean="0">
                <a:solidFill>
                  <a:schemeClr val="tx1"/>
                </a:solidFill>
                <a:latin typeface="+mn-lt"/>
                <a:ea typeface="+mn-ea"/>
                <a:cs typeface="+mn-cs"/>
              </a:defRPr>
            </a:lvl2pPr>
            <a:lvl3pPr marL="0" algn="l" defTabSz="914377" rtl="0" eaLnBrk="1" latinLnBrk="0" hangingPunct="1">
              <a:spcAft>
                <a:spcPts val="0"/>
              </a:spcAft>
              <a:defRPr lang="en-US" sz="1400" b="0" kern="1200" dirty="0" smtClean="0">
                <a:solidFill>
                  <a:schemeClr val="tx1"/>
                </a:solidFill>
                <a:latin typeface="+mn-lt"/>
                <a:ea typeface="+mn-ea"/>
                <a:cs typeface="+mn-cs"/>
              </a:defRPr>
            </a:lvl3pPr>
            <a:lvl4pPr marL="0" algn="l" defTabSz="914377" rtl="0" eaLnBrk="1" latinLnBrk="0" hangingPunct="1">
              <a:spcAft>
                <a:spcPts val="0"/>
              </a:spcAft>
              <a:defRPr lang="en-US" sz="1400" b="0" kern="1200" dirty="0" smtClean="0">
                <a:solidFill>
                  <a:schemeClr val="tx1"/>
                </a:solidFill>
                <a:latin typeface="+mn-lt"/>
                <a:ea typeface="+mn-ea"/>
                <a:cs typeface="+mn-cs"/>
              </a:defRPr>
            </a:lvl4pPr>
            <a:lvl5pPr marL="0" algn="l" defTabSz="914377" rtl="0" eaLnBrk="1" latinLnBrk="0" hangingPunct="1">
              <a:spcAft>
                <a:spcPts val="0"/>
              </a:spcAft>
              <a:defRPr lang="en-US" sz="1400" b="0" kern="1200" dirty="0" smtClean="0">
                <a:solidFill>
                  <a:schemeClr val="tx1"/>
                </a:solidFill>
                <a:latin typeface="+mn-lt"/>
                <a:ea typeface="+mn-ea"/>
                <a:cs typeface="+mn-cs"/>
              </a:defRPr>
            </a:lvl5pPr>
          </a:lstStyle>
          <a:p>
            <a:pPr lvl="0"/>
            <a:r>
              <a:rPr lang="pt-BR"/>
              <a:t>MM.DD.YYYY</a:t>
            </a:r>
            <a:endParaRPr lang="pt-BR" dirty="0"/>
          </a:p>
        </p:txBody>
      </p:sp>
    </p:spTree>
    <p:extLst>
      <p:ext uri="{BB962C8B-B14F-4D97-AF65-F5344CB8AC3E}">
        <p14:creationId xmlns:p14="http://schemas.microsoft.com/office/powerpoint/2010/main" val="218467522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1620">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2: light mo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9FBE142-DFAE-DDDD-D912-BF6E21622854}"/>
              </a:ext>
            </a:extLst>
          </p:cNvPr>
          <p:cNvGraphicFramePr>
            <a:graphicFrameLocks noChangeAspect="1"/>
          </p:cNvGraphicFramePr>
          <p:nvPr userDrawn="1">
            <p:custDataLst>
              <p:tags r:id="rId1"/>
            </p:custDataLst>
            <p:extLst>
              <p:ext uri="{D42A27DB-BD31-4B8C-83A1-F6EECF244321}">
                <p14:modId xmlns:p14="http://schemas.microsoft.com/office/powerpoint/2010/main" val="481700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5" name="think-cell data - do not delete" hidden="1">
                        <a:extLst>
                          <a:ext uri="{FF2B5EF4-FFF2-40B4-BE49-F238E27FC236}">
                            <a16:creationId xmlns:a16="http://schemas.microsoft.com/office/drawing/2014/main" id="{C9FBE142-DFAE-DDDD-D912-BF6E216228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29C6DC0A-3CA3-F5A5-5E70-94036764CF84}"/>
              </a:ext>
            </a:extLst>
          </p:cNvPr>
          <p:cNvSpPr>
            <a:spLocks noGrp="1"/>
          </p:cNvSpPr>
          <p:nvPr>
            <p:ph type="title"/>
          </p:nvPr>
        </p:nvSpPr>
        <p:spPr>
          <a:xfrm>
            <a:off x="556467" y="572600"/>
            <a:ext cx="11084672" cy="393954"/>
          </a:xfrm>
        </p:spPr>
        <p:txBody>
          <a:bodyPr vert="horz"/>
          <a:lstStyle>
            <a:lvl1pPr rtl="0">
              <a:defRPr/>
            </a:lvl1pPr>
          </a:lstStyle>
          <a:p>
            <a:r>
              <a:rPr lang="pt-BR"/>
              <a:t>Click to edit Master title style</a:t>
            </a:r>
            <a:endParaRPr lang="pt-BR" dirty="0"/>
          </a:p>
        </p:txBody>
      </p:sp>
      <p:sp>
        <p:nvSpPr>
          <p:cNvPr id="6" name="Text Placeholder 3">
            <a:extLst>
              <a:ext uri="{FF2B5EF4-FFF2-40B4-BE49-F238E27FC236}">
                <a16:creationId xmlns:a16="http://schemas.microsoft.com/office/drawing/2014/main" id="{0EC44ACB-E461-9710-1A88-433105BDF5D8}"/>
              </a:ext>
            </a:extLst>
          </p:cNvPr>
          <p:cNvSpPr>
            <a:spLocks noGrp="1"/>
          </p:cNvSpPr>
          <p:nvPr>
            <p:ph type="body" sz="quarter" idx="26" hasCustomPrompt="1"/>
          </p:nvPr>
        </p:nvSpPr>
        <p:spPr>
          <a:xfrm>
            <a:off x="563411" y="1109663"/>
            <a:ext cx="11084673" cy="384048"/>
          </a:xfrm>
          <a:prstGeom prst="rect">
            <a:avLst/>
          </a:prstGeom>
        </p:spPr>
        <p:txBody>
          <a:bodyPr anchor="t"/>
          <a:lstStyle>
            <a:lvl1pPr marL="0" indent="0" rtl="0">
              <a:spcAft>
                <a:spcPts val="0"/>
              </a:spcAft>
              <a:buNone/>
              <a:defRPr sz="1800" b="0" i="0">
                <a:solidFill>
                  <a:schemeClr val="tx1"/>
                </a:solidFill>
                <a:latin typeface="Graphik" panose="020B0503030202060203" pitchFamily="34" charset="77"/>
              </a:defRPr>
            </a:lvl1pPr>
          </a:lstStyle>
          <a:p>
            <a:pPr lvl="0"/>
            <a:r>
              <a:rPr lang="pt-BR"/>
              <a:t>Place subtitle here in Graphik regular</a:t>
            </a:r>
            <a:endParaRPr lang="pt-BR" dirty="0"/>
          </a:p>
        </p:txBody>
      </p:sp>
      <p:sp>
        <p:nvSpPr>
          <p:cNvPr id="2" name="Text Placeholder 2">
            <a:extLst>
              <a:ext uri="{FF2B5EF4-FFF2-40B4-BE49-F238E27FC236}">
                <a16:creationId xmlns:a16="http://schemas.microsoft.com/office/drawing/2014/main" id="{E013B68F-B365-32C6-C8B6-66516407E205}"/>
              </a:ext>
            </a:extLst>
          </p:cNvPr>
          <p:cNvSpPr>
            <a:spLocks noGrp="1"/>
          </p:cNvSpPr>
          <p:nvPr>
            <p:ph idx="1" hasCustomPrompt="1"/>
          </p:nvPr>
        </p:nvSpPr>
        <p:spPr>
          <a:xfrm>
            <a:off x="563411" y="1684021"/>
            <a:ext cx="11077727" cy="4445317"/>
          </a:xfrm>
          <a:prstGeom prst="rect">
            <a:avLst/>
          </a:prstGeom>
        </p:spPr>
        <p:txBody>
          <a:bodyPr vert="horz" lIns="0" tIns="0" rIns="0" bIns="0" rtlCol="0">
            <a:noAutofit/>
          </a:bodyPr>
          <a:lstStyle>
            <a:lvl1pPr rtl="0">
              <a:defRPr sz="1400" b="0" i="0">
                <a:latin typeface="Graphik" panose="020B0503030202060203" pitchFamily="34" charset="77"/>
              </a:defRPr>
            </a:lvl1pPr>
            <a:lvl2pPr rtl="0">
              <a:defRPr sz="1400" b="0" i="0">
                <a:latin typeface="Graphik" panose="020B0503030202060203" pitchFamily="34" charset="77"/>
              </a:defRPr>
            </a:lvl2pPr>
            <a:lvl3pPr rtl="0">
              <a:defRPr sz="1400" b="0" i="0">
                <a:latin typeface="Graphik" panose="020B0503030202060203" pitchFamily="34" charset="77"/>
              </a:defRPr>
            </a:lvl3pPr>
            <a:lvl4pPr rtl="0">
              <a:defRPr sz="1050" b="0" i="0">
                <a:latin typeface="Graphik" panose="020B0503030202060203" pitchFamily="34" charset="77"/>
              </a:defRPr>
            </a:lvl4pPr>
            <a:lvl5pPr rtl="0">
              <a:defRPr sz="1050" b="0" i="0">
                <a:latin typeface="Graphik" panose="020B0503030202060203" pitchFamily="34" charset="77"/>
              </a:defRPr>
            </a:lvl5pPr>
            <a:lvl6pPr rtl="0">
              <a:defRPr sz="1400" b="0" i="0">
                <a:latin typeface="Graphik" panose="020B0503030202060203" pitchFamily="34" charset="77"/>
              </a:defRPr>
            </a:lvl6pPr>
            <a:lvl7pPr rtl="0">
              <a:defRPr sz="1100" b="0" i="0">
                <a:latin typeface="Graphik" panose="020B0503030202060203" pitchFamily="34" charset="77"/>
              </a:defRPr>
            </a:lvl7pPr>
            <a:lvl9pPr rtl="0">
              <a:defRPr sz="1100" b="0" i="0">
                <a:latin typeface="Graphik" panose="020B0503030202060203" pitchFamily="34" charset="77"/>
              </a:defRPr>
            </a:lvl9pPr>
          </a:lstStyle>
          <a:p>
            <a:pPr lvl="0"/>
            <a:r>
              <a:rPr lang="pt-BR"/>
              <a:t>First level (bullet)</a:t>
            </a:r>
          </a:p>
          <a:p>
            <a:pPr lvl="1"/>
            <a:r>
              <a:rPr lang="pt-BR"/>
              <a:t>Second level (bullet)</a:t>
            </a:r>
          </a:p>
          <a:p>
            <a:pPr lvl="2"/>
            <a:r>
              <a:rPr lang="pt-BR"/>
              <a:t>Third level (bullet)</a:t>
            </a:r>
          </a:p>
          <a:p>
            <a:pPr lvl="3"/>
            <a:r>
              <a:rPr lang="pt-BR"/>
              <a:t>Fourth level (bullet)</a:t>
            </a:r>
          </a:p>
          <a:p>
            <a:pPr lvl="4"/>
            <a:r>
              <a:rPr lang="pt-BR"/>
              <a:t>Fifth level (bullet)</a:t>
            </a:r>
          </a:p>
          <a:p>
            <a:pPr lvl="5"/>
            <a:r>
              <a:rPr lang="pt-BR"/>
              <a:t>Sixth level (copy)</a:t>
            </a:r>
          </a:p>
          <a:p>
            <a:pPr lvl="6"/>
            <a:r>
              <a:rPr lang="pt-BR"/>
              <a:t>Seventh level (small copy)</a:t>
            </a:r>
          </a:p>
          <a:p>
            <a:pPr lvl="8"/>
            <a:r>
              <a:rPr lang="pt-BR"/>
              <a:t>Ninth level (footnotes and citations)</a:t>
            </a:r>
            <a:endParaRPr lang="pt-BR" dirty="0"/>
          </a:p>
        </p:txBody>
      </p:sp>
    </p:spTree>
    <p:extLst>
      <p:ext uri="{BB962C8B-B14F-4D97-AF65-F5344CB8AC3E}">
        <p14:creationId xmlns:p14="http://schemas.microsoft.com/office/powerpoint/2010/main" val="3327608351"/>
      </p:ext>
    </p:extLst>
  </p:cSld>
  <p:clrMapOvr>
    <a:masterClrMapping/>
  </p:clrMapOvr>
  <p:extLst>
    <p:ext uri="{DCECCB84-F9BA-43D5-87BE-67443E8EF086}">
      <p15:sldGuideLst xmlns:p15="http://schemas.microsoft.com/office/powerpoint/2012/main">
        <p15:guide id="1" orient="horz" pos="699" userDrawn="1">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2: dark mode">
    <p:bg>
      <p:bgPr>
        <a:solidFill>
          <a:srgbClr val="000000"/>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33B1B56-96D2-4A37-9928-25B9DD743D4E}"/>
              </a:ext>
            </a:extLst>
          </p:cNvPr>
          <p:cNvGraphicFramePr>
            <a:graphicFrameLocks noChangeAspect="1"/>
          </p:cNvGraphicFramePr>
          <p:nvPr userDrawn="1">
            <p:custDataLst>
              <p:tags r:id="rId1"/>
            </p:custDataLst>
            <p:extLst>
              <p:ext uri="{D42A27DB-BD31-4B8C-83A1-F6EECF244321}">
                <p14:modId xmlns:p14="http://schemas.microsoft.com/office/powerpoint/2010/main" val="16889275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5" name="think-cell data - do not delete" hidden="1">
                        <a:extLst>
                          <a:ext uri="{FF2B5EF4-FFF2-40B4-BE49-F238E27FC236}">
                            <a16:creationId xmlns:a16="http://schemas.microsoft.com/office/drawing/2014/main" id="{433B1B56-96D2-4A37-9928-25B9DD743D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itle 2">
            <a:extLst>
              <a:ext uri="{FF2B5EF4-FFF2-40B4-BE49-F238E27FC236}">
                <a16:creationId xmlns:a16="http://schemas.microsoft.com/office/drawing/2014/main" id="{DB73B016-14F1-76F3-AF33-93292F228360}"/>
              </a:ext>
            </a:extLst>
          </p:cNvPr>
          <p:cNvSpPr>
            <a:spLocks noGrp="1"/>
          </p:cNvSpPr>
          <p:nvPr>
            <p:ph type="title"/>
          </p:nvPr>
        </p:nvSpPr>
        <p:spPr>
          <a:xfrm>
            <a:off x="556467" y="572600"/>
            <a:ext cx="11084672" cy="393954"/>
          </a:xfrm>
        </p:spPr>
        <p:txBody>
          <a:bodyPr vert="horz"/>
          <a:lstStyle>
            <a:lvl1pPr rtl="0">
              <a:defRPr>
                <a:solidFill>
                  <a:schemeClr val="bg1"/>
                </a:solidFill>
              </a:defRPr>
            </a:lvl1pPr>
          </a:lstStyle>
          <a:p>
            <a:r>
              <a:rPr lang="pt-BR"/>
              <a:t>Click to edit Master title style</a:t>
            </a:r>
            <a:endParaRPr lang="pt-BR" dirty="0"/>
          </a:p>
        </p:txBody>
      </p:sp>
      <p:sp>
        <p:nvSpPr>
          <p:cNvPr id="11" name="Text Placeholder 3">
            <a:extLst>
              <a:ext uri="{FF2B5EF4-FFF2-40B4-BE49-F238E27FC236}">
                <a16:creationId xmlns:a16="http://schemas.microsoft.com/office/drawing/2014/main" id="{0C3F8CBC-7C73-A273-514B-A95005E2DFE9}"/>
              </a:ext>
            </a:extLst>
          </p:cNvPr>
          <p:cNvSpPr>
            <a:spLocks noGrp="1"/>
          </p:cNvSpPr>
          <p:nvPr>
            <p:ph type="body" sz="quarter" idx="26" hasCustomPrompt="1"/>
          </p:nvPr>
        </p:nvSpPr>
        <p:spPr>
          <a:xfrm>
            <a:off x="563412" y="1109663"/>
            <a:ext cx="11084672" cy="384048"/>
          </a:xfrm>
          <a:prstGeom prst="rect">
            <a:avLst/>
          </a:prstGeom>
        </p:spPr>
        <p:txBody>
          <a:bodyPr anchor="t"/>
          <a:lstStyle>
            <a:lvl1pPr marL="0" indent="0" rtl="0">
              <a:spcAft>
                <a:spcPts val="0"/>
              </a:spcAft>
              <a:buNone/>
              <a:defRPr sz="1800" b="0" i="0">
                <a:solidFill>
                  <a:schemeClr val="bg1"/>
                </a:solidFill>
                <a:latin typeface="Graphik" panose="020B0503030202060203" pitchFamily="34" charset="77"/>
              </a:defRPr>
            </a:lvl1pPr>
          </a:lstStyle>
          <a:p>
            <a:pPr lvl="0"/>
            <a:r>
              <a:rPr lang="pt-BR"/>
              <a:t>Place subtitle here in Graphik regular</a:t>
            </a:r>
            <a:endParaRPr lang="pt-BR" dirty="0"/>
          </a:p>
        </p:txBody>
      </p:sp>
      <p:sp>
        <p:nvSpPr>
          <p:cNvPr id="2" name="Text Placeholder 2">
            <a:extLst>
              <a:ext uri="{FF2B5EF4-FFF2-40B4-BE49-F238E27FC236}">
                <a16:creationId xmlns:a16="http://schemas.microsoft.com/office/drawing/2014/main" id="{E013B68F-B365-32C6-C8B6-66516407E205}"/>
              </a:ext>
            </a:extLst>
          </p:cNvPr>
          <p:cNvSpPr>
            <a:spLocks noGrp="1"/>
          </p:cNvSpPr>
          <p:nvPr>
            <p:ph idx="1" hasCustomPrompt="1"/>
          </p:nvPr>
        </p:nvSpPr>
        <p:spPr>
          <a:xfrm>
            <a:off x="563411" y="1684021"/>
            <a:ext cx="11077727" cy="4445317"/>
          </a:xfrm>
          <a:prstGeom prst="rect">
            <a:avLst/>
          </a:prstGeom>
        </p:spPr>
        <p:txBody>
          <a:bodyPr vert="horz" lIns="0" tIns="0" rIns="0" bIns="0" rtlCol="0">
            <a:noAutofit/>
          </a:bodyPr>
          <a:lstStyle>
            <a:lvl1pPr rtl="0">
              <a:defRPr sz="1400" b="0" i="0">
                <a:solidFill>
                  <a:srgbClr val="FFFFFF"/>
                </a:solidFill>
                <a:latin typeface="Graphik" panose="020B0503030202060203" pitchFamily="34" charset="77"/>
              </a:defRPr>
            </a:lvl1pPr>
            <a:lvl2pPr rtl="0">
              <a:defRPr sz="1400" b="0" i="0">
                <a:solidFill>
                  <a:srgbClr val="FFFFFF"/>
                </a:solidFill>
                <a:latin typeface="Graphik" panose="020B0503030202060203" pitchFamily="34" charset="77"/>
              </a:defRPr>
            </a:lvl2pPr>
            <a:lvl3pPr rtl="0">
              <a:defRPr sz="1400" b="0" i="0">
                <a:solidFill>
                  <a:srgbClr val="FFFFFF"/>
                </a:solidFill>
                <a:latin typeface="Graphik" panose="020B0503030202060203" pitchFamily="34" charset="77"/>
              </a:defRPr>
            </a:lvl3pPr>
            <a:lvl4pPr rtl="0">
              <a:defRPr sz="1050" b="0" i="0">
                <a:solidFill>
                  <a:srgbClr val="FFFFFF"/>
                </a:solidFill>
                <a:latin typeface="Graphik" panose="020B0503030202060203" pitchFamily="34" charset="77"/>
              </a:defRPr>
            </a:lvl4pPr>
            <a:lvl5pPr rtl="0">
              <a:defRPr sz="1050" b="0" i="0">
                <a:solidFill>
                  <a:srgbClr val="FFFFFF"/>
                </a:solidFill>
                <a:latin typeface="Graphik" panose="020B0503030202060203" pitchFamily="34" charset="77"/>
              </a:defRPr>
            </a:lvl5pPr>
            <a:lvl6pPr rtl="0">
              <a:defRPr sz="1400" b="0" i="0">
                <a:solidFill>
                  <a:srgbClr val="FFFFFF"/>
                </a:solidFill>
                <a:latin typeface="Graphik" panose="020B0503030202060203" pitchFamily="34" charset="77"/>
              </a:defRPr>
            </a:lvl6pPr>
            <a:lvl7pPr rtl="0">
              <a:defRPr sz="1100" b="0" i="0">
                <a:solidFill>
                  <a:srgbClr val="FFFFFF"/>
                </a:solidFill>
                <a:latin typeface="Graphik" panose="020B0503030202060203" pitchFamily="34" charset="77"/>
              </a:defRPr>
            </a:lvl7pPr>
            <a:lvl9pPr rtl="0">
              <a:defRPr sz="1100" b="0" i="0">
                <a:solidFill>
                  <a:srgbClr val="FFFFFF"/>
                </a:solidFill>
                <a:latin typeface="Graphik" panose="020B0503030202060203" pitchFamily="34" charset="77"/>
              </a:defRPr>
            </a:lvl9pPr>
          </a:lstStyle>
          <a:p>
            <a:pPr lvl="0"/>
            <a:r>
              <a:rPr lang="pt-BR"/>
              <a:t>First level (bullet)</a:t>
            </a:r>
          </a:p>
          <a:p>
            <a:pPr lvl="1"/>
            <a:r>
              <a:rPr lang="pt-BR"/>
              <a:t>Second level (bullet)</a:t>
            </a:r>
          </a:p>
          <a:p>
            <a:pPr lvl="2"/>
            <a:r>
              <a:rPr lang="pt-BR"/>
              <a:t>Third level (bullet)</a:t>
            </a:r>
          </a:p>
          <a:p>
            <a:pPr lvl="3"/>
            <a:r>
              <a:rPr lang="pt-BR"/>
              <a:t>Fourth level (bullet)</a:t>
            </a:r>
          </a:p>
          <a:p>
            <a:pPr lvl="4"/>
            <a:r>
              <a:rPr lang="pt-BR"/>
              <a:t>Fifth level (bullet)</a:t>
            </a:r>
          </a:p>
          <a:p>
            <a:pPr lvl="5"/>
            <a:r>
              <a:rPr lang="pt-BR"/>
              <a:t>Sixth level (copy)</a:t>
            </a:r>
          </a:p>
          <a:p>
            <a:pPr lvl="6"/>
            <a:r>
              <a:rPr lang="pt-BR"/>
              <a:t>Seventh level (small copy)</a:t>
            </a:r>
          </a:p>
          <a:p>
            <a:pPr lvl="8"/>
            <a:r>
              <a:rPr lang="pt-BR"/>
              <a:t>Ninth level (footnotes and citations)</a:t>
            </a:r>
            <a:endParaRPr lang="pt-BR" dirty="0"/>
          </a:p>
        </p:txBody>
      </p:sp>
    </p:spTree>
    <p:extLst>
      <p:ext uri="{BB962C8B-B14F-4D97-AF65-F5344CB8AC3E}">
        <p14:creationId xmlns:p14="http://schemas.microsoft.com/office/powerpoint/2010/main" val="3402908245"/>
      </p:ext>
    </p:extLst>
  </p:cSld>
  <p:clrMapOvr>
    <a:masterClrMapping/>
  </p:clrMapOvr>
  <p:extLst>
    <p:ext uri="{DCECCB84-F9BA-43D5-87BE-67443E8EF086}">
      <p15:sldGuideLst xmlns:p15="http://schemas.microsoft.com/office/powerpoint/2012/main">
        <p15:guide id="1" orient="horz" pos="699" userDrawn="1">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2 columns ">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24E82D1-22F0-37D9-305E-7B5F9A82AE53}"/>
              </a:ext>
            </a:extLst>
          </p:cNvPr>
          <p:cNvGraphicFramePr>
            <a:graphicFrameLocks noChangeAspect="1"/>
          </p:cNvGraphicFramePr>
          <p:nvPr userDrawn="1">
            <p:custDataLst>
              <p:tags r:id="rId1"/>
            </p:custDataLst>
            <p:extLst>
              <p:ext uri="{D42A27DB-BD31-4B8C-83A1-F6EECF244321}">
                <p14:modId xmlns:p14="http://schemas.microsoft.com/office/powerpoint/2010/main" val="3582608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3" name="think-cell data - do not delete" hidden="1">
                        <a:extLst>
                          <a:ext uri="{FF2B5EF4-FFF2-40B4-BE49-F238E27FC236}">
                            <a16:creationId xmlns:a16="http://schemas.microsoft.com/office/drawing/2014/main" id="{224E82D1-22F0-37D9-305E-7B5F9A82AE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2">
            <a:extLst>
              <a:ext uri="{FF2B5EF4-FFF2-40B4-BE49-F238E27FC236}">
                <a16:creationId xmlns:a16="http://schemas.microsoft.com/office/drawing/2014/main" id="{48701463-9442-1142-516A-46496479961A}"/>
              </a:ext>
            </a:extLst>
          </p:cNvPr>
          <p:cNvSpPr>
            <a:spLocks noGrp="1"/>
          </p:cNvSpPr>
          <p:nvPr>
            <p:ph type="title"/>
          </p:nvPr>
        </p:nvSpPr>
        <p:spPr>
          <a:xfrm>
            <a:off x="556467" y="572600"/>
            <a:ext cx="11084672" cy="393954"/>
          </a:xfrm>
        </p:spPr>
        <p:txBody>
          <a:bodyPr vert="horz"/>
          <a:lstStyle>
            <a:lvl1pPr rtl="0">
              <a:defRPr/>
            </a:lvl1pPr>
          </a:lstStyle>
          <a:p>
            <a:r>
              <a:rPr lang="pt-BR"/>
              <a:t>Click to edit Master title style</a:t>
            </a:r>
            <a:endParaRPr lang="pt-BR" dirty="0"/>
          </a:p>
        </p:txBody>
      </p:sp>
      <p:sp>
        <p:nvSpPr>
          <p:cNvPr id="7" name="Content Placeholder 4">
            <a:extLst>
              <a:ext uri="{FF2B5EF4-FFF2-40B4-BE49-F238E27FC236}">
                <a16:creationId xmlns:a16="http://schemas.microsoft.com/office/drawing/2014/main" id="{9917C584-C28F-B584-7B0F-55FA025AE20A}"/>
              </a:ext>
            </a:extLst>
          </p:cNvPr>
          <p:cNvSpPr>
            <a:spLocks noGrp="1"/>
          </p:cNvSpPr>
          <p:nvPr>
            <p:ph sz="half" idx="23" hasCustomPrompt="1"/>
          </p:nvPr>
        </p:nvSpPr>
        <p:spPr>
          <a:xfrm>
            <a:off x="563411" y="1371600"/>
            <a:ext cx="5366829" cy="4757738"/>
          </a:xfrm>
          <a:prstGeom prst="rect">
            <a:avLst/>
          </a:prstGeom>
        </p:spPr>
        <p:txBody>
          <a:bodyPr/>
          <a:lstStyle>
            <a:lvl1pPr rtl="0">
              <a:spcAft>
                <a:spcPts val="600"/>
              </a:spcAft>
              <a:defRPr sz="1400" b="0" i="0">
                <a:latin typeface="Graphik" panose="020B0503030202060203" pitchFamily="34" charset="77"/>
              </a:defRPr>
            </a:lvl1pPr>
            <a:lvl2pPr rtl="0">
              <a:spcAft>
                <a:spcPts val="600"/>
              </a:spcAft>
              <a:defRPr sz="1400" b="0" i="0">
                <a:latin typeface="Graphik" panose="020B0503030202060203" pitchFamily="34" charset="77"/>
              </a:defRPr>
            </a:lvl2pPr>
            <a:lvl3pPr rtl="0">
              <a:spcAft>
                <a:spcPts val="600"/>
              </a:spcAft>
              <a:defRPr sz="1400" b="0" i="0">
                <a:latin typeface="Graphik" panose="020B0503030202060203" pitchFamily="34" charset="77"/>
              </a:defRPr>
            </a:lvl3pPr>
            <a:lvl4pPr rtl="0">
              <a:spcAft>
                <a:spcPts val="600"/>
              </a:spcAft>
              <a:defRPr sz="1200" b="0" i="0">
                <a:latin typeface="Graphik" panose="020B0503030202060203" pitchFamily="34" charset="77"/>
              </a:defRPr>
            </a:lvl4pPr>
            <a:lvl5pPr rtl="0">
              <a:spcAft>
                <a:spcPts val="600"/>
              </a:spcAft>
              <a:defRPr sz="1200" b="0" i="0">
                <a:latin typeface="Graphik" panose="020B0503030202060203" pitchFamily="34" charset="77"/>
              </a:defRPr>
            </a:lvl5pPr>
            <a:lvl6pPr rtl="0">
              <a:defRPr sz="1100" b="0" i="0">
                <a:latin typeface="Graphik" panose="020B0503030202060203" pitchFamily="34" charset="77"/>
              </a:defRPr>
            </a:lvl6pPr>
          </a:lstStyle>
          <a:p>
            <a:pPr lvl="0"/>
            <a:r>
              <a:rPr lang="pt-BR"/>
              <a:t>Place text here</a:t>
            </a:r>
          </a:p>
          <a:p>
            <a:pPr lvl="1"/>
            <a:r>
              <a:rPr lang="pt-BR"/>
              <a:t>Second level</a:t>
            </a:r>
          </a:p>
          <a:p>
            <a:pPr lvl="2"/>
            <a:r>
              <a:rPr lang="pt-BR"/>
              <a:t>Third level</a:t>
            </a:r>
          </a:p>
          <a:p>
            <a:pPr lvl="3"/>
            <a:r>
              <a:rPr lang="pt-BR"/>
              <a:t>Fourth level</a:t>
            </a:r>
          </a:p>
          <a:p>
            <a:pPr lvl="4"/>
            <a:r>
              <a:rPr lang="pt-BR"/>
              <a:t>Fifth level</a:t>
            </a:r>
          </a:p>
          <a:p>
            <a:pPr lvl="5"/>
            <a:r>
              <a:rPr lang="pt-BR"/>
              <a:t>Sixth level</a:t>
            </a:r>
            <a:endParaRPr lang="pt-BR" dirty="0"/>
          </a:p>
        </p:txBody>
      </p:sp>
      <p:sp>
        <p:nvSpPr>
          <p:cNvPr id="8" name="Content Placeholder 4">
            <a:extLst>
              <a:ext uri="{FF2B5EF4-FFF2-40B4-BE49-F238E27FC236}">
                <a16:creationId xmlns:a16="http://schemas.microsoft.com/office/drawing/2014/main" id="{6042C45C-90BD-45D8-3274-EC8F9C34884E}"/>
              </a:ext>
            </a:extLst>
          </p:cNvPr>
          <p:cNvSpPr>
            <a:spLocks noGrp="1"/>
          </p:cNvSpPr>
          <p:nvPr>
            <p:ph sz="half" idx="27" hasCustomPrompt="1"/>
          </p:nvPr>
        </p:nvSpPr>
        <p:spPr>
          <a:xfrm>
            <a:off x="6274309" y="1371600"/>
            <a:ext cx="5366829" cy="4757738"/>
          </a:xfrm>
          <a:prstGeom prst="rect">
            <a:avLst/>
          </a:prstGeom>
        </p:spPr>
        <p:txBody>
          <a:bodyPr/>
          <a:lstStyle>
            <a:lvl1pPr rtl="0">
              <a:spcAft>
                <a:spcPts val="600"/>
              </a:spcAft>
              <a:defRPr sz="1400" b="0" i="0">
                <a:latin typeface="Graphik" panose="020B0503030202060203" pitchFamily="34" charset="77"/>
              </a:defRPr>
            </a:lvl1pPr>
            <a:lvl2pPr rtl="0">
              <a:spcAft>
                <a:spcPts val="600"/>
              </a:spcAft>
              <a:defRPr sz="1400" b="0" i="0">
                <a:latin typeface="Graphik" panose="020B0503030202060203" pitchFamily="34" charset="77"/>
              </a:defRPr>
            </a:lvl2pPr>
            <a:lvl3pPr rtl="0">
              <a:spcAft>
                <a:spcPts val="600"/>
              </a:spcAft>
              <a:defRPr sz="1400" b="0" i="0">
                <a:latin typeface="Graphik" panose="020B0503030202060203" pitchFamily="34" charset="77"/>
              </a:defRPr>
            </a:lvl3pPr>
            <a:lvl4pPr rtl="0">
              <a:spcAft>
                <a:spcPts val="600"/>
              </a:spcAft>
              <a:defRPr sz="1200" b="0" i="0">
                <a:latin typeface="Graphik" panose="020B0503030202060203" pitchFamily="34" charset="77"/>
              </a:defRPr>
            </a:lvl4pPr>
            <a:lvl5pPr rtl="0">
              <a:spcAft>
                <a:spcPts val="600"/>
              </a:spcAft>
              <a:defRPr sz="1200" b="0" i="0">
                <a:latin typeface="Graphik" panose="020B0503030202060203" pitchFamily="34" charset="77"/>
              </a:defRPr>
            </a:lvl5pPr>
            <a:lvl6pPr rtl="0">
              <a:defRPr sz="1100" b="0" i="0">
                <a:latin typeface="Graphik" panose="020B0503030202060203" pitchFamily="34" charset="77"/>
              </a:defRPr>
            </a:lvl6pPr>
          </a:lstStyle>
          <a:p>
            <a:pPr lvl="0"/>
            <a:r>
              <a:rPr lang="pt-BR"/>
              <a:t>Place text here</a:t>
            </a:r>
          </a:p>
          <a:p>
            <a:pPr lvl="1"/>
            <a:r>
              <a:rPr lang="pt-BR"/>
              <a:t>Second level</a:t>
            </a:r>
          </a:p>
          <a:p>
            <a:pPr lvl="2"/>
            <a:r>
              <a:rPr lang="pt-BR"/>
              <a:t>Third level</a:t>
            </a:r>
          </a:p>
          <a:p>
            <a:pPr lvl="3"/>
            <a:r>
              <a:rPr lang="pt-BR"/>
              <a:t>Fourth level</a:t>
            </a:r>
          </a:p>
          <a:p>
            <a:pPr lvl="4"/>
            <a:r>
              <a:rPr lang="pt-BR"/>
              <a:t>Fifth level</a:t>
            </a:r>
          </a:p>
          <a:p>
            <a:pPr lvl="5"/>
            <a:r>
              <a:rPr lang="pt-BR"/>
              <a:t>Sixth level</a:t>
            </a:r>
            <a:endParaRPr lang="pt-BR" dirty="0"/>
          </a:p>
        </p:txBody>
      </p:sp>
    </p:spTree>
    <p:extLst>
      <p:ext uri="{BB962C8B-B14F-4D97-AF65-F5344CB8AC3E}">
        <p14:creationId xmlns:p14="http://schemas.microsoft.com/office/powerpoint/2010/main" val="1474107741"/>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2 columns + subtitl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F79E078-C6FD-D4A1-93CC-75DA5BBE6AAD}"/>
              </a:ext>
            </a:extLst>
          </p:cNvPr>
          <p:cNvGraphicFramePr>
            <a:graphicFrameLocks noChangeAspect="1"/>
          </p:cNvGraphicFramePr>
          <p:nvPr userDrawn="1">
            <p:custDataLst>
              <p:tags r:id="rId1"/>
            </p:custDataLst>
            <p:extLst>
              <p:ext uri="{D42A27DB-BD31-4B8C-83A1-F6EECF244321}">
                <p14:modId xmlns:p14="http://schemas.microsoft.com/office/powerpoint/2010/main" val="813429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4" name="think-cell data - do not delete" hidden="1">
                        <a:extLst>
                          <a:ext uri="{FF2B5EF4-FFF2-40B4-BE49-F238E27FC236}">
                            <a16:creationId xmlns:a16="http://schemas.microsoft.com/office/drawing/2014/main" id="{9F79E078-C6FD-D4A1-93CC-75DA5BBE6A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2">
            <a:extLst>
              <a:ext uri="{FF2B5EF4-FFF2-40B4-BE49-F238E27FC236}">
                <a16:creationId xmlns:a16="http://schemas.microsoft.com/office/drawing/2014/main" id="{4ADD1F44-0234-2D57-4413-4FC6C13C9526}"/>
              </a:ext>
            </a:extLst>
          </p:cNvPr>
          <p:cNvSpPr>
            <a:spLocks noGrp="1"/>
          </p:cNvSpPr>
          <p:nvPr>
            <p:ph type="title"/>
          </p:nvPr>
        </p:nvSpPr>
        <p:spPr>
          <a:xfrm>
            <a:off x="556467" y="572600"/>
            <a:ext cx="11084672" cy="393954"/>
          </a:xfrm>
        </p:spPr>
        <p:txBody>
          <a:bodyPr vert="horz"/>
          <a:lstStyle>
            <a:lvl1pPr rtl="0">
              <a:defRPr/>
            </a:lvl1pPr>
          </a:lstStyle>
          <a:p>
            <a:r>
              <a:rPr lang="pt-BR"/>
              <a:t>Click to edit Master title style</a:t>
            </a:r>
            <a:endParaRPr lang="pt-BR" dirty="0"/>
          </a:p>
        </p:txBody>
      </p:sp>
      <p:sp>
        <p:nvSpPr>
          <p:cNvPr id="3" name="Text Placeholder 3">
            <a:extLst>
              <a:ext uri="{FF2B5EF4-FFF2-40B4-BE49-F238E27FC236}">
                <a16:creationId xmlns:a16="http://schemas.microsoft.com/office/drawing/2014/main" id="{A3A63DC6-F1D4-F48E-63CC-C7FB269035DD}"/>
              </a:ext>
            </a:extLst>
          </p:cNvPr>
          <p:cNvSpPr>
            <a:spLocks noGrp="1"/>
          </p:cNvSpPr>
          <p:nvPr>
            <p:ph type="body" sz="quarter" idx="26" hasCustomPrompt="1"/>
          </p:nvPr>
        </p:nvSpPr>
        <p:spPr>
          <a:xfrm>
            <a:off x="563411" y="1109663"/>
            <a:ext cx="11084673" cy="384048"/>
          </a:xfrm>
          <a:prstGeom prst="rect">
            <a:avLst/>
          </a:prstGeom>
        </p:spPr>
        <p:txBody>
          <a:bodyPr anchor="t"/>
          <a:lstStyle>
            <a:lvl1pPr marL="0" indent="0" rtl="0">
              <a:spcAft>
                <a:spcPts val="0"/>
              </a:spcAft>
              <a:buNone/>
              <a:defRPr sz="1800" b="0" i="0">
                <a:solidFill>
                  <a:schemeClr val="bg2"/>
                </a:solidFill>
                <a:latin typeface="Graphik" panose="020B0503030202060203" pitchFamily="34" charset="77"/>
              </a:defRPr>
            </a:lvl1pPr>
          </a:lstStyle>
          <a:p>
            <a:pPr lvl="0"/>
            <a:r>
              <a:rPr lang="pt-BR"/>
              <a:t>Place subtitle here in Graphik regular</a:t>
            </a:r>
            <a:endParaRPr lang="pt-BR" dirty="0"/>
          </a:p>
        </p:txBody>
      </p:sp>
      <p:sp>
        <p:nvSpPr>
          <p:cNvPr id="11" name="Content Placeholder 4">
            <a:extLst>
              <a:ext uri="{FF2B5EF4-FFF2-40B4-BE49-F238E27FC236}">
                <a16:creationId xmlns:a16="http://schemas.microsoft.com/office/drawing/2014/main" id="{D1F96AC0-D13D-0E71-5754-A36D3204D2CE}"/>
              </a:ext>
            </a:extLst>
          </p:cNvPr>
          <p:cNvSpPr>
            <a:spLocks noGrp="1"/>
          </p:cNvSpPr>
          <p:nvPr>
            <p:ph sz="half" idx="23" hasCustomPrompt="1"/>
          </p:nvPr>
        </p:nvSpPr>
        <p:spPr>
          <a:xfrm>
            <a:off x="563411" y="1844675"/>
            <a:ext cx="5366829" cy="4284663"/>
          </a:xfrm>
          <a:prstGeom prst="rect">
            <a:avLst/>
          </a:prstGeom>
        </p:spPr>
        <p:txBody>
          <a:bodyPr/>
          <a:lstStyle>
            <a:lvl1pPr rtl="0">
              <a:spcAft>
                <a:spcPts val="600"/>
              </a:spcAft>
              <a:defRPr sz="1400" b="0" i="0">
                <a:latin typeface="Graphik" panose="020B0503030202060203" pitchFamily="34" charset="77"/>
              </a:defRPr>
            </a:lvl1pPr>
            <a:lvl2pPr rtl="0">
              <a:spcAft>
                <a:spcPts val="600"/>
              </a:spcAft>
              <a:defRPr sz="1400" b="0" i="0">
                <a:latin typeface="Graphik" panose="020B0503030202060203" pitchFamily="34" charset="77"/>
              </a:defRPr>
            </a:lvl2pPr>
            <a:lvl3pPr rtl="0">
              <a:spcAft>
                <a:spcPts val="600"/>
              </a:spcAft>
              <a:defRPr sz="1400" b="0" i="0">
                <a:latin typeface="Graphik" panose="020B0503030202060203" pitchFamily="34" charset="77"/>
              </a:defRPr>
            </a:lvl3pPr>
            <a:lvl4pPr rtl="0">
              <a:spcAft>
                <a:spcPts val="600"/>
              </a:spcAft>
              <a:defRPr sz="1200" b="0" i="0">
                <a:latin typeface="Graphik" panose="020B0503030202060203" pitchFamily="34" charset="77"/>
              </a:defRPr>
            </a:lvl4pPr>
            <a:lvl5pPr rtl="0">
              <a:spcAft>
                <a:spcPts val="600"/>
              </a:spcAft>
              <a:defRPr sz="1200" b="0" i="0">
                <a:latin typeface="Graphik" panose="020B0503030202060203" pitchFamily="34" charset="77"/>
              </a:defRPr>
            </a:lvl5pPr>
            <a:lvl6pPr rtl="0">
              <a:defRPr sz="1400" b="0" i="0">
                <a:latin typeface="Graphik" panose="020B0503030202060203" pitchFamily="34" charset="77"/>
              </a:defRPr>
            </a:lvl6pPr>
          </a:lstStyle>
          <a:p>
            <a:pPr lvl="0"/>
            <a:r>
              <a:rPr lang="pt-BR"/>
              <a:t>Place text here</a:t>
            </a:r>
          </a:p>
          <a:p>
            <a:pPr lvl="1"/>
            <a:r>
              <a:rPr lang="pt-BR"/>
              <a:t>Second level</a:t>
            </a:r>
          </a:p>
          <a:p>
            <a:pPr lvl="2"/>
            <a:r>
              <a:rPr lang="pt-BR"/>
              <a:t>Third level</a:t>
            </a:r>
          </a:p>
          <a:p>
            <a:pPr lvl="3"/>
            <a:r>
              <a:rPr lang="pt-BR"/>
              <a:t>Fourth level</a:t>
            </a:r>
          </a:p>
          <a:p>
            <a:pPr lvl="4"/>
            <a:r>
              <a:rPr lang="pt-BR"/>
              <a:t>Fifth level</a:t>
            </a:r>
          </a:p>
          <a:p>
            <a:pPr lvl="5"/>
            <a:r>
              <a:rPr lang="pt-BR"/>
              <a:t>Sixth level</a:t>
            </a:r>
            <a:endParaRPr lang="pt-BR" dirty="0"/>
          </a:p>
        </p:txBody>
      </p:sp>
      <p:sp>
        <p:nvSpPr>
          <p:cNvPr id="12" name="Content Placeholder 4">
            <a:extLst>
              <a:ext uri="{FF2B5EF4-FFF2-40B4-BE49-F238E27FC236}">
                <a16:creationId xmlns:a16="http://schemas.microsoft.com/office/drawing/2014/main" id="{32746C65-211F-F944-7DC6-636860898795}"/>
              </a:ext>
            </a:extLst>
          </p:cNvPr>
          <p:cNvSpPr>
            <a:spLocks noGrp="1"/>
          </p:cNvSpPr>
          <p:nvPr>
            <p:ph sz="half" idx="27" hasCustomPrompt="1"/>
          </p:nvPr>
        </p:nvSpPr>
        <p:spPr>
          <a:xfrm>
            <a:off x="6274309" y="1844675"/>
            <a:ext cx="5366829" cy="4284663"/>
          </a:xfrm>
          <a:prstGeom prst="rect">
            <a:avLst/>
          </a:prstGeom>
        </p:spPr>
        <p:txBody>
          <a:bodyPr/>
          <a:lstStyle>
            <a:lvl1pPr rtl="0">
              <a:spcAft>
                <a:spcPts val="600"/>
              </a:spcAft>
              <a:defRPr sz="1400" b="0" i="0">
                <a:latin typeface="Graphik" panose="020B0503030202060203" pitchFamily="34" charset="77"/>
              </a:defRPr>
            </a:lvl1pPr>
            <a:lvl2pPr rtl="0">
              <a:spcAft>
                <a:spcPts val="600"/>
              </a:spcAft>
              <a:defRPr sz="1400" b="0" i="0">
                <a:latin typeface="Graphik" panose="020B0503030202060203" pitchFamily="34" charset="77"/>
              </a:defRPr>
            </a:lvl2pPr>
            <a:lvl3pPr rtl="0">
              <a:spcAft>
                <a:spcPts val="600"/>
              </a:spcAft>
              <a:defRPr sz="1400" b="0" i="0">
                <a:latin typeface="Graphik" panose="020B0503030202060203" pitchFamily="34" charset="77"/>
              </a:defRPr>
            </a:lvl3pPr>
            <a:lvl4pPr rtl="0">
              <a:spcAft>
                <a:spcPts val="600"/>
              </a:spcAft>
              <a:defRPr sz="1200" b="0" i="0">
                <a:latin typeface="Graphik" panose="020B0503030202060203" pitchFamily="34" charset="77"/>
              </a:defRPr>
            </a:lvl4pPr>
            <a:lvl5pPr rtl="0">
              <a:spcAft>
                <a:spcPts val="600"/>
              </a:spcAft>
              <a:defRPr sz="1200" b="0" i="0">
                <a:latin typeface="Graphik" panose="020B0503030202060203" pitchFamily="34" charset="77"/>
              </a:defRPr>
            </a:lvl5pPr>
            <a:lvl6pPr rtl="0">
              <a:defRPr sz="1400" b="0" i="0">
                <a:latin typeface="Graphik" panose="020B0503030202060203" pitchFamily="34" charset="77"/>
              </a:defRPr>
            </a:lvl6pPr>
          </a:lstStyle>
          <a:p>
            <a:pPr lvl="0"/>
            <a:r>
              <a:rPr lang="pt-BR"/>
              <a:t>Place text here</a:t>
            </a:r>
          </a:p>
          <a:p>
            <a:pPr lvl="1"/>
            <a:r>
              <a:rPr lang="pt-BR"/>
              <a:t>Second level</a:t>
            </a:r>
          </a:p>
          <a:p>
            <a:pPr lvl="2"/>
            <a:r>
              <a:rPr lang="pt-BR"/>
              <a:t>Third level</a:t>
            </a:r>
          </a:p>
          <a:p>
            <a:pPr lvl="3"/>
            <a:r>
              <a:rPr lang="pt-BR"/>
              <a:t>Fourth level</a:t>
            </a:r>
          </a:p>
          <a:p>
            <a:pPr lvl="4"/>
            <a:r>
              <a:rPr lang="pt-BR"/>
              <a:t>Fifth level</a:t>
            </a:r>
          </a:p>
          <a:p>
            <a:pPr lvl="5"/>
            <a:r>
              <a:rPr lang="pt-BR"/>
              <a:t>Sixth level</a:t>
            </a:r>
            <a:endParaRPr lang="pt-BR" dirty="0"/>
          </a:p>
        </p:txBody>
      </p:sp>
    </p:spTree>
    <p:extLst>
      <p:ext uri="{BB962C8B-B14F-4D97-AF65-F5344CB8AC3E}">
        <p14:creationId xmlns:p14="http://schemas.microsoft.com/office/powerpoint/2010/main" val="2214261507"/>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1 column + imag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3F50CA9-6D55-4491-4E93-5AF04F699028}"/>
              </a:ext>
            </a:extLst>
          </p:cNvPr>
          <p:cNvGraphicFramePr>
            <a:graphicFrameLocks noChangeAspect="1"/>
          </p:cNvGraphicFramePr>
          <p:nvPr userDrawn="1">
            <p:custDataLst>
              <p:tags r:id="rId1"/>
            </p:custDataLst>
            <p:extLst>
              <p:ext uri="{D42A27DB-BD31-4B8C-83A1-F6EECF244321}">
                <p14:modId xmlns:p14="http://schemas.microsoft.com/office/powerpoint/2010/main" val="1349912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5" name="think-cell data - do not delete" hidden="1">
                        <a:extLst>
                          <a:ext uri="{FF2B5EF4-FFF2-40B4-BE49-F238E27FC236}">
                            <a16:creationId xmlns:a16="http://schemas.microsoft.com/office/drawing/2014/main" id="{53F50CA9-6D55-4491-4E93-5AF04F6990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2">
            <a:extLst>
              <a:ext uri="{FF2B5EF4-FFF2-40B4-BE49-F238E27FC236}">
                <a16:creationId xmlns:a16="http://schemas.microsoft.com/office/drawing/2014/main" id="{2E7AEC39-79BA-E7A3-BBD2-6D1623631EAD}"/>
              </a:ext>
            </a:extLst>
          </p:cNvPr>
          <p:cNvSpPr>
            <a:spLocks noGrp="1"/>
          </p:cNvSpPr>
          <p:nvPr>
            <p:ph type="title"/>
          </p:nvPr>
        </p:nvSpPr>
        <p:spPr>
          <a:xfrm>
            <a:off x="556466" y="572600"/>
            <a:ext cx="4958430" cy="787908"/>
          </a:xfrm>
        </p:spPr>
        <p:txBody>
          <a:bodyPr vert="horz"/>
          <a:lstStyle>
            <a:lvl1pPr rtl="0">
              <a:defRPr/>
            </a:lvl1pPr>
          </a:lstStyle>
          <a:p>
            <a:r>
              <a:rPr lang="pt-BR"/>
              <a:t>Click to edit Master title style</a:t>
            </a:r>
            <a:endParaRPr lang="pt-BR" dirty="0"/>
          </a:p>
        </p:txBody>
      </p:sp>
      <p:sp>
        <p:nvSpPr>
          <p:cNvPr id="2" name="Text Placeholder 3">
            <a:extLst>
              <a:ext uri="{FF2B5EF4-FFF2-40B4-BE49-F238E27FC236}">
                <a16:creationId xmlns:a16="http://schemas.microsoft.com/office/drawing/2014/main" id="{76AA3A1C-64F6-5ED3-5870-9290D090DB50}"/>
              </a:ext>
            </a:extLst>
          </p:cNvPr>
          <p:cNvSpPr>
            <a:spLocks noGrp="1"/>
          </p:cNvSpPr>
          <p:nvPr>
            <p:ph type="body" sz="quarter" idx="26" hasCustomPrompt="1"/>
          </p:nvPr>
        </p:nvSpPr>
        <p:spPr>
          <a:xfrm>
            <a:off x="563411" y="1609787"/>
            <a:ext cx="4958430" cy="384048"/>
          </a:xfrm>
          <a:prstGeom prst="rect">
            <a:avLst/>
          </a:prstGeom>
        </p:spPr>
        <p:txBody>
          <a:bodyPr anchor="t"/>
          <a:lstStyle>
            <a:lvl1pPr marL="0" indent="0" rtl="0">
              <a:spcAft>
                <a:spcPts val="0"/>
              </a:spcAft>
              <a:buNone/>
              <a:defRPr sz="1800" b="0" i="0">
                <a:solidFill>
                  <a:schemeClr val="bg2"/>
                </a:solidFill>
                <a:latin typeface="Graphik" panose="020B0503030202060203" pitchFamily="34" charset="77"/>
              </a:defRPr>
            </a:lvl1pPr>
          </a:lstStyle>
          <a:p>
            <a:pPr lvl="0"/>
            <a:r>
              <a:rPr lang="pt-BR"/>
              <a:t>Place subtitle here in Graphik regular</a:t>
            </a:r>
            <a:endParaRPr lang="pt-BR" dirty="0"/>
          </a:p>
        </p:txBody>
      </p:sp>
      <p:sp>
        <p:nvSpPr>
          <p:cNvPr id="9" name="Text Placeholder 3a">
            <a:extLst>
              <a:ext uri="{FF2B5EF4-FFF2-40B4-BE49-F238E27FC236}">
                <a16:creationId xmlns:a16="http://schemas.microsoft.com/office/drawing/2014/main" id="{5D9B6009-93F7-0EA3-7688-ED060527BD22}"/>
              </a:ext>
            </a:extLst>
          </p:cNvPr>
          <p:cNvSpPr>
            <a:spLocks noGrp="1"/>
          </p:cNvSpPr>
          <p:nvPr>
            <p:ph type="body" idx="22" hasCustomPrompt="1"/>
          </p:nvPr>
        </p:nvSpPr>
        <p:spPr>
          <a:xfrm>
            <a:off x="563411" y="2168501"/>
            <a:ext cx="4951564" cy="632327"/>
          </a:xfrm>
          <a:prstGeom prst="rect">
            <a:avLst/>
          </a:prstGeom>
        </p:spPr>
        <p:txBody>
          <a:bodyPr anchor="t"/>
          <a:lstStyle>
            <a:lvl1pPr marL="0" indent="0" rtl="0">
              <a:lnSpc>
                <a:spcPct val="90000"/>
              </a:lnSpc>
              <a:spcAft>
                <a:spcPts val="0"/>
              </a:spcAft>
              <a:buNone/>
              <a:defRPr sz="1800" b="1" i="0">
                <a:latin typeface="Graphik Semibold" panose="020B0503030202060203" pitchFamily="34" charset="77"/>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pt-BR"/>
              <a:t>Place headline </a:t>
            </a:r>
            <a:br>
              <a:rPr lang="pt-BR"/>
            </a:br>
            <a:r>
              <a:rPr lang="pt-BR"/>
              <a:t>here</a:t>
            </a:r>
            <a:endParaRPr lang="pt-BR" dirty="0"/>
          </a:p>
        </p:txBody>
      </p:sp>
      <p:sp>
        <p:nvSpPr>
          <p:cNvPr id="14" name="Content Placeholder 4">
            <a:extLst>
              <a:ext uri="{FF2B5EF4-FFF2-40B4-BE49-F238E27FC236}">
                <a16:creationId xmlns:a16="http://schemas.microsoft.com/office/drawing/2014/main" id="{DD884840-889C-7E2B-A21E-B460E6632A5E}"/>
              </a:ext>
            </a:extLst>
          </p:cNvPr>
          <p:cNvSpPr>
            <a:spLocks noGrp="1"/>
          </p:cNvSpPr>
          <p:nvPr>
            <p:ph sz="half" idx="23" hasCustomPrompt="1"/>
          </p:nvPr>
        </p:nvSpPr>
        <p:spPr>
          <a:xfrm>
            <a:off x="563411" y="2857534"/>
            <a:ext cx="4951564" cy="3247991"/>
          </a:xfrm>
          <a:prstGeom prst="rect">
            <a:avLst/>
          </a:prstGeom>
        </p:spPr>
        <p:txBody>
          <a:bodyPr/>
          <a:lstStyle>
            <a:lvl1pPr rtl="0">
              <a:spcAft>
                <a:spcPts val="600"/>
              </a:spcAft>
              <a:defRPr sz="1400" b="0" i="0">
                <a:latin typeface="Graphik" panose="020B0503030202060203" pitchFamily="34" charset="77"/>
              </a:defRPr>
            </a:lvl1pPr>
            <a:lvl2pPr rtl="0">
              <a:spcAft>
                <a:spcPts val="600"/>
              </a:spcAft>
              <a:defRPr sz="1400" b="0" i="0">
                <a:latin typeface="Graphik" panose="020B0503030202060203" pitchFamily="34" charset="77"/>
              </a:defRPr>
            </a:lvl2pPr>
            <a:lvl3pPr rtl="0">
              <a:spcAft>
                <a:spcPts val="600"/>
              </a:spcAft>
              <a:defRPr sz="1400" b="0" i="0">
                <a:latin typeface="Graphik" panose="020B0503030202060203" pitchFamily="34" charset="77"/>
              </a:defRPr>
            </a:lvl3pPr>
            <a:lvl4pPr rtl="0">
              <a:spcAft>
                <a:spcPts val="600"/>
              </a:spcAft>
              <a:defRPr sz="1200" b="0" i="0">
                <a:latin typeface="Graphik" panose="020B0503030202060203" pitchFamily="34" charset="77"/>
              </a:defRPr>
            </a:lvl4pPr>
            <a:lvl5pPr rtl="0">
              <a:spcAft>
                <a:spcPts val="600"/>
              </a:spcAft>
              <a:defRPr sz="1200" b="0" i="0">
                <a:latin typeface="Graphik" panose="020B0503030202060203" pitchFamily="34" charset="77"/>
              </a:defRPr>
            </a:lvl5pPr>
            <a:lvl6pPr rtl="0">
              <a:defRPr sz="1100" b="0" i="0">
                <a:latin typeface="Graphik" panose="020B0503030202060203" pitchFamily="34" charset="77"/>
              </a:defRPr>
            </a:lvl6pPr>
          </a:lstStyle>
          <a:p>
            <a:pPr lvl="0"/>
            <a:r>
              <a:rPr lang="pt-BR"/>
              <a:t>Place text her</a:t>
            </a:r>
          </a:p>
          <a:p>
            <a:pPr lvl="1"/>
            <a:r>
              <a:rPr lang="pt-BR"/>
              <a:t>Second level</a:t>
            </a:r>
          </a:p>
          <a:p>
            <a:pPr lvl="2"/>
            <a:r>
              <a:rPr lang="pt-BR"/>
              <a:t>Third level</a:t>
            </a:r>
          </a:p>
          <a:p>
            <a:pPr lvl="3"/>
            <a:r>
              <a:rPr lang="pt-BR"/>
              <a:t>Fourth level</a:t>
            </a:r>
          </a:p>
          <a:p>
            <a:pPr lvl="4"/>
            <a:r>
              <a:rPr lang="pt-BR"/>
              <a:t>Fifth level</a:t>
            </a:r>
          </a:p>
          <a:p>
            <a:pPr lvl="5"/>
            <a:r>
              <a:rPr lang="pt-BR"/>
              <a:t>Sixth level</a:t>
            </a:r>
            <a:endParaRPr lang="pt-BR" dirty="0"/>
          </a:p>
        </p:txBody>
      </p:sp>
      <p:sp>
        <p:nvSpPr>
          <p:cNvPr id="12" name="Picture Placeholder 10">
            <a:extLst>
              <a:ext uri="{FF2B5EF4-FFF2-40B4-BE49-F238E27FC236}">
                <a16:creationId xmlns:a16="http://schemas.microsoft.com/office/drawing/2014/main" id="{B0AA4D52-B7EF-3A7F-8F6B-EE17D2CD81D7}"/>
              </a:ext>
            </a:extLst>
          </p:cNvPr>
          <p:cNvSpPr>
            <a:spLocks noGrp="1" noChangeAspect="1"/>
          </p:cNvSpPr>
          <p:nvPr>
            <p:ph type="pic" sz="quarter" idx="16"/>
          </p:nvPr>
        </p:nvSpPr>
        <p:spPr>
          <a:xfrm>
            <a:off x="6103368" y="549275"/>
            <a:ext cx="6092648" cy="5759450"/>
          </a:xfrm>
          <a:solidFill>
            <a:schemeClr val="bg1">
              <a:lumMod val="95000"/>
            </a:schemeClr>
          </a:solidFill>
        </p:spPr>
        <p:txBody>
          <a:bodyPr anchor="ctr"/>
          <a:lstStyle>
            <a:lvl1pPr algn="ctr" rtl="0">
              <a:defRPr/>
            </a:lvl1pPr>
          </a:lstStyle>
          <a:p>
            <a:r>
              <a:rPr lang="pt-BR"/>
              <a:t>Click icon to add picture</a:t>
            </a:r>
            <a:endParaRPr lang="pt-BR" dirty="0"/>
          </a:p>
        </p:txBody>
      </p:sp>
    </p:spTree>
    <p:extLst>
      <p:ext uri="{BB962C8B-B14F-4D97-AF65-F5344CB8AC3E}">
        <p14:creationId xmlns:p14="http://schemas.microsoft.com/office/powerpoint/2010/main" val="281682914"/>
      </p:ext>
    </p:extLst>
  </p:cSld>
  <p:clrMapOvr>
    <a:masterClrMapping/>
  </p:clrMapOvr>
  <p:extLst>
    <p:ext uri="{DCECCB84-F9BA-43D5-87BE-67443E8EF086}">
      <p15:sldGuideLst xmlns:p15="http://schemas.microsoft.com/office/powerpoint/2012/main">
        <p15:guide id="1" orient="horz" pos="2781" userDrawn="1">
          <p15:clr>
            <a:srgbClr val="C35EA4"/>
          </p15:clr>
        </p15:guide>
        <p15:guide id="2" orient="horz" pos="699" userDrawn="1">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8FC6F24-0297-D43D-F708-D69160FC6CF6}"/>
              </a:ext>
            </a:extLst>
          </p:cNvPr>
          <p:cNvGraphicFramePr>
            <a:graphicFrameLocks noChangeAspect="1"/>
          </p:cNvGraphicFramePr>
          <p:nvPr userDrawn="1">
            <p:custDataLst>
              <p:tags r:id="rId1"/>
            </p:custDataLst>
            <p:extLst>
              <p:ext uri="{D42A27DB-BD31-4B8C-83A1-F6EECF244321}">
                <p14:modId xmlns:p14="http://schemas.microsoft.com/office/powerpoint/2010/main" val="1287015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7" name="think-cell data - do not delete" hidden="1">
                        <a:extLst>
                          <a:ext uri="{FF2B5EF4-FFF2-40B4-BE49-F238E27FC236}">
                            <a16:creationId xmlns:a16="http://schemas.microsoft.com/office/drawing/2014/main" id="{08FC6F24-0297-D43D-F708-D69160FC6C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2">
            <a:extLst>
              <a:ext uri="{FF2B5EF4-FFF2-40B4-BE49-F238E27FC236}">
                <a16:creationId xmlns:a16="http://schemas.microsoft.com/office/drawing/2014/main" id="{BE54C0EC-61DC-B59E-7818-7970359D572F}"/>
              </a:ext>
            </a:extLst>
          </p:cNvPr>
          <p:cNvSpPr>
            <a:spLocks noGrp="1"/>
          </p:cNvSpPr>
          <p:nvPr>
            <p:ph type="title"/>
          </p:nvPr>
        </p:nvSpPr>
        <p:spPr>
          <a:xfrm>
            <a:off x="556467" y="572600"/>
            <a:ext cx="11084672" cy="393954"/>
          </a:xfrm>
        </p:spPr>
        <p:txBody>
          <a:bodyPr vert="horz"/>
          <a:lstStyle>
            <a:lvl1pPr rtl="0">
              <a:defRPr/>
            </a:lvl1pPr>
          </a:lstStyle>
          <a:p>
            <a:r>
              <a:rPr lang="pt-BR"/>
              <a:t>Click to edit Master title style</a:t>
            </a:r>
            <a:endParaRPr lang="pt-BR" dirty="0"/>
          </a:p>
        </p:txBody>
      </p:sp>
      <p:sp>
        <p:nvSpPr>
          <p:cNvPr id="5" name="Text Placeholder 3">
            <a:extLst>
              <a:ext uri="{FF2B5EF4-FFF2-40B4-BE49-F238E27FC236}">
                <a16:creationId xmlns:a16="http://schemas.microsoft.com/office/drawing/2014/main" id="{829CD64B-978B-B166-4177-22D54438A49F}"/>
              </a:ext>
            </a:extLst>
          </p:cNvPr>
          <p:cNvSpPr>
            <a:spLocks noGrp="1"/>
          </p:cNvSpPr>
          <p:nvPr>
            <p:ph type="body" sz="quarter" idx="26" hasCustomPrompt="1"/>
          </p:nvPr>
        </p:nvSpPr>
        <p:spPr>
          <a:xfrm>
            <a:off x="563411" y="1109663"/>
            <a:ext cx="11084673" cy="384048"/>
          </a:xfrm>
          <a:prstGeom prst="rect">
            <a:avLst/>
          </a:prstGeom>
        </p:spPr>
        <p:txBody>
          <a:bodyPr anchor="t"/>
          <a:lstStyle>
            <a:lvl1pPr marL="0" indent="0" rtl="0">
              <a:spcAft>
                <a:spcPts val="0"/>
              </a:spcAft>
              <a:buNone/>
              <a:defRPr sz="1800" b="0" i="0">
                <a:solidFill>
                  <a:schemeClr val="tx1"/>
                </a:solidFill>
                <a:latin typeface="Graphik" panose="020B0503030202060203" pitchFamily="34" charset="77"/>
              </a:defRPr>
            </a:lvl1pPr>
          </a:lstStyle>
          <a:p>
            <a:pPr lvl="0"/>
            <a:r>
              <a:rPr lang="pt-BR"/>
              <a:t>Place subtitle here in Graphik regular</a:t>
            </a:r>
            <a:endParaRPr lang="pt-BR" dirty="0"/>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561424" y="1844675"/>
            <a:ext cx="3393084" cy="457200"/>
          </a:xfrm>
          <a:prstGeom prst="rect">
            <a:avLst/>
          </a:prstGeom>
        </p:spPr>
        <p:txBody>
          <a:bodyPr anchor="t"/>
          <a:lstStyle>
            <a:lvl1pPr marL="0" indent="0" rtl="0">
              <a:spcAft>
                <a:spcPts val="0"/>
              </a:spcAft>
              <a:buNone/>
              <a:defRPr sz="2400" b="1" i="0">
                <a:solidFill>
                  <a:schemeClr val="bg2"/>
                </a:solidFill>
                <a:latin typeface="Graphik Semibold" panose="020B0503030202060203" pitchFamily="34" charset="77"/>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pt-BR"/>
              <a:t>#</a:t>
            </a:r>
            <a:endParaRPr lang="pt-BR" dirty="0"/>
          </a:p>
        </p:txBody>
      </p:sp>
      <p:sp>
        <p:nvSpPr>
          <p:cNvPr id="3" name="Text Placeholder 3a">
            <a:extLst>
              <a:ext uri="{FF2B5EF4-FFF2-40B4-BE49-F238E27FC236}">
                <a16:creationId xmlns:a16="http://schemas.microsoft.com/office/drawing/2014/main" id="{4C9BBD74-54FD-481F-B3FD-0CE5318F281F}"/>
              </a:ext>
            </a:extLst>
          </p:cNvPr>
          <p:cNvSpPr>
            <a:spLocks noGrp="1"/>
          </p:cNvSpPr>
          <p:nvPr>
            <p:ph type="body" idx="1" hasCustomPrompt="1"/>
          </p:nvPr>
        </p:nvSpPr>
        <p:spPr>
          <a:xfrm>
            <a:off x="561424" y="2301875"/>
            <a:ext cx="3393084" cy="822960"/>
          </a:xfrm>
          <a:prstGeom prst="rect">
            <a:avLst/>
          </a:prstGeom>
        </p:spPr>
        <p:txBody>
          <a:bodyPr anchor="t"/>
          <a:lstStyle>
            <a:lvl1pPr marL="0" indent="0" rtl="0">
              <a:lnSpc>
                <a:spcPct val="90000"/>
              </a:lnSpc>
              <a:spcAft>
                <a:spcPts val="0"/>
              </a:spcAft>
              <a:buNone/>
              <a:defRPr sz="1800" b="1" i="0">
                <a:latin typeface="Graphik Semibold" panose="020B0503030202060203" pitchFamily="34" charset="77"/>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pt-BR"/>
              <a:t>Place headline here</a:t>
            </a:r>
            <a:endParaRPr lang="pt-BR" dirty="0"/>
          </a:p>
        </p:txBody>
      </p:sp>
      <p:sp>
        <p:nvSpPr>
          <p:cNvPr id="4" name="Content Placeholder 4">
            <a:extLst>
              <a:ext uri="{FF2B5EF4-FFF2-40B4-BE49-F238E27FC236}">
                <a16:creationId xmlns:a16="http://schemas.microsoft.com/office/drawing/2014/main" id="{02BA4C27-1C65-4465-A8B1-ACE92701B4D0}"/>
              </a:ext>
            </a:extLst>
          </p:cNvPr>
          <p:cNvSpPr>
            <a:spLocks noGrp="1"/>
          </p:cNvSpPr>
          <p:nvPr>
            <p:ph sz="half" idx="2" hasCustomPrompt="1"/>
          </p:nvPr>
        </p:nvSpPr>
        <p:spPr>
          <a:xfrm>
            <a:off x="561424" y="3124835"/>
            <a:ext cx="3393084" cy="2761488"/>
          </a:xfrm>
          <a:prstGeom prst="rect">
            <a:avLst/>
          </a:prstGeom>
        </p:spPr>
        <p:txBody>
          <a:bodyPr/>
          <a:lstStyle>
            <a:lvl1pPr rtl="0">
              <a:spcAft>
                <a:spcPts val="600"/>
              </a:spcAft>
              <a:defRPr sz="1400" b="0" i="0">
                <a:latin typeface="Graphik" panose="020B0503030202060203" pitchFamily="34" charset="77"/>
              </a:defRPr>
            </a:lvl1pPr>
            <a:lvl2pPr rtl="0">
              <a:spcAft>
                <a:spcPts val="600"/>
              </a:spcAft>
              <a:defRPr sz="1400" b="0" i="0">
                <a:latin typeface="Graphik" panose="020B0503030202060203" pitchFamily="34" charset="77"/>
              </a:defRPr>
            </a:lvl2pPr>
            <a:lvl3pPr rtl="0">
              <a:spcAft>
                <a:spcPts val="600"/>
              </a:spcAft>
              <a:defRPr sz="1400" b="0" i="0">
                <a:latin typeface="Graphik" panose="020B0503030202060203" pitchFamily="34" charset="77"/>
              </a:defRPr>
            </a:lvl3pPr>
            <a:lvl4pPr rtl="0">
              <a:spcAft>
                <a:spcPts val="600"/>
              </a:spcAft>
              <a:defRPr sz="1200" b="0" i="0">
                <a:latin typeface="Graphik" panose="020B0503030202060203" pitchFamily="34" charset="77"/>
              </a:defRPr>
            </a:lvl4pPr>
            <a:lvl5pPr rtl="0">
              <a:spcAft>
                <a:spcPts val="600"/>
              </a:spcAft>
              <a:defRPr sz="1200" b="0" i="0">
                <a:latin typeface="Graphik" panose="020B0503030202060203" pitchFamily="34" charset="77"/>
              </a:defRPr>
            </a:lvl5pPr>
            <a:lvl6pPr rtl="0">
              <a:defRPr sz="1100" b="0" i="0">
                <a:latin typeface="Graphik" panose="020B0503030202060203" pitchFamily="34" charset="77"/>
              </a:defRPr>
            </a:lvl6pPr>
          </a:lstStyle>
          <a:p>
            <a:pPr lvl="0"/>
            <a:r>
              <a:rPr lang="pt-BR"/>
              <a:t>Place text here</a:t>
            </a:r>
          </a:p>
          <a:p>
            <a:pPr lvl="1"/>
            <a:r>
              <a:rPr lang="pt-BR"/>
              <a:t>Second level</a:t>
            </a:r>
          </a:p>
          <a:p>
            <a:pPr lvl="2"/>
            <a:r>
              <a:rPr lang="pt-BR"/>
              <a:t>Third level</a:t>
            </a:r>
          </a:p>
          <a:p>
            <a:pPr lvl="3"/>
            <a:r>
              <a:rPr lang="pt-BR"/>
              <a:t>Fourth level</a:t>
            </a:r>
          </a:p>
          <a:p>
            <a:pPr lvl="4"/>
            <a:r>
              <a:rPr lang="pt-BR"/>
              <a:t>Fifth level</a:t>
            </a:r>
          </a:p>
          <a:p>
            <a:pPr lvl="5"/>
            <a:r>
              <a:rPr lang="pt-BR"/>
              <a:t>Sixth level</a:t>
            </a:r>
            <a:endParaRPr lang="pt-BR" dirty="0"/>
          </a:p>
        </p:txBody>
      </p:sp>
      <p:sp>
        <p:nvSpPr>
          <p:cNvPr id="24" name="Text Placeholder 5">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4408212" y="1844675"/>
            <a:ext cx="3393084" cy="457200"/>
          </a:xfrm>
          <a:prstGeom prst="rect">
            <a:avLst/>
          </a:prstGeom>
        </p:spPr>
        <p:txBody>
          <a:bodyPr anchor="t"/>
          <a:lstStyle>
            <a:lvl1pPr marL="0" indent="0" rtl="0">
              <a:spcAft>
                <a:spcPts val="0"/>
              </a:spcAft>
              <a:buNone/>
              <a:defRPr sz="2400" b="1" i="0">
                <a:solidFill>
                  <a:schemeClr val="bg2"/>
                </a:solidFill>
                <a:latin typeface="Graphik Semibold" panose="020B0503030202060203" pitchFamily="34" charset="77"/>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pt-BR"/>
              <a:t>#</a:t>
            </a:r>
            <a:endParaRPr lang="pt-BR" dirty="0"/>
          </a:p>
        </p:txBody>
      </p:sp>
      <p:sp>
        <p:nvSpPr>
          <p:cNvPr id="22" name="Text Placeholder 6">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4408212" y="2301875"/>
            <a:ext cx="3393084" cy="822960"/>
          </a:xfrm>
          <a:prstGeom prst="rect">
            <a:avLst/>
          </a:prstGeom>
        </p:spPr>
        <p:txBody>
          <a:bodyPr anchor="t"/>
          <a:lstStyle>
            <a:lvl1pPr marL="0" indent="0" rtl="0">
              <a:lnSpc>
                <a:spcPct val="90000"/>
              </a:lnSpc>
              <a:spcAft>
                <a:spcPts val="0"/>
              </a:spcAft>
              <a:buNone/>
              <a:defRPr sz="1800" b="1" i="0">
                <a:latin typeface="Graphik Semibold" panose="020B0503030202060203" pitchFamily="34" charset="77"/>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pt-BR"/>
              <a:t>Place headline here</a:t>
            </a:r>
            <a:endParaRPr lang="pt-BR" dirty="0"/>
          </a:p>
        </p:txBody>
      </p:sp>
      <p:sp>
        <p:nvSpPr>
          <p:cNvPr id="23" name="Content Placeholder 7">
            <a:extLst>
              <a:ext uri="{FF2B5EF4-FFF2-40B4-BE49-F238E27FC236}">
                <a16:creationId xmlns:a16="http://schemas.microsoft.com/office/drawing/2014/main" id="{DB26F5FE-8482-4C00-99C1-3FC3BEEE82C8}"/>
              </a:ext>
            </a:extLst>
          </p:cNvPr>
          <p:cNvSpPr>
            <a:spLocks noGrp="1"/>
          </p:cNvSpPr>
          <p:nvPr>
            <p:ph sz="half" idx="20" hasCustomPrompt="1"/>
          </p:nvPr>
        </p:nvSpPr>
        <p:spPr>
          <a:xfrm>
            <a:off x="4408212" y="3124835"/>
            <a:ext cx="3393084" cy="2761488"/>
          </a:xfrm>
          <a:prstGeom prst="rect">
            <a:avLst/>
          </a:prstGeom>
        </p:spPr>
        <p:txBody>
          <a:bodyPr/>
          <a:lstStyle>
            <a:lvl1pPr rtl="0">
              <a:spcAft>
                <a:spcPts val="600"/>
              </a:spcAft>
              <a:defRPr sz="1400" b="0" i="0">
                <a:latin typeface="Graphik" panose="020B0503030202060203" pitchFamily="34" charset="77"/>
              </a:defRPr>
            </a:lvl1pPr>
            <a:lvl2pPr rtl="0">
              <a:spcAft>
                <a:spcPts val="600"/>
              </a:spcAft>
              <a:defRPr sz="1400" b="0" i="0">
                <a:latin typeface="Graphik" panose="020B0503030202060203" pitchFamily="34" charset="77"/>
              </a:defRPr>
            </a:lvl2pPr>
            <a:lvl3pPr rtl="0">
              <a:spcAft>
                <a:spcPts val="600"/>
              </a:spcAft>
              <a:defRPr sz="1400" b="0" i="0">
                <a:latin typeface="Graphik" panose="020B0503030202060203" pitchFamily="34" charset="77"/>
              </a:defRPr>
            </a:lvl3pPr>
            <a:lvl4pPr rtl="0">
              <a:spcAft>
                <a:spcPts val="600"/>
              </a:spcAft>
              <a:defRPr sz="1200" b="0" i="0">
                <a:latin typeface="Graphik" panose="020B0503030202060203" pitchFamily="34" charset="77"/>
              </a:defRPr>
            </a:lvl4pPr>
            <a:lvl5pPr rtl="0">
              <a:spcAft>
                <a:spcPts val="600"/>
              </a:spcAft>
              <a:defRPr sz="1200" b="0" i="0">
                <a:latin typeface="Graphik" panose="020B0503030202060203" pitchFamily="34" charset="77"/>
              </a:defRPr>
            </a:lvl5pPr>
            <a:lvl6pPr rtl="0">
              <a:defRPr lang="en-US" sz="1100" b="0" i="0" kern="1200" dirty="0">
                <a:solidFill>
                  <a:schemeClr val="tx1"/>
                </a:solidFill>
                <a:latin typeface="Graphik" panose="020B0503030202060203" pitchFamily="34" charset="77"/>
                <a:ea typeface="+mn-ea"/>
                <a:cs typeface="+mn-cs"/>
              </a:defRPr>
            </a:lvl6pPr>
          </a:lstStyle>
          <a:p>
            <a:pPr lvl="0"/>
            <a:r>
              <a:rPr lang="pt-BR"/>
              <a:t>Place text here</a:t>
            </a:r>
          </a:p>
          <a:p>
            <a:pPr lvl="1"/>
            <a:r>
              <a:rPr lang="pt-BR"/>
              <a:t>Second level</a:t>
            </a:r>
          </a:p>
          <a:p>
            <a:pPr lvl="2"/>
            <a:r>
              <a:rPr lang="pt-BR"/>
              <a:t>Third level</a:t>
            </a:r>
          </a:p>
          <a:p>
            <a:pPr lvl="3"/>
            <a:r>
              <a:rPr lang="pt-BR"/>
              <a:t>Fourth level</a:t>
            </a:r>
          </a:p>
          <a:p>
            <a:pPr lvl="4"/>
            <a:r>
              <a:rPr lang="pt-BR"/>
              <a:t>Fifth level</a:t>
            </a:r>
          </a:p>
          <a:p>
            <a:pPr marL="11113" lvl="5" indent="0" algn="l" defTabSz="228594" rtl="0" eaLnBrk="1" latinLnBrk="0" hangingPunct="1">
              <a:lnSpc>
                <a:spcPct val="90000"/>
              </a:lnSpc>
              <a:spcBef>
                <a:spcPts val="0"/>
              </a:spcBef>
              <a:spcAft>
                <a:spcPts val="1200"/>
              </a:spcAft>
              <a:buFont typeface="Graphik" panose="020B0503030202060203" pitchFamily="34" charset="0"/>
              <a:buNone/>
              <a:tabLst/>
            </a:pPr>
            <a:r>
              <a:rPr lang="pt-BR"/>
              <a:t>Sixth level</a:t>
            </a:r>
            <a:endParaRPr lang="pt-BR" dirty="0"/>
          </a:p>
        </p:txBody>
      </p:sp>
      <p:sp>
        <p:nvSpPr>
          <p:cNvPr id="27" name="Text Placeholder 8">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8255000" y="1844675"/>
            <a:ext cx="3393084" cy="457200"/>
          </a:xfrm>
          <a:prstGeom prst="rect">
            <a:avLst/>
          </a:prstGeom>
        </p:spPr>
        <p:txBody>
          <a:bodyPr anchor="t"/>
          <a:lstStyle>
            <a:lvl1pPr marL="0" indent="0" rtl="0">
              <a:spcAft>
                <a:spcPts val="0"/>
              </a:spcAft>
              <a:buNone/>
              <a:defRPr sz="2400" b="1" i="0">
                <a:solidFill>
                  <a:schemeClr val="bg2"/>
                </a:solidFill>
                <a:latin typeface="Graphik Semibold" panose="020B0503030202060203" pitchFamily="34" charset="77"/>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pt-BR"/>
              <a:t>#</a:t>
            </a:r>
            <a:endParaRPr lang="pt-BR" dirty="0"/>
          </a:p>
        </p:txBody>
      </p:sp>
      <p:sp>
        <p:nvSpPr>
          <p:cNvPr id="25" name="Text Placeholder 9">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8255000" y="2301875"/>
            <a:ext cx="3393084" cy="822960"/>
          </a:xfrm>
          <a:prstGeom prst="rect">
            <a:avLst/>
          </a:prstGeom>
        </p:spPr>
        <p:txBody>
          <a:bodyPr anchor="t"/>
          <a:lstStyle>
            <a:lvl1pPr marL="0" indent="0" rtl="0">
              <a:lnSpc>
                <a:spcPct val="90000"/>
              </a:lnSpc>
              <a:spcAft>
                <a:spcPts val="0"/>
              </a:spcAft>
              <a:buNone/>
              <a:defRPr sz="1800" b="1" i="0">
                <a:latin typeface="Graphik Semibold" panose="020B0503030202060203" pitchFamily="34" charset="77"/>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pt-BR"/>
              <a:t>Place headline here</a:t>
            </a:r>
            <a:endParaRPr lang="pt-BR" dirty="0"/>
          </a:p>
        </p:txBody>
      </p:sp>
      <p:sp>
        <p:nvSpPr>
          <p:cNvPr id="26" name="Content Placeholder 10">
            <a:extLst>
              <a:ext uri="{FF2B5EF4-FFF2-40B4-BE49-F238E27FC236}">
                <a16:creationId xmlns:a16="http://schemas.microsoft.com/office/drawing/2014/main" id="{CBA38EFA-DE92-462D-AAF3-DE465A478568}"/>
              </a:ext>
            </a:extLst>
          </p:cNvPr>
          <p:cNvSpPr>
            <a:spLocks noGrp="1"/>
          </p:cNvSpPr>
          <p:nvPr>
            <p:ph sz="half" idx="23" hasCustomPrompt="1"/>
          </p:nvPr>
        </p:nvSpPr>
        <p:spPr>
          <a:xfrm>
            <a:off x="8255000" y="3124835"/>
            <a:ext cx="3393084" cy="2761488"/>
          </a:xfrm>
          <a:prstGeom prst="rect">
            <a:avLst/>
          </a:prstGeom>
        </p:spPr>
        <p:txBody>
          <a:bodyPr/>
          <a:lstStyle>
            <a:lvl1pPr rtl="0">
              <a:spcAft>
                <a:spcPts val="600"/>
              </a:spcAft>
              <a:defRPr sz="1400" b="0" i="0">
                <a:latin typeface="Graphik" panose="020B0503030202060203" pitchFamily="34" charset="77"/>
              </a:defRPr>
            </a:lvl1pPr>
            <a:lvl2pPr rtl="0">
              <a:spcAft>
                <a:spcPts val="600"/>
              </a:spcAft>
              <a:defRPr sz="1400" b="0" i="0">
                <a:latin typeface="Graphik" panose="020B0503030202060203" pitchFamily="34" charset="77"/>
              </a:defRPr>
            </a:lvl2pPr>
            <a:lvl3pPr rtl="0">
              <a:spcAft>
                <a:spcPts val="600"/>
              </a:spcAft>
              <a:defRPr sz="1400" b="0" i="0">
                <a:latin typeface="Graphik" panose="020B0503030202060203" pitchFamily="34" charset="77"/>
              </a:defRPr>
            </a:lvl3pPr>
            <a:lvl4pPr rtl="0">
              <a:spcAft>
                <a:spcPts val="600"/>
              </a:spcAft>
              <a:defRPr sz="1200" b="0" i="0">
                <a:latin typeface="Graphik" panose="020B0503030202060203" pitchFamily="34" charset="77"/>
              </a:defRPr>
            </a:lvl4pPr>
            <a:lvl5pPr rtl="0">
              <a:spcAft>
                <a:spcPts val="600"/>
              </a:spcAft>
              <a:defRPr sz="1200" b="0" i="0">
                <a:latin typeface="Graphik" panose="020B0503030202060203" pitchFamily="34" charset="77"/>
              </a:defRPr>
            </a:lvl5pPr>
            <a:lvl6pPr rtl="0">
              <a:defRPr lang="en-US" sz="1100" b="0" i="0" kern="1200" dirty="0">
                <a:solidFill>
                  <a:schemeClr val="tx1"/>
                </a:solidFill>
                <a:latin typeface="Graphik" panose="020B0503030202060203" pitchFamily="34" charset="77"/>
                <a:ea typeface="+mn-ea"/>
                <a:cs typeface="+mn-cs"/>
              </a:defRPr>
            </a:lvl6pPr>
          </a:lstStyle>
          <a:p>
            <a:pPr lvl="0"/>
            <a:r>
              <a:rPr lang="pt-BR"/>
              <a:t>Place text here</a:t>
            </a:r>
          </a:p>
          <a:p>
            <a:pPr lvl="1"/>
            <a:r>
              <a:rPr lang="pt-BR"/>
              <a:t>Second level</a:t>
            </a:r>
          </a:p>
          <a:p>
            <a:pPr lvl="2"/>
            <a:r>
              <a:rPr lang="pt-BR"/>
              <a:t>Third leve</a:t>
            </a:r>
          </a:p>
          <a:p>
            <a:pPr lvl="3"/>
            <a:r>
              <a:rPr lang="pt-BR"/>
              <a:t>Fourth level</a:t>
            </a:r>
          </a:p>
          <a:p>
            <a:pPr lvl="4"/>
            <a:r>
              <a:rPr lang="pt-BR"/>
              <a:t>Fifth level</a:t>
            </a:r>
          </a:p>
          <a:p>
            <a:pPr marL="11113" lvl="5" indent="0" algn="l" defTabSz="228594" rtl="0" eaLnBrk="1" latinLnBrk="0" hangingPunct="1">
              <a:lnSpc>
                <a:spcPct val="90000"/>
              </a:lnSpc>
              <a:spcBef>
                <a:spcPts val="0"/>
              </a:spcBef>
              <a:spcAft>
                <a:spcPts val="1200"/>
              </a:spcAft>
              <a:buFont typeface="Graphik" panose="020B0503030202060203" pitchFamily="34" charset="0"/>
              <a:buNone/>
              <a:tabLst/>
            </a:pPr>
            <a:r>
              <a:rPr lang="pt-BR"/>
              <a:t>Sixth level</a:t>
            </a:r>
            <a:endParaRPr lang="pt-BR" dirty="0"/>
          </a:p>
        </p:txBody>
      </p:sp>
    </p:spTree>
    <p:extLst>
      <p:ext uri="{BB962C8B-B14F-4D97-AF65-F5344CB8AC3E}">
        <p14:creationId xmlns:p14="http://schemas.microsoft.com/office/powerpoint/2010/main" val="1646546609"/>
      </p:ext>
    </p:extLst>
  </p:cSld>
  <p:clrMapOvr>
    <a:masterClrMapping/>
  </p:clrMapOvr>
  <p:extLst>
    <p:ext uri="{DCECCB84-F9BA-43D5-87BE-67443E8EF086}">
      <p15:sldGuideLst xmlns:p15="http://schemas.microsoft.com/office/powerpoint/2012/main">
        <p15:guide id="1" orient="horz" pos="2777" userDrawn="1">
          <p15:clr>
            <a:srgbClr val="C35EA4"/>
          </p15:clr>
        </p15:guide>
        <p15:guide id="2" orient="horz" pos="699" userDrawn="1">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4 columns">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E87D112-00DD-0145-FABA-2C8D2AC6DB44}"/>
              </a:ext>
            </a:extLst>
          </p:cNvPr>
          <p:cNvGraphicFramePr>
            <a:graphicFrameLocks noChangeAspect="1"/>
          </p:cNvGraphicFramePr>
          <p:nvPr userDrawn="1">
            <p:custDataLst>
              <p:tags r:id="rId1"/>
            </p:custDataLst>
            <p:extLst>
              <p:ext uri="{D42A27DB-BD31-4B8C-83A1-F6EECF244321}">
                <p14:modId xmlns:p14="http://schemas.microsoft.com/office/powerpoint/2010/main" val="13023064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4" name="think-cell data - do not delete" hidden="1">
                        <a:extLst>
                          <a:ext uri="{FF2B5EF4-FFF2-40B4-BE49-F238E27FC236}">
                            <a16:creationId xmlns:a16="http://schemas.microsoft.com/office/drawing/2014/main" id="{5E87D112-00DD-0145-FABA-2C8D2AC6DB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2">
            <a:extLst>
              <a:ext uri="{FF2B5EF4-FFF2-40B4-BE49-F238E27FC236}">
                <a16:creationId xmlns:a16="http://schemas.microsoft.com/office/drawing/2014/main" id="{ADE0ACE9-87AB-DC33-60CB-7857735C0CCC}"/>
              </a:ext>
            </a:extLst>
          </p:cNvPr>
          <p:cNvSpPr>
            <a:spLocks noGrp="1"/>
          </p:cNvSpPr>
          <p:nvPr>
            <p:ph type="title"/>
          </p:nvPr>
        </p:nvSpPr>
        <p:spPr>
          <a:xfrm>
            <a:off x="556467" y="572600"/>
            <a:ext cx="11109212" cy="393954"/>
          </a:xfrm>
        </p:spPr>
        <p:txBody>
          <a:bodyPr vert="horz"/>
          <a:lstStyle>
            <a:lvl1pPr rtl="0">
              <a:defRPr/>
            </a:lvl1pPr>
          </a:lstStyle>
          <a:p>
            <a:r>
              <a:rPr lang="pt-BR"/>
              <a:t>Click to edit Master title style</a:t>
            </a:r>
            <a:endParaRPr lang="pt-BR" dirty="0"/>
          </a:p>
        </p:txBody>
      </p:sp>
      <p:sp>
        <p:nvSpPr>
          <p:cNvPr id="5" name="Text Placeholder 3">
            <a:extLst>
              <a:ext uri="{FF2B5EF4-FFF2-40B4-BE49-F238E27FC236}">
                <a16:creationId xmlns:a16="http://schemas.microsoft.com/office/drawing/2014/main" id="{96979C23-8BE9-7323-535F-C9F3337F59ED}"/>
              </a:ext>
            </a:extLst>
          </p:cNvPr>
          <p:cNvSpPr>
            <a:spLocks noGrp="1"/>
          </p:cNvSpPr>
          <p:nvPr>
            <p:ph type="body" sz="quarter" idx="26" hasCustomPrompt="1"/>
          </p:nvPr>
        </p:nvSpPr>
        <p:spPr>
          <a:xfrm>
            <a:off x="563411" y="1109663"/>
            <a:ext cx="11077727" cy="384048"/>
          </a:xfrm>
          <a:prstGeom prst="rect">
            <a:avLst/>
          </a:prstGeom>
        </p:spPr>
        <p:txBody>
          <a:bodyPr anchor="t"/>
          <a:lstStyle>
            <a:lvl1pPr marL="0" indent="0" rtl="0">
              <a:spcAft>
                <a:spcPts val="0"/>
              </a:spcAft>
              <a:buNone/>
              <a:defRPr sz="1800" b="0" i="0">
                <a:solidFill>
                  <a:schemeClr val="tx1"/>
                </a:solidFill>
                <a:latin typeface="Graphik" panose="020B0503030202060203" pitchFamily="34" charset="77"/>
              </a:defRPr>
            </a:lvl1pPr>
          </a:lstStyle>
          <a:p>
            <a:pPr lvl="0"/>
            <a:r>
              <a:rPr lang="pt-BR"/>
              <a:t>Place subtitle here in Graphik regular</a:t>
            </a:r>
            <a:endParaRPr lang="pt-BR" dirty="0"/>
          </a:p>
        </p:txBody>
      </p:sp>
      <p:sp>
        <p:nvSpPr>
          <p:cNvPr id="19" name="Text Placeholder 3">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561427" y="1844800"/>
            <a:ext cx="2578828" cy="457200"/>
          </a:xfrm>
          <a:prstGeom prst="rect">
            <a:avLst/>
          </a:prstGeom>
        </p:spPr>
        <p:txBody>
          <a:bodyPr anchor="t"/>
          <a:lstStyle>
            <a:lvl1pPr marL="0" indent="0" rtl="0">
              <a:spcAft>
                <a:spcPts val="0"/>
              </a:spcAft>
              <a:buNone/>
              <a:defRPr sz="2400" b="1" i="0">
                <a:solidFill>
                  <a:schemeClr val="bg2"/>
                </a:solidFill>
                <a:latin typeface="Graphik Semibold" panose="020B0503030202060203" pitchFamily="34" charset="77"/>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pt-BR"/>
              <a:t>#</a:t>
            </a:r>
            <a:endParaRPr lang="pt-BR" dirty="0"/>
          </a:p>
        </p:txBody>
      </p:sp>
      <p:sp>
        <p:nvSpPr>
          <p:cNvPr id="3" name="Text Placeholder 4">
            <a:extLst>
              <a:ext uri="{FF2B5EF4-FFF2-40B4-BE49-F238E27FC236}">
                <a16:creationId xmlns:a16="http://schemas.microsoft.com/office/drawing/2014/main" id="{4C9BBD74-54FD-481F-B3FD-0CE5318F281F}"/>
              </a:ext>
            </a:extLst>
          </p:cNvPr>
          <p:cNvSpPr>
            <a:spLocks noGrp="1"/>
          </p:cNvSpPr>
          <p:nvPr>
            <p:ph type="body" idx="1" hasCustomPrompt="1"/>
          </p:nvPr>
        </p:nvSpPr>
        <p:spPr>
          <a:xfrm>
            <a:off x="561427" y="2302000"/>
            <a:ext cx="2578828" cy="822960"/>
          </a:xfrm>
          <a:prstGeom prst="rect">
            <a:avLst/>
          </a:prstGeom>
        </p:spPr>
        <p:txBody>
          <a:bodyPr anchor="t"/>
          <a:lstStyle>
            <a:lvl1pPr marL="0" indent="0" rtl="0">
              <a:lnSpc>
                <a:spcPct val="90000"/>
              </a:lnSpc>
              <a:spcAft>
                <a:spcPts val="0"/>
              </a:spcAft>
              <a:buNone/>
              <a:defRPr sz="1600" b="1" i="0">
                <a:latin typeface="Graphik Semibold" panose="020B0503030202060203" pitchFamily="34" charset="77"/>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pt-BR"/>
              <a:t>Place headline here</a:t>
            </a:r>
            <a:endParaRPr lang="pt-BR" dirty="0"/>
          </a:p>
        </p:txBody>
      </p:sp>
      <p:sp>
        <p:nvSpPr>
          <p:cNvPr id="16" name="Content Placeholder 5">
            <a:extLst>
              <a:ext uri="{FF2B5EF4-FFF2-40B4-BE49-F238E27FC236}">
                <a16:creationId xmlns:a16="http://schemas.microsoft.com/office/drawing/2014/main" id="{3BDC2B1A-D3A0-C04B-AEDB-0389C637EF1A}"/>
              </a:ext>
            </a:extLst>
          </p:cNvPr>
          <p:cNvSpPr>
            <a:spLocks noGrp="1"/>
          </p:cNvSpPr>
          <p:nvPr>
            <p:ph sz="half" idx="28" hasCustomPrompt="1"/>
          </p:nvPr>
        </p:nvSpPr>
        <p:spPr>
          <a:xfrm>
            <a:off x="561427" y="3124961"/>
            <a:ext cx="2578828" cy="2761615"/>
          </a:xfrm>
          <a:prstGeom prst="rect">
            <a:avLst/>
          </a:prstGeom>
        </p:spPr>
        <p:txBody>
          <a:bodyPr/>
          <a:lstStyle>
            <a:lvl1pPr rtl="0">
              <a:spcAft>
                <a:spcPts val="600"/>
              </a:spcAft>
              <a:defRPr sz="1200" b="0" i="0">
                <a:latin typeface="Graphik" panose="020B0503030202060203" pitchFamily="34" charset="77"/>
              </a:defRPr>
            </a:lvl1pPr>
            <a:lvl2pPr rtl="0">
              <a:spcAft>
                <a:spcPts val="600"/>
              </a:spcAft>
              <a:defRPr sz="1200" b="0" i="0">
                <a:latin typeface="Graphik" panose="020B0503030202060203" pitchFamily="34" charset="77"/>
              </a:defRPr>
            </a:lvl2pPr>
            <a:lvl3pPr rtl="0">
              <a:spcAft>
                <a:spcPts val="600"/>
              </a:spcAft>
              <a:defRPr sz="1200" b="0" i="0">
                <a:latin typeface="Graphik" panose="020B0503030202060203" pitchFamily="34" charset="77"/>
              </a:defRPr>
            </a:lvl3pPr>
            <a:lvl4pPr rtl="0">
              <a:spcAft>
                <a:spcPts val="600"/>
              </a:spcAft>
              <a:defRPr sz="1100" b="0" i="0">
                <a:latin typeface="Graphik" panose="020B0503030202060203" pitchFamily="34" charset="77"/>
              </a:defRPr>
            </a:lvl4pPr>
            <a:lvl5pPr rtl="0">
              <a:spcAft>
                <a:spcPts val="600"/>
              </a:spcAft>
              <a:defRPr sz="1100" b="0" i="0">
                <a:latin typeface="Graphik" panose="020B0503030202060203" pitchFamily="34" charset="77"/>
              </a:defRPr>
            </a:lvl5pPr>
            <a:lvl6pPr rtl="0">
              <a:defRPr sz="900" b="0" i="0">
                <a:latin typeface="Graphik" panose="020B0503030202060203" pitchFamily="34" charset="77"/>
              </a:defRPr>
            </a:lvl6pPr>
          </a:lstStyle>
          <a:p>
            <a:pPr lvl="0"/>
            <a:r>
              <a:rPr lang="pt-BR"/>
              <a:t>Place text here</a:t>
            </a:r>
          </a:p>
          <a:p>
            <a:pPr lvl="1"/>
            <a:r>
              <a:rPr lang="pt-BR"/>
              <a:t>Second level</a:t>
            </a:r>
          </a:p>
          <a:p>
            <a:pPr lvl="2"/>
            <a:r>
              <a:rPr lang="pt-BR"/>
              <a:t>Third level</a:t>
            </a:r>
          </a:p>
          <a:p>
            <a:pPr lvl="3"/>
            <a:r>
              <a:rPr lang="pt-BR"/>
              <a:t>Fourth level</a:t>
            </a:r>
          </a:p>
          <a:p>
            <a:pPr lvl="4"/>
            <a:r>
              <a:rPr lang="pt-BR"/>
              <a:t>Fifth leve</a:t>
            </a:r>
          </a:p>
          <a:p>
            <a:pPr lvl="5"/>
            <a:r>
              <a:rPr lang="pt-BR"/>
              <a:t>Sixth level</a:t>
            </a:r>
            <a:endParaRPr lang="pt-BR" dirty="0"/>
          </a:p>
        </p:txBody>
      </p:sp>
      <p:sp>
        <p:nvSpPr>
          <p:cNvPr id="10" name="Text Placeholder 3">
            <a:extLst>
              <a:ext uri="{FF2B5EF4-FFF2-40B4-BE49-F238E27FC236}">
                <a16:creationId xmlns:a16="http://schemas.microsoft.com/office/drawing/2014/main" id="{7B5BFA1F-5247-B9BC-754B-6AAF3E525A0B}"/>
              </a:ext>
            </a:extLst>
          </p:cNvPr>
          <p:cNvSpPr>
            <a:spLocks noGrp="1"/>
          </p:cNvSpPr>
          <p:nvPr>
            <p:ph type="body" idx="34" hasCustomPrompt="1"/>
          </p:nvPr>
        </p:nvSpPr>
        <p:spPr>
          <a:xfrm>
            <a:off x="3403235" y="1844675"/>
            <a:ext cx="2578828" cy="457200"/>
          </a:xfrm>
          <a:prstGeom prst="rect">
            <a:avLst/>
          </a:prstGeom>
        </p:spPr>
        <p:txBody>
          <a:bodyPr anchor="t"/>
          <a:lstStyle>
            <a:lvl1pPr marL="0" indent="0" rtl="0">
              <a:spcAft>
                <a:spcPts val="0"/>
              </a:spcAft>
              <a:buNone/>
              <a:defRPr sz="2400" b="1" i="0">
                <a:solidFill>
                  <a:schemeClr val="bg2"/>
                </a:solidFill>
                <a:latin typeface="Graphik Semibold" panose="020B0503030202060203" pitchFamily="34" charset="77"/>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pt-BR"/>
              <a:t>#</a:t>
            </a:r>
            <a:endParaRPr lang="pt-BR" dirty="0"/>
          </a:p>
        </p:txBody>
      </p:sp>
      <p:sp>
        <p:nvSpPr>
          <p:cNvPr id="11" name="Text Placeholder 4">
            <a:extLst>
              <a:ext uri="{FF2B5EF4-FFF2-40B4-BE49-F238E27FC236}">
                <a16:creationId xmlns:a16="http://schemas.microsoft.com/office/drawing/2014/main" id="{097F6A55-E927-3DDC-C6BC-9E4F7D33849E}"/>
              </a:ext>
            </a:extLst>
          </p:cNvPr>
          <p:cNvSpPr>
            <a:spLocks noGrp="1"/>
          </p:cNvSpPr>
          <p:nvPr>
            <p:ph type="body" idx="35" hasCustomPrompt="1"/>
          </p:nvPr>
        </p:nvSpPr>
        <p:spPr>
          <a:xfrm>
            <a:off x="3403235" y="2301875"/>
            <a:ext cx="2578828" cy="822960"/>
          </a:xfrm>
          <a:prstGeom prst="rect">
            <a:avLst/>
          </a:prstGeom>
        </p:spPr>
        <p:txBody>
          <a:bodyPr anchor="t"/>
          <a:lstStyle>
            <a:lvl1pPr marL="0" indent="0" rtl="0">
              <a:lnSpc>
                <a:spcPct val="90000"/>
              </a:lnSpc>
              <a:spcAft>
                <a:spcPts val="0"/>
              </a:spcAft>
              <a:buNone/>
              <a:defRPr sz="1600" b="1" i="0">
                <a:latin typeface="Graphik Semibold" panose="020B0503030202060203" pitchFamily="34" charset="77"/>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pt-BR"/>
              <a:t>Place headline here</a:t>
            </a:r>
            <a:endParaRPr lang="pt-BR" dirty="0"/>
          </a:p>
        </p:txBody>
      </p:sp>
      <p:sp>
        <p:nvSpPr>
          <p:cNvPr id="12" name="Content Placeholder 5">
            <a:extLst>
              <a:ext uri="{FF2B5EF4-FFF2-40B4-BE49-F238E27FC236}">
                <a16:creationId xmlns:a16="http://schemas.microsoft.com/office/drawing/2014/main" id="{E79F7D08-14C4-9387-451B-BF223111972A}"/>
              </a:ext>
            </a:extLst>
          </p:cNvPr>
          <p:cNvSpPr>
            <a:spLocks noGrp="1"/>
          </p:cNvSpPr>
          <p:nvPr>
            <p:ph sz="half" idx="36" hasCustomPrompt="1"/>
          </p:nvPr>
        </p:nvSpPr>
        <p:spPr>
          <a:xfrm>
            <a:off x="3403235" y="3124834"/>
            <a:ext cx="2578828" cy="2761615"/>
          </a:xfrm>
          <a:prstGeom prst="rect">
            <a:avLst/>
          </a:prstGeom>
        </p:spPr>
        <p:txBody>
          <a:bodyPr/>
          <a:lstStyle>
            <a:lvl1pPr rtl="0">
              <a:spcAft>
                <a:spcPts val="600"/>
              </a:spcAft>
              <a:defRPr sz="1200" b="0" i="0">
                <a:latin typeface="Graphik" panose="020B0503030202060203" pitchFamily="34" charset="77"/>
              </a:defRPr>
            </a:lvl1pPr>
            <a:lvl2pPr rtl="0">
              <a:spcAft>
                <a:spcPts val="600"/>
              </a:spcAft>
              <a:defRPr sz="1200" b="0" i="0">
                <a:latin typeface="Graphik" panose="020B0503030202060203" pitchFamily="34" charset="77"/>
              </a:defRPr>
            </a:lvl2pPr>
            <a:lvl3pPr rtl="0">
              <a:spcAft>
                <a:spcPts val="600"/>
              </a:spcAft>
              <a:defRPr sz="1200" b="0" i="0">
                <a:latin typeface="Graphik" panose="020B0503030202060203" pitchFamily="34" charset="77"/>
              </a:defRPr>
            </a:lvl3pPr>
            <a:lvl4pPr rtl="0">
              <a:spcAft>
                <a:spcPts val="600"/>
              </a:spcAft>
              <a:defRPr sz="1100" b="0" i="0">
                <a:latin typeface="Graphik" panose="020B0503030202060203" pitchFamily="34" charset="77"/>
              </a:defRPr>
            </a:lvl4pPr>
            <a:lvl5pPr rtl="0">
              <a:spcAft>
                <a:spcPts val="600"/>
              </a:spcAft>
              <a:defRPr sz="1100" b="0" i="0">
                <a:latin typeface="Graphik" panose="020B0503030202060203" pitchFamily="34" charset="77"/>
              </a:defRPr>
            </a:lvl5pPr>
            <a:lvl6pPr rtl="0">
              <a:defRPr sz="900" b="0" i="0">
                <a:latin typeface="Graphik" panose="020B0503030202060203" pitchFamily="34" charset="77"/>
              </a:defRPr>
            </a:lvl6pPr>
          </a:lstStyle>
          <a:p>
            <a:pPr lvl="0"/>
            <a:r>
              <a:rPr lang="pt-BR"/>
              <a:t>Place text here</a:t>
            </a:r>
          </a:p>
          <a:p>
            <a:pPr lvl="1"/>
            <a:r>
              <a:rPr lang="pt-BR"/>
              <a:t>Second level </a:t>
            </a:r>
          </a:p>
          <a:p>
            <a:pPr lvl="2"/>
            <a:r>
              <a:rPr lang="pt-BR"/>
              <a:t>Third level</a:t>
            </a:r>
          </a:p>
          <a:p>
            <a:pPr lvl="3"/>
            <a:r>
              <a:rPr lang="pt-BR"/>
              <a:t>Fourth level</a:t>
            </a:r>
          </a:p>
          <a:p>
            <a:pPr lvl="4"/>
            <a:r>
              <a:rPr lang="pt-BR"/>
              <a:t>Fifth level</a:t>
            </a:r>
          </a:p>
          <a:p>
            <a:pPr lvl="5"/>
            <a:r>
              <a:rPr lang="pt-BR"/>
              <a:t>Sixth leve</a:t>
            </a:r>
            <a:endParaRPr lang="pt-BR" dirty="0"/>
          </a:p>
        </p:txBody>
      </p:sp>
      <p:sp>
        <p:nvSpPr>
          <p:cNvPr id="20" name="Text Placeholder 3">
            <a:extLst>
              <a:ext uri="{FF2B5EF4-FFF2-40B4-BE49-F238E27FC236}">
                <a16:creationId xmlns:a16="http://schemas.microsoft.com/office/drawing/2014/main" id="{96A48BF3-8AA9-50DC-49B0-265A2B870BDA}"/>
              </a:ext>
            </a:extLst>
          </p:cNvPr>
          <p:cNvSpPr>
            <a:spLocks noGrp="1"/>
          </p:cNvSpPr>
          <p:nvPr>
            <p:ph type="body" idx="37" hasCustomPrompt="1"/>
          </p:nvPr>
        </p:nvSpPr>
        <p:spPr>
          <a:xfrm>
            <a:off x="6245043" y="1844675"/>
            <a:ext cx="2578828" cy="457200"/>
          </a:xfrm>
          <a:prstGeom prst="rect">
            <a:avLst/>
          </a:prstGeom>
        </p:spPr>
        <p:txBody>
          <a:bodyPr anchor="t"/>
          <a:lstStyle>
            <a:lvl1pPr marL="0" indent="0" rtl="0">
              <a:spcAft>
                <a:spcPts val="0"/>
              </a:spcAft>
              <a:buNone/>
              <a:defRPr sz="2400" b="1" i="0">
                <a:solidFill>
                  <a:schemeClr val="bg2"/>
                </a:solidFill>
                <a:latin typeface="Graphik Semibold" panose="020B0503030202060203" pitchFamily="34" charset="77"/>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pt-BR"/>
              <a:t>#</a:t>
            </a:r>
            <a:endParaRPr lang="pt-BR" dirty="0"/>
          </a:p>
        </p:txBody>
      </p:sp>
      <p:sp>
        <p:nvSpPr>
          <p:cNvPr id="23" name="Text Placeholder 4">
            <a:extLst>
              <a:ext uri="{FF2B5EF4-FFF2-40B4-BE49-F238E27FC236}">
                <a16:creationId xmlns:a16="http://schemas.microsoft.com/office/drawing/2014/main" id="{6CA89A9C-8BF9-8CDF-3629-2C1B8ED659BD}"/>
              </a:ext>
            </a:extLst>
          </p:cNvPr>
          <p:cNvSpPr>
            <a:spLocks noGrp="1"/>
          </p:cNvSpPr>
          <p:nvPr>
            <p:ph type="body" idx="38" hasCustomPrompt="1"/>
          </p:nvPr>
        </p:nvSpPr>
        <p:spPr>
          <a:xfrm>
            <a:off x="6245043" y="2301875"/>
            <a:ext cx="2578828" cy="822960"/>
          </a:xfrm>
          <a:prstGeom prst="rect">
            <a:avLst/>
          </a:prstGeom>
        </p:spPr>
        <p:txBody>
          <a:bodyPr anchor="t"/>
          <a:lstStyle>
            <a:lvl1pPr marL="0" indent="0" rtl="0">
              <a:lnSpc>
                <a:spcPct val="90000"/>
              </a:lnSpc>
              <a:spcAft>
                <a:spcPts val="0"/>
              </a:spcAft>
              <a:buNone/>
              <a:defRPr sz="1600" b="1" i="0">
                <a:latin typeface="Graphik Semibold" panose="020B0503030202060203" pitchFamily="34" charset="77"/>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pt-BR"/>
              <a:t>Place headline here</a:t>
            </a:r>
            <a:endParaRPr lang="pt-BR" dirty="0"/>
          </a:p>
        </p:txBody>
      </p:sp>
      <p:sp>
        <p:nvSpPr>
          <p:cNvPr id="26" name="Content Placeholder 5">
            <a:extLst>
              <a:ext uri="{FF2B5EF4-FFF2-40B4-BE49-F238E27FC236}">
                <a16:creationId xmlns:a16="http://schemas.microsoft.com/office/drawing/2014/main" id="{AD7E4C39-2249-402B-D65E-2FB4E6A324A7}"/>
              </a:ext>
            </a:extLst>
          </p:cNvPr>
          <p:cNvSpPr>
            <a:spLocks noGrp="1"/>
          </p:cNvSpPr>
          <p:nvPr>
            <p:ph sz="half" idx="39" hasCustomPrompt="1"/>
          </p:nvPr>
        </p:nvSpPr>
        <p:spPr>
          <a:xfrm>
            <a:off x="6245043" y="3124834"/>
            <a:ext cx="2578828" cy="2761615"/>
          </a:xfrm>
          <a:prstGeom prst="rect">
            <a:avLst/>
          </a:prstGeom>
        </p:spPr>
        <p:txBody>
          <a:bodyPr/>
          <a:lstStyle>
            <a:lvl1pPr rtl="0">
              <a:spcAft>
                <a:spcPts val="600"/>
              </a:spcAft>
              <a:defRPr sz="1200" b="0" i="0">
                <a:latin typeface="Graphik" panose="020B0503030202060203" pitchFamily="34" charset="77"/>
              </a:defRPr>
            </a:lvl1pPr>
            <a:lvl2pPr rtl="0">
              <a:spcAft>
                <a:spcPts val="600"/>
              </a:spcAft>
              <a:defRPr sz="1200" b="0" i="0">
                <a:latin typeface="Graphik" panose="020B0503030202060203" pitchFamily="34" charset="77"/>
              </a:defRPr>
            </a:lvl2pPr>
            <a:lvl3pPr rtl="0">
              <a:spcAft>
                <a:spcPts val="600"/>
              </a:spcAft>
              <a:defRPr sz="1200" b="0" i="0">
                <a:latin typeface="Graphik" panose="020B0503030202060203" pitchFamily="34" charset="77"/>
              </a:defRPr>
            </a:lvl3pPr>
            <a:lvl4pPr rtl="0">
              <a:spcAft>
                <a:spcPts val="600"/>
              </a:spcAft>
              <a:defRPr sz="1100" b="0" i="0">
                <a:latin typeface="Graphik" panose="020B0503030202060203" pitchFamily="34" charset="77"/>
              </a:defRPr>
            </a:lvl4pPr>
            <a:lvl5pPr rtl="0">
              <a:spcAft>
                <a:spcPts val="600"/>
              </a:spcAft>
              <a:defRPr sz="1100" b="0" i="0">
                <a:latin typeface="Graphik" panose="020B0503030202060203" pitchFamily="34" charset="77"/>
              </a:defRPr>
            </a:lvl5pPr>
            <a:lvl6pPr rtl="0">
              <a:defRPr sz="900" b="0" i="0">
                <a:latin typeface="Graphik" panose="020B0503030202060203" pitchFamily="34" charset="77"/>
              </a:defRPr>
            </a:lvl6pPr>
          </a:lstStyle>
          <a:p>
            <a:pPr lvl="0"/>
            <a:r>
              <a:rPr lang="pt-BR"/>
              <a:t>Place text here</a:t>
            </a:r>
          </a:p>
          <a:p>
            <a:pPr lvl="1"/>
            <a:r>
              <a:rPr lang="pt-BR"/>
              <a:t>Second level</a:t>
            </a:r>
          </a:p>
          <a:p>
            <a:pPr lvl="2"/>
            <a:r>
              <a:rPr lang="pt-BR"/>
              <a:t>Third level</a:t>
            </a:r>
          </a:p>
          <a:p>
            <a:pPr lvl="3"/>
            <a:r>
              <a:rPr lang="pt-BR"/>
              <a:t>Fourth level</a:t>
            </a:r>
          </a:p>
          <a:p>
            <a:pPr lvl="4"/>
            <a:r>
              <a:rPr lang="pt-BR"/>
              <a:t>Fifth level</a:t>
            </a:r>
          </a:p>
          <a:p>
            <a:pPr lvl="5"/>
            <a:r>
              <a:rPr lang="pt-BR"/>
              <a:t>Sixth level</a:t>
            </a:r>
            <a:endParaRPr lang="pt-BR" dirty="0"/>
          </a:p>
        </p:txBody>
      </p:sp>
      <p:sp>
        <p:nvSpPr>
          <p:cNvPr id="34" name="Text Placeholder 3">
            <a:extLst>
              <a:ext uri="{FF2B5EF4-FFF2-40B4-BE49-F238E27FC236}">
                <a16:creationId xmlns:a16="http://schemas.microsoft.com/office/drawing/2014/main" id="{DC7DFE68-FFE1-E798-3629-CF0323B2195E}"/>
              </a:ext>
            </a:extLst>
          </p:cNvPr>
          <p:cNvSpPr>
            <a:spLocks noGrp="1"/>
          </p:cNvSpPr>
          <p:nvPr>
            <p:ph type="body" idx="40" hasCustomPrompt="1"/>
          </p:nvPr>
        </p:nvSpPr>
        <p:spPr>
          <a:xfrm>
            <a:off x="9086850" y="1844675"/>
            <a:ext cx="2578828" cy="457200"/>
          </a:xfrm>
          <a:prstGeom prst="rect">
            <a:avLst/>
          </a:prstGeom>
        </p:spPr>
        <p:txBody>
          <a:bodyPr anchor="t"/>
          <a:lstStyle>
            <a:lvl1pPr marL="0" indent="0" rtl="0">
              <a:spcAft>
                <a:spcPts val="0"/>
              </a:spcAft>
              <a:buNone/>
              <a:defRPr sz="2400" b="1" i="0">
                <a:solidFill>
                  <a:schemeClr val="bg2"/>
                </a:solidFill>
                <a:latin typeface="Graphik Semibold" panose="020B0503030202060203" pitchFamily="34" charset="77"/>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pt-BR"/>
              <a:t>#</a:t>
            </a:r>
            <a:endParaRPr lang="pt-BR" dirty="0"/>
          </a:p>
        </p:txBody>
      </p:sp>
      <p:sp>
        <p:nvSpPr>
          <p:cNvPr id="35" name="Text Placeholder 4">
            <a:extLst>
              <a:ext uri="{FF2B5EF4-FFF2-40B4-BE49-F238E27FC236}">
                <a16:creationId xmlns:a16="http://schemas.microsoft.com/office/drawing/2014/main" id="{0A5C4BB7-F326-497E-84F9-02B889C225A4}"/>
              </a:ext>
            </a:extLst>
          </p:cNvPr>
          <p:cNvSpPr>
            <a:spLocks noGrp="1"/>
          </p:cNvSpPr>
          <p:nvPr>
            <p:ph type="body" idx="41" hasCustomPrompt="1"/>
          </p:nvPr>
        </p:nvSpPr>
        <p:spPr>
          <a:xfrm>
            <a:off x="9086850" y="2301875"/>
            <a:ext cx="2578828" cy="822960"/>
          </a:xfrm>
          <a:prstGeom prst="rect">
            <a:avLst/>
          </a:prstGeom>
        </p:spPr>
        <p:txBody>
          <a:bodyPr anchor="t"/>
          <a:lstStyle>
            <a:lvl1pPr marL="0" indent="0" rtl="0">
              <a:lnSpc>
                <a:spcPct val="90000"/>
              </a:lnSpc>
              <a:spcAft>
                <a:spcPts val="0"/>
              </a:spcAft>
              <a:buNone/>
              <a:defRPr sz="1600" b="1" i="0">
                <a:latin typeface="Graphik Semibold" panose="020B0503030202060203" pitchFamily="34" charset="77"/>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pt-BR"/>
              <a:t>Place headline here</a:t>
            </a:r>
            <a:endParaRPr lang="pt-BR" dirty="0"/>
          </a:p>
        </p:txBody>
      </p:sp>
      <p:sp>
        <p:nvSpPr>
          <p:cNvPr id="36" name="Content Placeholder 5">
            <a:extLst>
              <a:ext uri="{FF2B5EF4-FFF2-40B4-BE49-F238E27FC236}">
                <a16:creationId xmlns:a16="http://schemas.microsoft.com/office/drawing/2014/main" id="{D4259B04-F910-6FD9-9F42-BCED33ECAEA9}"/>
              </a:ext>
            </a:extLst>
          </p:cNvPr>
          <p:cNvSpPr>
            <a:spLocks noGrp="1"/>
          </p:cNvSpPr>
          <p:nvPr>
            <p:ph sz="half" idx="42" hasCustomPrompt="1"/>
          </p:nvPr>
        </p:nvSpPr>
        <p:spPr>
          <a:xfrm>
            <a:off x="9086850" y="3124834"/>
            <a:ext cx="2578828" cy="2761615"/>
          </a:xfrm>
          <a:prstGeom prst="rect">
            <a:avLst/>
          </a:prstGeom>
        </p:spPr>
        <p:txBody>
          <a:bodyPr/>
          <a:lstStyle>
            <a:lvl1pPr rtl="0">
              <a:spcAft>
                <a:spcPts val="600"/>
              </a:spcAft>
              <a:defRPr sz="1200" b="0" i="0">
                <a:latin typeface="Graphik" panose="020B0503030202060203" pitchFamily="34" charset="77"/>
              </a:defRPr>
            </a:lvl1pPr>
            <a:lvl2pPr rtl="0">
              <a:spcAft>
                <a:spcPts val="600"/>
              </a:spcAft>
              <a:defRPr sz="1200" b="0" i="0">
                <a:latin typeface="Graphik" panose="020B0503030202060203" pitchFamily="34" charset="77"/>
              </a:defRPr>
            </a:lvl2pPr>
            <a:lvl3pPr rtl="0">
              <a:spcAft>
                <a:spcPts val="600"/>
              </a:spcAft>
              <a:defRPr sz="1200" b="0" i="0">
                <a:latin typeface="Graphik" panose="020B0503030202060203" pitchFamily="34" charset="77"/>
              </a:defRPr>
            </a:lvl3pPr>
            <a:lvl4pPr rtl="0">
              <a:spcAft>
                <a:spcPts val="600"/>
              </a:spcAft>
              <a:defRPr sz="1100" b="0" i="0">
                <a:latin typeface="Graphik" panose="020B0503030202060203" pitchFamily="34" charset="77"/>
              </a:defRPr>
            </a:lvl4pPr>
            <a:lvl5pPr rtl="0">
              <a:spcAft>
                <a:spcPts val="600"/>
              </a:spcAft>
              <a:defRPr sz="1100" b="0" i="0">
                <a:latin typeface="Graphik" panose="020B0503030202060203" pitchFamily="34" charset="77"/>
              </a:defRPr>
            </a:lvl5pPr>
            <a:lvl6pPr rtl="0">
              <a:defRPr sz="900" b="0" i="0">
                <a:latin typeface="Graphik" panose="020B0503030202060203" pitchFamily="34" charset="77"/>
              </a:defRPr>
            </a:lvl6pPr>
          </a:lstStyle>
          <a:p>
            <a:pPr lvl="0"/>
            <a:r>
              <a:rPr lang="pt-BR"/>
              <a:t>Place text here</a:t>
            </a:r>
          </a:p>
          <a:p>
            <a:pPr lvl="1"/>
            <a:r>
              <a:rPr lang="pt-BR"/>
              <a:t>Second level</a:t>
            </a:r>
          </a:p>
          <a:p>
            <a:pPr lvl="2"/>
            <a:r>
              <a:rPr lang="pt-BR"/>
              <a:t>Third level</a:t>
            </a:r>
          </a:p>
          <a:p>
            <a:pPr lvl="3"/>
            <a:r>
              <a:rPr lang="pt-BR"/>
              <a:t>Fourth leve</a:t>
            </a:r>
          </a:p>
          <a:p>
            <a:pPr lvl="4"/>
            <a:r>
              <a:rPr lang="pt-BR"/>
              <a:t>Fifth level</a:t>
            </a:r>
          </a:p>
          <a:p>
            <a:pPr lvl="5"/>
            <a:r>
              <a:rPr lang="pt-BR"/>
              <a:t>Sixth level </a:t>
            </a:r>
            <a:endParaRPr lang="pt-BR" dirty="0"/>
          </a:p>
        </p:txBody>
      </p:sp>
    </p:spTree>
    <p:extLst>
      <p:ext uri="{BB962C8B-B14F-4D97-AF65-F5344CB8AC3E}">
        <p14:creationId xmlns:p14="http://schemas.microsoft.com/office/powerpoint/2010/main" val="179670474"/>
      </p:ext>
    </p:extLst>
  </p:cSld>
  <p:clrMapOvr>
    <a:masterClrMapping/>
  </p:clrMapOvr>
  <p:extLst>
    <p:ext uri="{DCECCB84-F9BA-43D5-87BE-67443E8EF086}">
      <p15:sldGuideLst xmlns:p15="http://schemas.microsoft.com/office/powerpoint/2012/main">
        <p15:guide id="1" orient="horz" pos="2775" userDrawn="1">
          <p15:clr>
            <a:srgbClr val="C35EA4"/>
          </p15:clr>
        </p15:guide>
        <p15:guide id="2" orient="horz" pos="699" userDrawn="1">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tabl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C89B63D-4192-F949-88A0-8B2923C4AA5F}"/>
              </a:ext>
            </a:extLst>
          </p:cNvPr>
          <p:cNvGraphicFramePr>
            <a:graphicFrameLocks noChangeAspect="1"/>
          </p:cNvGraphicFramePr>
          <p:nvPr userDrawn="1">
            <p:custDataLst>
              <p:tags r:id="rId1"/>
            </p:custDataLst>
            <p:extLst>
              <p:ext uri="{D42A27DB-BD31-4B8C-83A1-F6EECF244321}">
                <p14:modId xmlns:p14="http://schemas.microsoft.com/office/powerpoint/2010/main" val="493277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4" name="think-cell data - do not delete" hidden="1">
                        <a:extLst>
                          <a:ext uri="{FF2B5EF4-FFF2-40B4-BE49-F238E27FC236}">
                            <a16:creationId xmlns:a16="http://schemas.microsoft.com/office/drawing/2014/main" id="{2C89B63D-4192-F949-88A0-8B2923C4AA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2C0743A-ADC6-831B-B51D-02359B5DA97F}"/>
              </a:ext>
            </a:extLst>
          </p:cNvPr>
          <p:cNvSpPr>
            <a:spLocks noGrp="1"/>
          </p:cNvSpPr>
          <p:nvPr>
            <p:ph type="title"/>
          </p:nvPr>
        </p:nvSpPr>
        <p:spPr/>
        <p:txBody>
          <a:bodyPr vert="horz"/>
          <a:lstStyle>
            <a:lvl1pPr rtl="0">
              <a:defRPr/>
            </a:lvl1pPr>
          </a:lstStyle>
          <a:p>
            <a:r>
              <a:rPr lang="pt-BR"/>
              <a:t>Click to edit Master title style</a:t>
            </a:r>
            <a:endParaRPr lang="pt-BR" dirty="0"/>
          </a:p>
        </p:txBody>
      </p:sp>
      <p:cxnSp>
        <p:nvCxnSpPr>
          <p:cNvPr id="6" name="Straight Connector 5">
            <a:extLst>
              <a:ext uri="{FF2B5EF4-FFF2-40B4-BE49-F238E27FC236}">
                <a16:creationId xmlns:a16="http://schemas.microsoft.com/office/drawing/2014/main" id="{EE89688D-4CDD-6E55-2855-3448FFAECBE1}"/>
              </a:ext>
            </a:extLst>
          </p:cNvPr>
          <p:cNvCxnSpPr>
            <a:cxnSpLocks/>
          </p:cNvCxnSpPr>
          <p:nvPr userDrawn="1"/>
        </p:nvCxnSpPr>
        <p:spPr>
          <a:xfrm>
            <a:off x="550863" y="2386126"/>
            <a:ext cx="1109027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03AD4217-E551-509C-58B9-B95944CCB63E}"/>
              </a:ext>
            </a:extLst>
          </p:cNvPr>
          <p:cNvCxnSpPr>
            <a:cxnSpLocks/>
          </p:cNvCxnSpPr>
          <p:nvPr userDrawn="1"/>
        </p:nvCxnSpPr>
        <p:spPr>
          <a:xfrm>
            <a:off x="550863" y="3393857"/>
            <a:ext cx="1109027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37" name="Text Placeholder 3">
            <a:extLst>
              <a:ext uri="{FF2B5EF4-FFF2-40B4-BE49-F238E27FC236}">
                <a16:creationId xmlns:a16="http://schemas.microsoft.com/office/drawing/2014/main" id="{13E1FBEF-5FF1-E9BB-F6B9-7326BB5CB80A}"/>
              </a:ext>
            </a:extLst>
          </p:cNvPr>
          <p:cNvSpPr>
            <a:spLocks noGrp="1"/>
          </p:cNvSpPr>
          <p:nvPr>
            <p:ph type="body" sz="quarter" idx="26" hasCustomPrompt="1"/>
          </p:nvPr>
        </p:nvSpPr>
        <p:spPr>
          <a:xfrm>
            <a:off x="563411" y="1609787"/>
            <a:ext cx="4958430" cy="384048"/>
          </a:xfrm>
          <a:prstGeom prst="rect">
            <a:avLst/>
          </a:prstGeom>
        </p:spPr>
        <p:txBody>
          <a:bodyPr anchor="t"/>
          <a:lstStyle>
            <a:lvl1pPr marL="0" indent="0" rtl="0">
              <a:spcAft>
                <a:spcPts val="0"/>
              </a:spcAft>
              <a:buNone/>
              <a:defRPr sz="1800" b="0" i="0">
                <a:solidFill>
                  <a:schemeClr val="tx1"/>
                </a:solidFill>
                <a:latin typeface="Graphik" panose="020B0503030202060203" pitchFamily="34" charset="77"/>
              </a:defRPr>
            </a:lvl1pPr>
          </a:lstStyle>
          <a:p>
            <a:pPr lvl="0"/>
            <a:r>
              <a:rPr lang="pt-BR"/>
              <a:t>Place subtitle here in Graphik regular</a:t>
            </a:r>
            <a:endParaRPr lang="pt-BR" dirty="0"/>
          </a:p>
        </p:txBody>
      </p:sp>
      <p:sp>
        <p:nvSpPr>
          <p:cNvPr id="38" name="Text Placeholder 3a">
            <a:extLst>
              <a:ext uri="{FF2B5EF4-FFF2-40B4-BE49-F238E27FC236}">
                <a16:creationId xmlns:a16="http://schemas.microsoft.com/office/drawing/2014/main" id="{B9824907-86E3-1531-50ED-112E1C8CF38B}"/>
              </a:ext>
            </a:extLst>
          </p:cNvPr>
          <p:cNvSpPr>
            <a:spLocks noGrp="1"/>
          </p:cNvSpPr>
          <p:nvPr>
            <p:ph type="body" idx="22" hasCustomPrompt="1"/>
          </p:nvPr>
        </p:nvSpPr>
        <p:spPr>
          <a:xfrm>
            <a:off x="563411" y="2527859"/>
            <a:ext cx="2510646" cy="732360"/>
          </a:xfrm>
          <a:prstGeom prst="rect">
            <a:avLst/>
          </a:prstGeom>
        </p:spPr>
        <p:txBody>
          <a:bodyPr anchor="t"/>
          <a:lstStyle>
            <a:lvl1pPr marL="0" indent="0" rtl="0">
              <a:lnSpc>
                <a:spcPct val="90000"/>
              </a:lnSpc>
              <a:spcAft>
                <a:spcPts val="0"/>
              </a:spcAft>
              <a:buNone/>
              <a:defRPr sz="1600" b="0" i="0">
                <a:latin typeface="Graphik Semibold" panose="020B0703030202060203"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pt-BR"/>
              <a:t>Text here</a:t>
            </a:r>
            <a:endParaRPr lang="pt-BR" dirty="0"/>
          </a:p>
        </p:txBody>
      </p:sp>
      <p:sp>
        <p:nvSpPr>
          <p:cNvPr id="48" name="Text Placeholder 47">
            <a:extLst>
              <a:ext uri="{FF2B5EF4-FFF2-40B4-BE49-F238E27FC236}">
                <a16:creationId xmlns:a16="http://schemas.microsoft.com/office/drawing/2014/main" id="{F08F731E-CEF1-4878-3FD0-FAD6C27FD39A}"/>
              </a:ext>
            </a:extLst>
          </p:cNvPr>
          <p:cNvSpPr>
            <a:spLocks noGrp="1"/>
          </p:cNvSpPr>
          <p:nvPr>
            <p:ph type="body" sz="quarter" idx="28" hasCustomPrompt="1"/>
          </p:nvPr>
        </p:nvSpPr>
        <p:spPr>
          <a:xfrm>
            <a:off x="4743153" y="2525284"/>
            <a:ext cx="3535873" cy="734935"/>
          </a:xfrm>
        </p:spPr>
        <p:txBody>
          <a:bodyPr/>
          <a:lstStyle>
            <a:lvl1pPr rtl="0">
              <a:defRPr lang="en-US" sz="1200" b="0" kern="1200" dirty="0" smtClean="0">
                <a:solidFill>
                  <a:schemeClr val="tx1"/>
                </a:solidFill>
                <a:latin typeface="+mn-lt"/>
                <a:ea typeface="+mn-ea"/>
                <a:cs typeface="+mn-cs"/>
              </a:defRPr>
            </a:lvl1pPr>
            <a:lvl2pPr>
              <a:defRPr lang="en-US" sz="1400" b="0" kern="1200" dirty="0" smtClean="0">
                <a:solidFill>
                  <a:schemeClr val="tx1"/>
                </a:solidFill>
                <a:latin typeface="+mn-lt"/>
                <a:ea typeface="+mn-ea"/>
                <a:cs typeface="+mn-cs"/>
              </a:defRPr>
            </a:lvl2pPr>
            <a:lvl3pPr>
              <a:defRPr/>
            </a:lvl3pPr>
            <a:lvl4pPr>
              <a:defRPr/>
            </a:lvl4pPr>
            <a:lvl5pPr>
              <a:defRPr/>
            </a:lvl5pPr>
          </a:lstStyle>
          <a:p>
            <a:pPr lvl="0"/>
            <a:r>
              <a:rPr lang="pt-BR"/>
              <a:t>Click to edit Master text styles. Lorem ipsum dolor sit amet, consectetur adipiscing elit.</a:t>
            </a:r>
            <a:endParaRPr lang="pt-BR" dirty="0"/>
          </a:p>
        </p:txBody>
      </p:sp>
      <p:sp>
        <p:nvSpPr>
          <p:cNvPr id="50" name="Text Placeholder 3a">
            <a:extLst>
              <a:ext uri="{FF2B5EF4-FFF2-40B4-BE49-F238E27FC236}">
                <a16:creationId xmlns:a16="http://schemas.microsoft.com/office/drawing/2014/main" id="{26505188-6359-30FA-BD41-1EE3AE7460F8}"/>
              </a:ext>
            </a:extLst>
          </p:cNvPr>
          <p:cNvSpPr>
            <a:spLocks noGrp="1"/>
          </p:cNvSpPr>
          <p:nvPr>
            <p:ph type="body" idx="29" hasCustomPrompt="1"/>
          </p:nvPr>
        </p:nvSpPr>
        <p:spPr>
          <a:xfrm>
            <a:off x="9948122" y="2527859"/>
            <a:ext cx="1680467" cy="732360"/>
          </a:xfrm>
          <a:prstGeom prst="rect">
            <a:avLst/>
          </a:prstGeom>
        </p:spPr>
        <p:txBody>
          <a:bodyPr anchor="t"/>
          <a:lstStyle>
            <a:lvl1pPr marL="0" indent="0" rtl="0">
              <a:lnSpc>
                <a:spcPct val="90000"/>
              </a:lnSpc>
              <a:spcAft>
                <a:spcPts val="0"/>
              </a:spcAft>
              <a:buNone/>
              <a:defRPr sz="1600" b="0" i="0">
                <a:solidFill>
                  <a:schemeClr val="bg2"/>
                </a:solidFill>
                <a:latin typeface="+mn-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pt-BR"/>
              <a:t>Text here</a:t>
            </a:r>
            <a:endParaRPr lang="pt-BR" dirty="0"/>
          </a:p>
        </p:txBody>
      </p:sp>
      <p:sp>
        <p:nvSpPr>
          <p:cNvPr id="52" name="Text Placeholder 3a">
            <a:extLst>
              <a:ext uri="{FF2B5EF4-FFF2-40B4-BE49-F238E27FC236}">
                <a16:creationId xmlns:a16="http://schemas.microsoft.com/office/drawing/2014/main" id="{2F8B0EA0-CACA-263A-C93F-CBC13D1410B5}"/>
              </a:ext>
            </a:extLst>
          </p:cNvPr>
          <p:cNvSpPr>
            <a:spLocks noGrp="1"/>
          </p:cNvSpPr>
          <p:nvPr>
            <p:ph type="body" idx="30" hasCustomPrompt="1"/>
          </p:nvPr>
        </p:nvSpPr>
        <p:spPr>
          <a:xfrm>
            <a:off x="575960" y="3541109"/>
            <a:ext cx="2510646" cy="732360"/>
          </a:xfrm>
          <a:prstGeom prst="rect">
            <a:avLst/>
          </a:prstGeom>
        </p:spPr>
        <p:txBody>
          <a:bodyPr anchor="t"/>
          <a:lstStyle>
            <a:lvl1pPr marL="0" indent="0" rtl="0">
              <a:lnSpc>
                <a:spcPct val="90000"/>
              </a:lnSpc>
              <a:spcAft>
                <a:spcPts val="0"/>
              </a:spcAft>
              <a:buNone/>
              <a:defRPr sz="1600" b="0" i="0">
                <a:latin typeface="Graphik Semibold" panose="020B0703030202060203"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pt-BR"/>
              <a:t>Text here</a:t>
            </a:r>
            <a:endParaRPr lang="pt-BR" dirty="0"/>
          </a:p>
        </p:txBody>
      </p:sp>
      <p:cxnSp>
        <p:nvCxnSpPr>
          <p:cNvPr id="53" name="Straight Connector 52">
            <a:extLst>
              <a:ext uri="{FF2B5EF4-FFF2-40B4-BE49-F238E27FC236}">
                <a16:creationId xmlns:a16="http://schemas.microsoft.com/office/drawing/2014/main" id="{6C42FCDB-4459-39E5-63C4-5DCECB1F820C}"/>
              </a:ext>
            </a:extLst>
          </p:cNvPr>
          <p:cNvCxnSpPr>
            <a:cxnSpLocks/>
          </p:cNvCxnSpPr>
          <p:nvPr userDrawn="1"/>
        </p:nvCxnSpPr>
        <p:spPr>
          <a:xfrm>
            <a:off x="563412" y="4412630"/>
            <a:ext cx="1109027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4" name="Text Placeholder 47">
            <a:extLst>
              <a:ext uri="{FF2B5EF4-FFF2-40B4-BE49-F238E27FC236}">
                <a16:creationId xmlns:a16="http://schemas.microsoft.com/office/drawing/2014/main" id="{D9BC5705-EC9D-D2BB-D13E-6DCF41A2CFBA}"/>
              </a:ext>
            </a:extLst>
          </p:cNvPr>
          <p:cNvSpPr>
            <a:spLocks noGrp="1"/>
          </p:cNvSpPr>
          <p:nvPr>
            <p:ph type="body" sz="quarter" idx="31" hasCustomPrompt="1"/>
          </p:nvPr>
        </p:nvSpPr>
        <p:spPr>
          <a:xfrm>
            <a:off x="4755702" y="3538534"/>
            <a:ext cx="3535873" cy="734935"/>
          </a:xfrm>
        </p:spPr>
        <p:txBody>
          <a:bodyPr/>
          <a:lstStyle>
            <a:lvl1pPr rtl="0">
              <a:defRPr lang="en-US" sz="1200" b="0" kern="1200" dirty="0" smtClean="0">
                <a:solidFill>
                  <a:schemeClr val="tx1"/>
                </a:solidFill>
                <a:latin typeface="+mn-lt"/>
                <a:ea typeface="+mn-ea"/>
                <a:cs typeface="+mn-cs"/>
              </a:defRPr>
            </a:lvl1pPr>
            <a:lvl2pPr>
              <a:defRPr lang="en-US" sz="1400" b="0" kern="1200" dirty="0" smtClean="0">
                <a:solidFill>
                  <a:schemeClr val="tx1"/>
                </a:solidFill>
                <a:latin typeface="+mn-lt"/>
                <a:ea typeface="+mn-ea"/>
                <a:cs typeface="+mn-cs"/>
              </a:defRPr>
            </a:lvl2pPr>
            <a:lvl3pPr>
              <a:defRPr/>
            </a:lvl3pPr>
            <a:lvl4pPr>
              <a:defRPr/>
            </a:lvl4pPr>
            <a:lvl5pPr>
              <a:defRPr/>
            </a:lvl5pPr>
          </a:lstStyle>
          <a:p>
            <a:pPr lvl="0"/>
            <a:r>
              <a:rPr lang="pt-BR"/>
              <a:t>Click to edit Master text styles. Lorem ipsum dolor sit amet, consectetur adipiscing elit.</a:t>
            </a:r>
            <a:endParaRPr lang="pt-BR" dirty="0"/>
          </a:p>
        </p:txBody>
      </p:sp>
      <p:sp>
        <p:nvSpPr>
          <p:cNvPr id="55" name="Text Placeholder 3a">
            <a:extLst>
              <a:ext uri="{FF2B5EF4-FFF2-40B4-BE49-F238E27FC236}">
                <a16:creationId xmlns:a16="http://schemas.microsoft.com/office/drawing/2014/main" id="{63F87C57-352F-9F6B-1FEC-F82F24A89FD5}"/>
              </a:ext>
            </a:extLst>
          </p:cNvPr>
          <p:cNvSpPr>
            <a:spLocks noGrp="1"/>
          </p:cNvSpPr>
          <p:nvPr>
            <p:ph type="body" idx="32" hasCustomPrompt="1"/>
          </p:nvPr>
        </p:nvSpPr>
        <p:spPr>
          <a:xfrm>
            <a:off x="9960671" y="3541109"/>
            <a:ext cx="1680467" cy="732360"/>
          </a:xfrm>
          <a:prstGeom prst="rect">
            <a:avLst/>
          </a:prstGeom>
        </p:spPr>
        <p:txBody>
          <a:bodyPr anchor="t"/>
          <a:lstStyle>
            <a:lvl1pPr marL="0" indent="0" rtl="0">
              <a:lnSpc>
                <a:spcPct val="90000"/>
              </a:lnSpc>
              <a:spcAft>
                <a:spcPts val="0"/>
              </a:spcAft>
              <a:buNone/>
              <a:defRPr sz="1600" b="0" i="0">
                <a:solidFill>
                  <a:schemeClr val="bg2"/>
                </a:solidFill>
                <a:latin typeface="+mn-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pt-BR"/>
              <a:t>Text here</a:t>
            </a:r>
            <a:endParaRPr lang="pt-BR" dirty="0"/>
          </a:p>
        </p:txBody>
      </p:sp>
      <p:cxnSp>
        <p:nvCxnSpPr>
          <p:cNvPr id="57" name="Straight Connector 56">
            <a:extLst>
              <a:ext uri="{FF2B5EF4-FFF2-40B4-BE49-F238E27FC236}">
                <a16:creationId xmlns:a16="http://schemas.microsoft.com/office/drawing/2014/main" id="{7691468D-335A-5F09-ECAE-A20FF3432172}"/>
              </a:ext>
            </a:extLst>
          </p:cNvPr>
          <p:cNvCxnSpPr>
            <a:cxnSpLocks/>
          </p:cNvCxnSpPr>
          <p:nvPr userDrawn="1"/>
        </p:nvCxnSpPr>
        <p:spPr>
          <a:xfrm>
            <a:off x="563411" y="5409319"/>
            <a:ext cx="1109027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8" name="Text Placeholder 3a">
            <a:extLst>
              <a:ext uri="{FF2B5EF4-FFF2-40B4-BE49-F238E27FC236}">
                <a16:creationId xmlns:a16="http://schemas.microsoft.com/office/drawing/2014/main" id="{6A205F7E-A1D0-35BC-AC88-4EDB1ABA180C}"/>
              </a:ext>
            </a:extLst>
          </p:cNvPr>
          <p:cNvSpPr>
            <a:spLocks noGrp="1"/>
          </p:cNvSpPr>
          <p:nvPr>
            <p:ph type="body" idx="33" hasCustomPrompt="1"/>
          </p:nvPr>
        </p:nvSpPr>
        <p:spPr>
          <a:xfrm>
            <a:off x="575959" y="4543321"/>
            <a:ext cx="2510646" cy="732360"/>
          </a:xfrm>
          <a:prstGeom prst="rect">
            <a:avLst/>
          </a:prstGeom>
        </p:spPr>
        <p:txBody>
          <a:bodyPr anchor="t"/>
          <a:lstStyle>
            <a:lvl1pPr marL="0" indent="0" rtl="0">
              <a:lnSpc>
                <a:spcPct val="90000"/>
              </a:lnSpc>
              <a:spcAft>
                <a:spcPts val="0"/>
              </a:spcAft>
              <a:buNone/>
              <a:defRPr sz="1600" b="0" i="0">
                <a:latin typeface="Graphik Semibold" panose="020B0703030202060203"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pt-BR"/>
              <a:t>Text here</a:t>
            </a:r>
            <a:endParaRPr lang="pt-BR" dirty="0"/>
          </a:p>
        </p:txBody>
      </p:sp>
      <p:sp>
        <p:nvSpPr>
          <p:cNvPr id="60" name="Text Placeholder 47">
            <a:extLst>
              <a:ext uri="{FF2B5EF4-FFF2-40B4-BE49-F238E27FC236}">
                <a16:creationId xmlns:a16="http://schemas.microsoft.com/office/drawing/2014/main" id="{976843C5-C03A-A8D3-E5FA-0F07BFBDD774}"/>
              </a:ext>
            </a:extLst>
          </p:cNvPr>
          <p:cNvSpPr>
            <a:spLocks noGrp="1"/>
          </p:cNvSpPr>
          <p:nvPr>
            <p:ph type="body" sz="quarter" idx="34" hasCustomPrompt="1"/>
          </p:nvPr>
        </p:nvSpPr>
        <p:spPr>
          <a:xfrm>
            <a:off x="4755701" y="4540746"/>
            <a:ext cx="3535873" cy="734935"/>
          </a:xfrm>
        </p:spPr>
        <p:txBody>
          <a:bodyPr/>
          <a:lstStyle>
            <a:lvl1pPr rtl="0">
              <a:defRPr lang="en-US" sz="1200" b="0" kern="1200" dirty="0" smtClean="0">
                <a:solidFill>
                  <a:schemeClr val="tx1"/>
                </a:solidFill>
                <a:latin typeface="+mn-lt"/>
                <a:ea typeface="+mn-ea"/>
                <a:cs typeface="+mn-cs"/>
              </a:defRPr>
            </a:lvl1pPr>
            <a:lvl2pPr>
              <a:defRPr lang="en-US" sz="1400" b="0" kern="1200" dirty="0" smtClean="0">
                <a:solidFill>
                  <a:schemeClr val="tx1"/>
                </a:solidFill>
                <a:latin typeface="+mn-lt"/>
                <a:ea typeface="+mn-ea"/>
                <a:cs typeface="+mn-cs"/>
              </a:defRPr>
            </a:lvl2pPr>
            <a:lvl3pPr>
              <a:defRPr/>
            </a:lvl3pPr>
            <a:lvl4pPr>
              <a:defRPr/>
            </a:lvl4pPr>
            <a:lvl5pPr>
              <a:defRPr/>
            </a:lvl5pPr>
          </a:lstStyle>
          <a:p>
            <a:pPr lvl="0"/>
            <a:r>
              <a:rPr lang="pt-BR"/>
              <a:t>Click to edit Master text styles. Lorem ipsum dolor sit amet, consectetur adipiscing elit.</a:t>
            </a:r>
            <a:endParaRPr lang="pt-BR" dirty="0"/>
          </a:p>
        </p:txBody>
      </p:sp>
      <p:sp>
        <p:nvSpPr>
          <p:cNvPr id="61" name="Text Placeholder 3a">
            <a:extLst>
              <a:ext uri="{FF2B5EF4-FFF2-40B4-BE49-F238E27FC236}">
                <a16:creationId xmlns:a16="http://schemas.microsoft.com/office/drawing/2014/main" id="{99F72155-DC8E-FD59-347A-8E42F7539245}"/>
              </a:ext>
            </a:extLst>
          </p:cNvPr>
          <p:cNvSpPr>
            <a:spLocks noGrp="1"/>
          </p:cNvSpPr>
          <p:nvPr>
            <p:ph type="body" idx="35" hasCustomPrompt="1"/>
          </p:nvPr>
        </p:nvSpPr>
        <p:spPr>
          <a:xfrm>
            <a:off x="9960670" y="4543321"/>
            <a:ext cx="1680467" cy="732360"/>
          </a:xfrm>
          <a:prstGeom prst="rect">
            <a:avLst/>
          </a:prstGeom>
        </p:spPr>
        <p:txBody>
          <a:bodyPr anchor="t"/>
          <a:lstStyle>
            <a:lvl1pPr marL="0" indent="0" rtl="0">
              <a:lnSpc>
                <a:spcPct val="90000"/>
              </a:lnSpc>
              <a:spcAft>
                <a:spcPts val="0"/>
              </a:spcAft>
              <a:buNone/>
              <a:defRPr sz="1600" b="0" i="0">
                <a:solidFill>
                  <a:schemeClr val="bg2"/>
                </a:solidFill>
                <a:latin typeface="+mn-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pt-BR"/>
              <a:t>Text here</a:t>
            </a:r>
            <a:endParaRPr lang="pt-BR" dirty="0"/>
          </a:p>
        </p:txBody>
      </p:sp>
      <p:sp>
        <p:nvSpPr>
          <p:cNvPr id="62" name="Text Placeholder 3a">
            <a:extLst>
              <a:ext uri="{FF2B5EF4-FFF2-40B4-BE49-F238E27FC236}">
                <a16:creationId xmlns:a16="http://schemas.microsoft.com/office/drawing/2014/main" id="{46463B47-CA2F-FBD9-29CC-24F465D0AE42}"/>
              </a:ext>
            </a:extLst>
          </p:cNvPr>
          <p:cNvSpPr>
            <a:spLocks noGrp="1"/>
          </p:cNvSpPr>
          <p:nvPr>
            <p:ph type="body" idx="36" hasCustomPrompt="1"/>
          </p:nvPr>
        </p:nvSpPr>
        <p:spPr>
          <a:xfrm>
            <a:off x="588508" y="5556571"/>
            <a:ext cx="2510646" cy="732360"/>
          </a:xfrm>
          <a:prstGeom prst="rect">
            <a:avLst/>
          </a:prstGeom>
        </p:spPr>
        <p:txBody>
          <a:bodyPr anchor="t"/>
          <a:lstStyle>
            <a:lvl1pPr marL="0" indent="0" rtl="0">
              <a:lnSpc>
                <a:spcPct val="90000"/>
              </a:lnSpc>
              <a:spcAft>
                <a:spcPts val="0"/>
              </a:spcAft>
              <a:buNone/>
              <a:defRPr sz="1600" b="0" i="0">
                <a:latin typeface="Graphik Semibold" panose="020B0703030202060203"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pt-BR"/>
              <a:t>Text here</a:t>
            </a:r>
            <a:endParaRPr lang="pt-BR" dirty="0"/>
          </a:p>
        </p:txBody>
      </p:sp>
      <p:sp>
        <p:nvSpPr>
          <p:cNvPr id="64" name="Text Placeholder 47">
            <a:extLst>
              <a:ext uri="{FF2B5EF4-FFF2-40B4-BE49-F238E27FC236}">
                <a16:creationId xmlns:a16="http://schemas.microsoft.com/office/drawing/2014/main" id="{AE0584A6-3ABE-9106-5EC5-8BBE05F01F0E}"/>
              </a:ext>
            </a:extLst>
          </p:cNvPr>
          <p:cNvSpPr>
            <a:spLocks noGrp="1"/>
          </p:cNvSpPr>
          <p:nvPr>
            <p:ph type="body" sz="quarter" idx="37" hasCustomPrompt="1"/>
          </p:nvPr>
        </p:nvSpPr>
        <p:spPr>
          <a:xfrm>
            <a:off x="4768250" y="5553996"/>
            <a:ext cx="3535873" cy="734935"/>
          </a:xfrm>
        </p:spPr>
        <p:txBody>
          <a:bodyPr/>
          <a:lstStyle>
            <a:lvl1pPr rtl="0">
              <a:defRPr lang="en-US" sz="1200" b="0" kern="1200" dirty="0" smtClean="0">
                <a:solidFill>
                  <a:schemeClr val="tx1"/>
                </a:solidFill>
                <a:latin typeface="+mn-lt"/>
                <a:ea typeface="+mn-ea"/>
                <a:cs typeface="+mn-cs"/>
              </a:defRPr>
            </a:lvl1pPr>
            <a:lvl2pPr>
              <a:defRPr lang="en-US" sz="1400" b="0" kern="1200" dirty="0" smtClean="0">
                <a:solidFill>
                  <a:schemeClr val="tx1"/>
                </a:solidFill>
                <a:latin typeface="+mn-lt"/>
                <a:ea typeface="+mn-ea"/>
                <a:cs typeface="+mn-cs"/>
              </a:defRPr>
            </a:lvl2pPr>
            <a:lvl3pPr>
              <a:defRPr/>
            </a:lvl3pPr>
            <a:lvl4pPr>
              <a:defRPr/>
            </a:lvl4pPr>
            <a:lvl5pPr>
              <a:defRPr/>
            </a:lvl5pPr>
          </a:lstStyle>
          <a:p>
            <a:pPr lvl="0"/>
            <a:r>
              <a:rPr lang="pt-BR"/>
              <a:t>Click to edit Master text styles. Lorem ipsum dolor sit amet, consectetur adipiscing elit.</a:t>
            </a:r>
            <a:endParaRPr lang="pt-BR" dirty="0"/>
          </a:p>
        </p:txBody>
      </p:sp>
      <p:sp>
        <p:nvSpPr>
          <p:cNvPr id="65" name="Text Placeholder 3a">
            <a:extLst>
              <a:ext uri="{FF2B5EF4-FFF2-40B4-BE49-F238E27FC236}">
                <a16:creationId xmlns:a16="http://schemas.microsoft.com/office/drawing/2014/main" id="{670F6FAD-5A3C-11EB-6E81-8B16B52F81EF}"/>
              </a:ext>
            </a:extLst>
          </p:cNvPr>
          <p:cNvSpPr>
            <a:spLocks noGrp="1"/>
          </p:cNvSpPr>
          <p:nvPr>
            <p:ph type="body" idx="38" hasCustomPrompt="1"/>
          </p:nvPr>
        </p:nvSpPr>
        <p:spPr>
          <a:xfrm>
            <a:off x="9973219" y="5556571"/>
            <a:ext cx="1680467" cy="732360"/>
          </a:xfrm>
          <a:prstGeom prst="rect">
            <a:avLst/>
          </a:prstGeom>
        </p:spPr>
        <p:txBody>
          <a:bodyPr anchor="t"/>
          <a:lstStyle>
            <a:lvl1pPr marL="0" indent="0" rtl="0">
              <a:lnSpc>
                <a:spcPct val="90000"/>
              </a:lnSpc>
              <a:spcAft>
                <a:spcPts val="0"/>
              </a:spcAft>
              <a:buNone/>
              <a:defRPr sz="1600" b="0" i="0">
                <a:solidFill>
                  <a:schemeClr val="bg2"/>
                </a:solidFill>
                <a:latin typeface="+mn-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pt-BR"/>
              <a:t>Text here</a:t>
            </a:r>
            <a:endParaRPr lang="pt-BR" dirty="0"/>
          </a:p>
        </p:txBody>
      </p:sp>
    </p:spTree>
    <p:extLst>
      <p:ext uri="{BB962C8B-B14F-4D97-AF65-F5344CB8AC3E}">
        <p14:creationId xmlns:p14="http://schemas.microsoft.com/office/powerpoint/2010/main" val="22860541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split ">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9A66011-F421-D8B9-30D3-BA7E7D5D8707}"/>
              </a:ext>
            </a:extLst>
          </p:cNvPr>
          <p:cNvGraphicFramePr>
            <a:graphicFrameLocks noChangeAspect="1"/>
          </p:cNvGraphicFramePr>
          <p:nvPr userDrawn="1">
            <p:custDataLst>
              <p:tags r:id="rId1"/>
            </p:custDataLst>
            <p:extLst>
              <p:ext uri="{D42A27DB-BD31-4B8C-83A1-F6EECF244321}">
                <p14:modId xmlns:p14="http://schemas.microsoft.com/office/powerpoint/2010/main" val="2222164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5" name="think-cell data - do not delete" hidden="1">
                        <a:extLst>
                          <a:ext uri="{FF2B5EF4-FFF2-40B4-BE49-F238E27FC236}">
                            <a16:creationId xmlns:a16="http://schemas.microsoft.com/office/drawing/2014/main" id="{D9A66011-F421-D8B9-30D3-BA7E7D5D87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7CADDCEF-8841-4D73-EAEB-25E159BD364A}"/>
              </a:ext>
            </a:extLst>
          </p:cNvPr>
          <p:cNvSpPr/>
          <p:nvPr userDrawn="1"/>
        </p:nvSpPr>
        <p:spPr>
          <a:xfrm>
            <a:off x="0" y="0"/>
            <a:ext cx="4876801"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tIns="121920" bIns="121920" rtlCol="0" anchor="ctr"/>
          <a:lstStyle/>
          <a:p>
            <a:pPr algn="ctr" rtl="0"/>
            <a:endParaRPr lang="pt-BR" sz="2400" dirty="0"/>
          </a:p>
        </p:txBody>
      </p:sp>
      <p:sp>
        <p:nvSpPr>
          <p:cNvPr id="6" name="Title 2">
            <a:extLst>
              <a:ext uri="{FF2B5EF4-FFF2-40B4-BE49-F238E27FC236}">
                <a16:creationId xmlns:a16="http://schemas.microsoft.com/office/drawing/2014/main" id="{9596D82E-71B7-FF51-B8E9-B259B21B69EB}"/>
              </a:ext>
            </a:extLst>
          </p:cNvPr>
          <p:cNvSpPr>
            <a:spLocks noGrp="1"/>
          </p:cNvSpPr>
          <p:nvPr>
            <p:ph type="title"/>
          </p:nvPr>
        </p:nvSpPr>
        <p:spPr>
          <a:xfrm>
            <a:off x="556468" y="572600"/>
            <a:ext cx="3984536" cy="787908"/>
          </a:xfrm>
        </p:spPr>
        <p:txBody>
          <a:bodyPr vert="horz"/>
          <a:lstStyle>
            <a:lvl1pPr rtl="0">
              <a:defRPr>
                <a:solidFill>
                  <a:schemeClr val="bg1"/>
                </a:solidFill>
              </a:defRPr>
            </a:lvl1pPr>
          </a:lstStyle>
          <a:p>
            <a:r>
              <a:rPr lang="pt-BR"/>
              <a:t>Click to edit Master title style</a:t>
            </a:r>
            <a:endParaRPr lang="pt-BR" dirty="0"/>
          </a:p>
        </p:txBody>
      </p:sp>
      <p:sp>
        <p:nvSpPr>
          <p:cNvPr id="16" name="Text Placeholder 3a">
            <a:extLst>
              <a:ext uri="{FF2B5EF4-FFF2-40B4-BE49-F238E27FC236}">
                <a16:creationId xmlns:a16="http://schemas.microsoft.com/office/drawing/2014/main" id="{FAAE1576-C1B9-0E2B-83B0-F7C54B8589E8}"/>
              </a:ext>
            </a:extLst>
          </p:cNvPr>
          <p:cNvSpPr>
            <a:spLocks noGrp="1"/>
          </p:cNvSpPr>
          <p:nvPr>
            <p:ph type="body" idx="29" hasCustomPrompt="1"/>
          </p:nvPr>
        </p:nvSpPr>
        <p:spPr>
          <a:xfrm>
            <a:off x="556468" y="1887912"/>
            <a:ext cx="3148429" cy="550488"/>
          </a:xfrm>
          <a:prstGeom prst="rect">
            <a:avLst/>
          </a:prstGeom>
        </p:spPr>
        <p:txBody>
          <a:bodyPr anchor="t"/>
          <a:lstStyle>
            <a:lvl1pPr marL="0" indent="0" rtl="0">
              <a:lnSpc>
                <a:spcPct val="90000"/>
              </a:lnSpc>
              <a:spcAft>
                <a:spcPts val="0"/>
              </a:spcAft>
              <a:buNone/>
              <a:defRPr sz="1600" b="0" i="0">
                <a:solidFill>
                  <a:schemeClr val="accent2"/>
                </a:solidFill>
                <a:latin typeface="Graphik Semibold" panose="020B0703030202060203"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pt-BR"/>
              <a:t>Text here</a:t>
            </a:r>
            <a:endParaRPr lang="pt-BR" dirty="0"/>
          </a:p>
        </p:txBody>
      </p:sp>
      <p:sp>
        <p:nvSpPr>
          <p:cNvPr id="15" name="Text Placeholder 47">
            <a:extLst>
              <a:ext uri="{FF2B5EF4-FFF2-40B4-BE49-F238E27FC236}">
                <a16:creationId xmlns:a16="http://schemas.microsoft.com/office/drawing/2014/main" id="{3269863B-5234-38BF-0D34-E538ACE4EA2B}"/>
              </a:ext>
            </a:extLst>
          </p:cNvPr>
          <p:cNvSpPr>
            <a:spLocks noGrp="1"/>
          </p:cNvSpPr>
          <p:nvPr>
            <p:ph type="body" sz="quarter" idx="28" hasCustomPrompt="1"/>
          </p:nvPr>
        </p:nvSpPr>
        <p:spPr>
          <a:xfrm>
            <a:off x="556468" y="2598336"/>
            <a:ext cx="3148429" cy="3512832"/>
          </a:xfrm>
        </p:spPr>
        <p:txBody>
          <a:bodyPr/>
          <a:lstStyle>
            <a:lvl1pPr rtl="0">
              <a:defRPr lang="en-US" sz="1200" b="0" kern="1200" dirty="0" smtClean="0">
                <a:solidFill>
                  <a:schemeClr val="bg1"/>
                </a:solidFill>
                <a:latin typeface="+mn-lt"/>
                <a:ea typeface="+mn-ea"/>
                <a:cs typeface="+mn-cs"/>
              </a:defRPr>
            </a:lvl1pPr>
            <a:lvl2pPr>
              <a:defRPr lang="en-US" sz="1400" b="0" kern="1200" dirty="0" smtClean="0">
                <a:solidFill>
                  <a:schemeClr val="tx1"/>
                </a:solidFill>
                <a:latin typeface="+mn-lt"/>
                <a:ea typeface="+mn-ea"/>
                <a:cs typeface="+mn-cs"/>
              </a:defRPr>
            </a:lvl2pPr>
            <a:lvl3pPr>
              <a:defRPr/>
            </a:lvl3pPr>
            <a:lvl4pPr>
              <a:defRPr/>
            </a:lvl4pPr>
            <a:lvl5pPr>
              <a:defRPr/>
            </a:lvl5pPr>
          </a:lstStyle>
          <a:p>
            <a:pPr lvl="0"/>
            <a:r>
              <a:rPr lang="pt-BR"/>
              <a:t>Click to edit Master text styles. Lorem ipsum dolor sit amet, consectetur adipiscing elit.</a:t>
            </a:r>
            <a:endParaRPr lang="pt-BR" dirty="0"/>
          </a:p>
        </p:txBody>
      </p:sp>
    </p:spTree>
    <p:extLst>
      <p:ext uri="{BB962C8B-B14F-4D97-AF65-F5344CB8AC3E}">
        <p14:creationId xmlns:p14="http://schemas.microsoft.com/office/powerpoint/2010/main" val="1892477570"/>
      </p:ext>
    </p:extLst>
  </p:cSld>
  <p:clrMapOvr>
    <a:masterClrMapping/>
  </p:clrMapOvr>
  <p:extLst>
    <p:ext uri="{DCECCB84-F9BA-43D5-87BE-67443E8EF086}">
      <p15:sldGuideLst xmlns:p15="http://schemas.microsoft.com/office/powerpoint/2012/main">
        <p15:guide id="1" orient="horz" pos="3249">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list + image">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9E922636-15C9-8500-DFDB-F5F82C439E86}"/>
              </a:ext>
            </a:extLst>
          </p:cNvPr>
          <p:cNvGraphicFramePr>
            <a:graphicFrameLocks noChangeAspect="1"/>
          </p:cNvGraphicFramePr>
          <p:nvPr userDrawn="1">
            <p:custDataLst>
              <p:tags r:id="rId1"/>
            </p:custDataLst>
            <p:extLst>
              <p:ext uri="{D42A27DB-BD31-4B8C-83A1-F6EECF244321}">
                <p14:modId xmlns:p14="http://schemas.microsoft.com/office/powerpoint/2010/main" val="1800936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9" name="think-cell data - do not delete" hidden="1">
                        <a:extLst>
                          <a:ext uri="{FF2B5EF4-FFF2-40B4-BE49-F238E27FC236}">
                            <a16:creationId xmlns:a16="http://schemas.microsoft.com/office/drawing/2014/main" id="{9E922636-15C9-8500-DFDB-F5F82C439E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Text Placeholder 3">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561427" y="3998977"/>
            <a:ext cx="173125" cy="369332"/>
          </a:xfrm>
          <a:prstGeom prst="rect">
            <a:avLst/>
          </a:prstGeom>
        </p:spPr>
        <p:txBody>
          <a:bodyPr wrap="none" anchor="t">
            <a:spAutoFit/>
          </a:bodyPr>
          <a:lstStyle>
            <a:lvl1pPr marL="0" indent="0" rtl="0">
              <a:spcAft>
                <a:spcPts val="0"/>
              </a:spcAft>
              <a:buNone/>
              <a:defRPr sz="2400" b="1" i="0">
                <a:solidFill>
                  <a:schemeClr val="bg2"/>
                </a:solidFill>
                <a:latin typeface="Graphik Semibold" panose="020B0503030202060203" pitchFamily="34" charset="77"/>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pt-BR"/>
              <a:t>#</a:t>
            </a:r>
            <a:endParaRPr lang="pt-BR" dirty="0"/>
          </a:p>
        </p:txBody>
      </p:sp>
      <p:sp>
        <p:nvSpPr>
          <p:cNvPr id="3" name="Text Placeholder 4">
            <a:extLst>
              <a:ext uri="{FF2B5EF4-FFF2-40B4-BE49-F238E27FC236}">
                <a16:creationId xmlns:a16="http://schemas.microsoft.com/office/drawing/2014/main" id="{4C9BBD74-54FD-481F-B3FD-0CE5318F281F}"/>
              </a:ext>
            </a:extLst>
          </p:cNvPr>
          <p:cNvSpPr>
            <a:spLocks noGrp="1"/>
          </p:cNvSpPr>
          <p:nvPr>
            <p:ph type="body" idx="1" hasCustomPrompt="1"/>
          </p:nvPr>
        </p:nvSpPr>
        <p:spPr>
          <a:xfrm>
            <a:off x="561427" y="4456176"/>
            <a:ext cx="1953007" cy="822960"/>
          </a:xfrm>
          <a:prstGeom prst="rect">
            <a:avLst/>
          </a:prstGeom>
        </p:spPr>
        <p:txBody>
          <a:bodyPr anchor="t"/>
          <a:lstStyle>
            <a:lvl1pPr marL="0" indent="0" rtl="0">
              <a:lnSpc>
                <a:spcPct val="90000"/>
              </a:lnSpc>
              <a:spcAft>
                <a:spcPts val="0"/>
              </a:spcAft>
              <a:buNone/>
              <a:defRPr sz="1600" b="1" i="0">
                <a:latin typeface="Graphik Semibold" panose="020B0503030202060203" pitchFamily="34" charset="77"/>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pt-BR"/>
              <a:t>Place headline here</a:t>
            </a:r>
            <a:endParaRPr lang="pt-BR" dirty="0"/>
          </a:p>
        </p:txBody>
      </p:sp>
      <p:sp>
        <p:nvSpPr>
          <p:cNvPr id="4" name="Text Placeholder 3">
            <a:extLst>
              <a:ext uri="{FF2B5EF4-FFF2-40B4-BE49-F238E27FC236}">
                <a16:creationId xmlns:a16="http://schemas.microsoft.com/office/drawing/2014/main" id="{B85B306C-DA4C-EE64-1727-749659F0A793}"/>
              </a:ext>
            </a:extLst>
          </p:cNvPr>
          <p:cNvSpPr>
            <a:spLocks noGrp="1"/>
          </p:cNvSpPr>
          <p:nvPr>
            <p:ph type="body" sz="quarter" idx="11" hasCustomPrompt="1"/>
          </p:nvPr>
        </p:nvSpPr>
        <p:spPr>
          <a:xfrm>
            <a:off x="563411" y="2472896"/>
            <a:ext cx="5171607" cy="384048"/>
          </a:xfrm>
          <a:prstGeom prst="rect">
            <a:avLst/>
          </a:prstGeom>
        </p:spPr>
        <p:txBody>
          <a:bodyPr anchor="t"/>
          <a:lstStyle>
            <a:lvl1pPr marL="0" indent="0" rtl="0">
              <a:spcAft>
                <a:spcPts val="0"/>
              </a:spcAft>
              <a:buNone/>
              <a:defRPr lang="en-US" sz="1800" b="0" i="0" kern="1200">
                <a:solidFill>
                  <a:schemeClr val="tx1"/>
                </a:solidFill>
                <a:latin typeface="Graphik" panose="020B0503030202060203" pitchFamily="34" charset="77"/>
                <a:ea typeface="+mn-ea"/>
                <a:cs typeface="+mn-cs"/>
              </a:defRPr>
            </a:lvl1pPr>
          </a:lstStyle>
          <a:p>
            <a:pPr marL="0" lvl="0" indent="0" algn="l" defTabSz="228594" rtl="0" eaLnBrk="1" latinLnBrk="0" hangingPunct="1">
              <a:lnSpc>
                <a:spcPct val="100000"/>
              </a:lnSpc>
              <a:spcBef>
                <a:spcPts val="0"/>
              </a:spcBef>
              <a:spcAft>
                <a:spcPts val="0"/>
              </a:spcAft>
              <a:buFont typeface="Arial" panose="020B0604020202020204" pitchFamily="34" charset="0"/>
              <a:buNone/>
            </a:pPr>
            <a:r>
              <a:rPr lang="pt-BR"/>
              <a:t>Place subtitle here in Graphik</a:t>
            </a:r>
            <a:endParaRPr lang="pt-BR" dirty="0"/>
          </a:p>
        </p:txBody>
      </p:sp>
      <p:sp>
        <p:nvSpPr>
          <p:cNvPr id="10" name="Text Placeholder 3">
            <a:extLst>
              <a:ext uri="{FF2B5EF4-FFF2-40B4-BE49-F238E27FC236}">
                <a16:creationId xmlns:a16="http://schemas.microsoft.com/office/drawing/2014/main" id="{7B5BFA1F-5247-B9BC-754B-6AAF3E525A0B}"/>
              </a:ext>
            </a:extLst>
          </p:cNvPr>
          <p:cNvSpPr>
            <a:spLocks noGrp="1"/>
          </p:cNvSpPr>
          <p:nvPr>
            <p:ph type="body" idx="34" hasCustomPrompt="1"/>
          </p:nvPr>
        </p:nvSpPr>
        <p:spPr>
          <a:xfrm>
            <a:off x="2843427" y="3998851"/>
            <a:ext cx="173125" cy="369332"/>
          </a:xfrm>
          <a:prstGeom prst="rect">
            <a:avLst/>
          </a:prstGeom>
        </p:spPr>
        <p:txBody>
          <a:bodyPr wrap="none" anchor="t">
            <a:spAutoFit/>
          </a:bodyPr>
          <a:lstStyle>
            <a:lvl1pPr marL="0" indent="0" rtl="0">
              <a:spcAft>
                <a:spcPts val="0"/>
              </a:spcAft>
              <a:buNone/>
              <a:defRPr sz="2400" b="1" i="0">
                <a:solidFill>
                  <a:schemeClr val="bg2"/>
                </a:solidFill>
                <a:latin typeface="Graphik Semibold" panose="020B0503030202060203" pitchFamily="34" charset="77"/>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pt-BR"/>
              <a:t>#</a:t>
            </a:r>
            <a:endParaRPr lang="pt-BR" dirty="0"/>
          </a:p>
        </p:txBody>
      </p:sp>
      <p:sp>
        <p:nvSpPr>
          <p:cNvPr id="11" name="Text Placeholder 4">
            <a:extLst>
              <a:ext uri="{FF2B5EF4-FFF2-40B4-BE49-F238E27FC236}">
                <a16:creationId xmlns:a16="http://schemas.microsoft.com/office/drawing/2014/main" id="{097F6A55-E927-3DDC-C6BC-9E4F7D33849E}"/>
              </a:ext>
            </a:extLst>
          </p:cNvPr>
          <p:cNvSpPr>
            <a:spLocks noGrp="1"/>
          </p:cNvSpPr>
          <p:nvPr>
            <p:ph type="body" idx="35" hasCustomPrompt="1"/>
          </p:nvPr>
        </p:nvSpPr>
        <p:spPr>
          <a:xfrm>
            <a:off x="2843427" y="4456051"/>
            <a:ext cx="1953007" cy="822960"/>
          </a:xfrm>
          <a:prstGeom prst="rect">
            <a:avLst/>
          </a:prstGeom>
        </p:spPr>
        <p:txBody>
          <a:bodyPr anchor="t"/>
          <a:lstStyle>
            <a:lvl1pPr marL="0" indent="0" rtl="0">
              <a:lnSpc>
                <a:spcPct val="90000"/>
              </a:lnSpc>
              <a:spcAft>
                <a:spcPts val="0"/>
              </a:spcAft>
              <a:buNone/>
              <a:defRPr sz="1600" b="1" i="0">
                <a:latin typeface="Graphik Semibold" panose="020B0503030202060203" pitchFamily="34" charset="77"/>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pt-BR"/>
              <a:t>Place headline here</a:t>
            </a:r>
            <a:endParaRPr lang="pt-BR" dirty="0"/>
          </a:p>
        </p:txBody>
      </p:sp>
      <p:sp>
        <p:nvSpPr>
          <p:cNvPr id="20" name="Text Placeholder 3">
            <a:extLst>
              <a:ext uri="{FF2B5EF4-FFF2-40B4-BE49-F238E27FC236}">
                <a16:creationId xmlns:a16="http://schemas.microsoft.com/office/drawing/2014/main" id="{96A48BF3-8AA9-50DC-49B0-265A2B870BDA}"/>
              </a:ext>
            </a:extLst>
          </p:cNvPr>
          <p:cNvSpPr>
            <a:spLocks noGrp="1"/>
          </p:cNvSpPr>
          <p:nvPr>
            <p:ph type="body" idx="37" hasCustomPrompt="1"/>
          </p:nvPr>
        </p:nvSpPr>
        <p:spPr>
          <a:xfrm>
            <a:off x="5118171" y="3998851"/>
            <a:ext cx="173125" cy="369332"/>
          </a:xfrm>
          <a:prstGeom prst="rect">
            <a:avLst/>
          </a:prstGeom>
        </p:spPr>
        <p:txBody>
          <a:bodyPr wrap="none" anchor="t">
            <a:spAutoFit/>
          </a:bodyPr>
          <a:lstStyle>
            <a:lvl1pPr marL="0" indent="0" rtl="0">
              <a:spcAft>
                <a:spcPts val="0"/>
              </a:spcAft>
              <a:buNone/>
              <a:defRPr sz="2400" b="1" i="0">
                <a:solidFill>
                  <a:schemeClr val="bg2"/>
                </a:solidFill>
                <a:latin typeface="Graphik Semibold" panose="020B0503030202060203" pitchFamily="34" charset="77"/>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pt-BR"/>
              <a:t>#</a:t>
            </a:r>
            <a:endParaRPr lang="pt-BR" dirty="0"/>
          </a:p>
        </p:txBody>
      </p:sp>
      <p:sp>
        <p:nvSpPr>
          <p:cNvPr id="23" name="Text Placeholder 4">
            <a:extLst>
              <a:ext uri="{FF2B5EF4-FFF2-40B4-BE49-F238E27FC236}">
                <a16:creationId xmlns:a16="http://schemas.microsoft.com/office/drawing/2014/main" id="{6CA89A9C-8BF9-8CDF-3629-2C1B8ED659BD}"/>
              </a:ext>
            </a:extLst>
          </p:cNvPr>
          <p:cNvSpPr>
            <a:spLocks noGrp="1"/>
          </p:cNvSpPr>
          <p:nvPr>
            <p:ph type="body" idx="38" hasCustomPrompt="1"/>
          </p:nvPr>
        </p:nvSpPr>
        <p:spPr>
          <a:xfrm>
            <a:off x="5125427" y="4456051"/>
            <a:ext cx="1953007" cy="822960"/>
          </a:xfrm>
          <a:prstGeom prst="rect">
            <a:avLst/>
          </a:prstGeom>
        </p:spPr>
        <p:txBody>
          <a:bodyPr anchor="t"/>
          <a:lstStyle>
            <a:lvl1pPr marL="0" indent="0" rtl="0">
              <a:lnSpc>
                <a:spcPct val="90000"/>
              </a:lnSpc>
              <a:spcAft>
                <a:spcPts val="0"/>
              </a:spcAft>
              <a:buNone/>
              <a:defRPr sz="1600" b="1" i="0">
                <a:latin typeface="Graphik Semibold" panose="020B0503030202060203" pitchFamily="34" charset="77"/>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pt-BR"/>
              <a:t>Place headline here</a:t>
            </a:r>
            <a:endParaRPr lang="pt-BR" dirty="0"/>
          </a:p>
        </p:txBody>
      </p:sp>
      <p:sp>
        <p:nvSpPr>
          <p:cNvPr id="34" name="Text Placeholder 3">
            <a:extLst>
              <a:ext uri="{FF2B5EF4-FFF2-40B4-BE49-F238E27FC236}">
                <a16:creationId xmlns:a16="http://schemas.microsoft.com/office/drawing/2014/main" id="{DC7DFE68-FFE1-E798-3629-CF0323B2195E}"/>
              </a:ext>
            </a:extLst>
          </p:cNvPr>
          <p:cNvSpPr>
            <a:spLocks noGrp="1"/>
          </p:cNvSpPr>
          <p:nvPr>
            <p:ph type="body" idx="40" hasCustomPrompt="1"/>
          </p:nvPr>
        </p:nvSpPr>
        <p:spPr>
          <a:xfrm>
            <a:off x="7407427" y="3998851"/>
            <a:ext cx="173125" cy="369332"/>
          </a:xfrm>
          <a:prstGeom prst="rect">
            <a:avLst/>
          </a:prstGeom>
        </p:spPr>
        <p:txBody>
          <a:bodyPr wrap="none" anchor="t">
            <a:spAutoFit/>
          </a:bodyPr>
          <a:lstStyle>
            <a:lvl1pPr marL="0" indent="0" rtl="0">
              <a:spcAft>
                <a:spcPts val="0"/>
              </a:spcAft>
              <a:buNone/>
              <a:defRPr sz="2400" b="1" i="0">
                <a:solidFill>
                  <a:schemeClr val="bg2"/>
                </a:solidFill>
                <a:latin typeface="Graphik Semibold" panose="020B0503030202060203" pitchFamily="34" charset="77"/>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pt-BR"/>
              <a:t>#</a:t>
            </a:r>
            <a:endParaRPr lang="pt-BR" dirty="0"/>
          </a:p>
        </p:txBody>
      </p:sp>
      <p:sp>
        <p:nvSpPr>
          <p:cNvPr id="35" name="Text Placeholder 4">
            <a:extLst>
              <a:ext uri="{FF2B5EF4-FFF2-40B4-BE49-F238E27FC236}">
                <a16:creationId xmlns:a16="http://schemas.microsoft.com/office/drawing/2014/main" id="{0A5C4BB7-F326-497E-84F9-02B889C225A4}"/>
              </a:ext>
            </a:extLst>
          </p:cNvPr>
          <p:cNvSpPr>
            <a:spLocks noGrp="1"/>
          </p:cNvSpPr>
          <p:nvPr>
            <p:ph type="body" idx="41" hasCustomPrompt="1"/>
          </p:nvPr>
        </p:nvSpPr>
        <p:spPr>
          <a:xfrm>
            <a:off x="7407427" y="4456051"/>
            <a:ext cx="1953007" cy="822960"/>
          </a:xfrm>
          <a:prstGeom prst="rect">
            <a:avLst/>
          </a:prstGeom>
        </p:spPr>
        <p:txBody>
          <a:bodyPr anchor="t"/>
          <a:lstStyle>
            <a:lvl1pPr marL="0" indent="0" rtl="0">
              <a:lnSpc>
                <a:spcPct val="90000"/>
              </a:lnSpc>
              <a:spcAft>
                <a:spcPts val="0"/>
              </a:spcAft>
              <a:buNone/>
              <a:defRPr sz="1600" b="1" i="0">
                <a:latin typeface="Graphik Semibold" panose="020B0503030202060203" pitchFamily="34" charset="77"/>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pt-BR"/>
              <a:t>Place headline here</a:t>
            </a:r>
            <a:endParaRPr lang="pt-BR" dirty="0"/>
          </a:p>
        </p:txBody>
      </p:sp>
      <p:sp>
        <p:nvSpPr>
          <p:cNvPr id="2" name="Title 1">
            <a:extLst>
              <a:ext uri="{FF2B5EF4-FFF2-40B4-BE49-F238E27FC236}">
                <a16:creationId xmlns:a16="http://schemas.microsoft.com/office/drawing/2014/main" id="{2A8000A6-6DCD-FF31-392B-5CD7870A0353}"/>
              </a:ext>
            </a:extLst>
          </p:cNvPr>
          <p:cNvSpPr>
            <a:spLocks noGrp="1"/>
          </p:cNvSpPr>
          <p:nvPr>
            <p:ph type="title"/>
          </p:nvPr>
        </p:nvSpPr>
        <p:spPr>
          <a:xfrm>
            <a:off x="554568" y="1613917"/>
            <a:ext cx="5175672" cy="787908"/>
          </a:xfrm>
        </p:spPr>
        <p:txBody>
          <a:bodyPr vert="horz" anchor="b"/>
          <a:lstStyle>
            <a:lvl1pPr rtl="0">
              <a:defRPr/>
            </a:lvl1pPr>
          </a:lstStyle>
          <a:p>
            <a:r>
              <a:rPr lang="pt-BR"/>
              <a:t>Click to edit Master title style</a:t>
            </a:r>
            <a:endParaRPr lang="pt-BR" dirty="0"/>
          </a:p>
        </p:txBody>
      </p:sp>
      <p:sp>
        <p:nvSpPr>
          <p:cNvPr id="6" name="Picture Placeholder 5">
            <a:extLst>
              <a:ext uri="{FF2B5EF4-FFF2-40B4-BE49-F238E27FC236}">
                <a16:creationId xmlns:a16="http://schemas.microsoft.com/office/drawing/2014/main" id="{5783FD05-DB3B-FD57-46A5-ACA36397CBF3}"/>
              </a:ext>
            </a:extLst>
          </p:cNvPr>
          <p:cNvSpPr>
            <a:spLocks noGrp="1"/>
          </p:cNvSpPr>
          <p:nvPr>
            <p:ph type="pic" sz="quarter" idx="42"/>
          </p:nvPr>
        </p:nvSpPr>
        <p:spPr>
          <a:xfrm>
            <a:off x="6692901" y="0"/>
            <a:ext cx="5499100" cy="3429000"/>
          </a:xfrm>
          <a:solidFill>
            <a:schemeClr val="bg1">
              <a:lumMod val="95000"/>
            </a:schemeClr>
          </a:solidFill>
        </p:spPr>
        <p:txBody>
          <a:bodyPr anchor="ctr"/>
          <a:lstStyle>
            <a:lvl1pPr algn="ctr" rtl="0">
              <a:defRPr/>
            </a:lvl1pPr>
          </a:lstStyle>
          <a:p>
            <a:r>
              <a:rPr lang="pt-BR"/>
              <a:t>Click icon to add picture</a:t>
            </a:r>
            <a:endParaRPr lang="pt-BR" dirty="0"/>
          </a:p>
        </p:txBody>
      </p:sp>
      <p:sp>
        <p:nvSpPr>
          <p:cNvPr id="7" name="Text Placeholder 3">
            <a:extLst>
              <a:ext uri="{FF2B5EF4-FFF2-40B4-BE49-F238E27FC236}">
                <a16:creationId xmlns:a16="http://schemas.microsoft.com/office/drawing/2014/main" id="{636E3600-1199-1547-D313-449C38319BD9}"/>
              </a:ext>
            </a:extLst>
          </p:cNvPr>
          <p:cNvSpPr>
            <a:spLocks noGrp="1"/>
          </p:cNvSpPr>
          <p:nvPr>
            <p:ph type="body" idx="43" hasCustomPrompt="1"/>
          </p:nvPr>
        </p:nvSpPr>
        <p:spPr>
          <a:xfrm>
            <a:off x="9689427" y="3998851"/>
            <a:ext cx="173125" cy="369332"/>
          </a:xfrm>
          <a:prstGeom prst="rect">
            <a:avLst/>
          </a:prstGeom>
        </p:spPr>
        <p:txBody>
          <a:bodyPr wrap="none" anchor="t">
            <a:spAutoFit/>
          </a:bodyPr>
          <a:lstStyle>
            <a:lvl1pPr marL="0" indent="0" rtl="0">
              <a:spcAft>
                <a:spcPts val="0"/>
              </a:spcAft>
              <a:buNone/>
              <a:defRPr sz="2400" b="1" i="0">
                <a:solidFill>
                  <a:schemeClr val="bg2"/>
                </a:solidFill>
                <a:latin typeface="Graphik Semibold" panose="020B0503030202060203" pitchFamily="34" charset="77"/>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pt-BR"/>
              <a:t>#</a:t>
            </a:r>
            <a:endParaRPr lang="pt-BR" dirty="0"/>
          </a:p>
        </p:txBody>
      </p:sp>
      <p:sp>
        <p:nvSpPr>
          <p:cNvPr id="8" name="Text Placeholder 4">
            <a:extLst>
              <a:ext uri="{FF2B5EF4-FFF2-40B4-BE49-F238E27FC236}">
                <a16:creationId xmlns:a16="http://schemas.microsoft.com/office/drawing/2014/main" id="{3D84B231-1D63-35B5-7ECE-7094A7C3BD42}"/>
              </a:ext>
            </a:extLst>
          </p:cNvPr>
          <p:cNvSpPr>
            <a:spLocks noGrp="1"/>
          </p:cNvSpPr>
          <p:nvPr>
            <p:ph type="body" idx="44" hasCustomPrompt="1"/>
          </p:nvPr>
        </p:nvSpPr>
        <p:spPr>
          <a:xfrm>
            <a:off x="9689427" y="4456051"/>
            <a:ext cx="1953007" cy="822960"/>
          </a:xfrm>
          <a:prstGeom prst="rect">
            <a:avLst/>
          </a:prstGeom>
        </p:spPr>
        <p:txBody>
          <a:bodyPr anchor="t"/>
          <a:lstStyle>
            <a:lvl1pPr marL="0" indent="0" rtl="0">
              <a:lnSpc>
                <a:spcPct val="90000"/>
              </a:lnSpc>
              <a:spcAft>
                <a:spcPts val="0"/>
              </a:spcAft>
              <a:buNone/>
              <a:defRPr sz="1600" b="1" i="0">
                <a:latin typeface="Graphik Semibold" panose="020B0503030202060203" pitchFamily="34" charset="77"/>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pt-BR"/>
              <a:t>Place headline here</a:t>
            </a:r>
            <a:endParaRPr lang="pt-BR" dirty="0"/>
          </a:p>
        </p:txBody>
      </p:sp>
    </p:spTree>
    <p:extLst>
      <p:ext uri="{BB962C8B-B14F-4D97-AF65-F5344CB8AC3E}">
        <p14:creationId xmlns:p14="http://schemas.microsoft.com/office/powerpoint/2010/main" val="687942863"/>
      </p:ext>
    </p:extLst>
  </p:cSld>
  <p:clrMapOvr>
    <a:masterClrMapping/>
  </p:clrMapOvr>
  <p:extLst>
    <p:ext uri="{DCECCB84-F9BA-43D5-87BE-67443E8EF086}">
      <p15:sldGuideLst xmlns:p15="http://schemas.microsoft.com/office/powerpoint/2012/main">
        <p15:guide id="1" orient="horz" pos="2775" userDrawn="1">
          <p15:clr>
            <a:srgbClr val="C35EA4"/>
          </p15:clr>
        </p15:guide>
        <p15:guide id="2" orient="horz" pos="699" userDrawn="1">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Song">
    <p:bg>
      <p:bgPr>
        <a:solidFill>
          <a:schemeClr val="tx1">
            <a:lumMod val="65000"/>
          </a:schemeClr>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53F70233-1F9B-6217-A719-D23575F29ABC}"/>
              </a:ext>
            </a:extLst>
          </p:cNvPr>
          <p:cNvGraphicFramePr>
            <a:graphicFrameLocks noChangeAspect="1"/>
          </p:cNvGraphicFramePr>
          <p:nvPr userDrawn="1">
            <p:custDataLst>
              <p:tags r:id="rId1"/>
            </p:custDataLst>
            <p:extLst>
              <p:ext uri="{D42A27DB-BD31-4B8C-83A1-F6EECF244321}">
                <p14:modId xmlns:p14="http://schemas.microsoft.com/office/powerpoint/2010/main" val="1187351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10" name="think-cell data - do not delete" hidden="1">
                        <a:extLst>
                          <a:ext uri="{FF2B5EF4-FFF2-40B4-BE49-F238E27FC236}">
                            <a16:creationId xmlns:a16="http://schemas.microsoft.com/office/drawing/2014/main" id="{53F70233-1F9B-6217-A719-D23575F29AB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6">
            <a:extLst>
              <a:ext uri="{FF2B5EF4-FFF2-40B4-BE49-F238E27FC236}">
                <a16:creationId xmlns:a16="http://schemas.microsoft.com/office/drawing/2014/main" id="{2F82E940-E7B0-A119-28B0-041715DCEAF2}"/>
              </a:ext>
              <a:ext uri="{C183D7F6-B498-43B3-948B-1728B52AA6E4}">
                <adec:decorative xmlns:adec="http://schemas.microsoft.com/office/drawing/2017/decorative" val="1"/>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bwMode="invGray">
          <a:xfrm rot="5400000">
            <a:off x="2667739" y="-2666263"/>
            <a:ext cx="6857999" cy="12190525"/>
          </a:xfrm>
          <a:prstGeom prst="rect">
            <a:avLst/>
          </a:prstGeom>
        </p:spPr>
      </p:pic>
      <p:sp>
        <p:nvSpPr>
          <p:cNvPr id="3" name="Title 1">
            <a:extLst>
              <a:ext uri="{FF2B5EF4-FFF2-40B4-BE49-F238E27FC236}">
                <a16:creationId xmlns:a16="http://schemas.microsoft.com/office/drawing/2014/main" id="{2878D30E-951E-72C4-5535-66637753BE55}"/>
              </a:ext>
            </a:extLst>
          </p:cNvPr>
          <p:cNvSpPr>
            <a:spLocks noGrp="1"/>
          </p:cNvSpPr>
          <p:nvPr>
            <p:ph type="title"/>
          </p:nvPr>
        </p:nvSpPr>
        <p:spPr>
          <a:xfrm>
            <a:off x="1164970" y="2952671"/>
            <a:ext cx="8931530" cy="664797"/>
          </a:xfrm>
          <a:prstGeom prst="rect">
            <a:avLst/>
          </a:prstGeom>
        </p:spPr>
        <p:txBody>
          <a:bodyPr vert="horz" wrap="square" anchor="b">
            <a:spAutoFit/>
          </a:bodyPr>
          <a:lstStyle>
            <a:lvl1pPr algn="l" rtl="0">
              <a:lnSpc>
                <a:spcPct val="90000"/>
              </a:lnSpc>
              <a:defRPr sz="4800">
                <a:solidFill>
                  <a:schemeClr val="tx1"/>
                </a:solidFill>
              </a:defRPr>
            </a:lvl1pPr>
          </a:lstStyle>
          <a:p>
            <a:r>
              <a:rPr lang="pt-BR"/>
              <a:t>Click to edit Master title style</a:t>
            </a:r>
            <a:endParaRPr lang="pt-BR" dirty="0"/>
          </a:p>
        </p:txBody>
      </p:sp>
      <p:sp>
        <p:nvSpPr>
          <p:cNvPr id="4" name="Subtitle 2">
            <a:extLst>
              <a:ext uri="{FF2B5EF4-FFF2-40B4-BE49-F238E27FC236}">
                <a16:creationId xmlns:a16="http://schemas.microsoft.com/office/drawing/2014/main" id="{5775FD5F-4D58-7741-C57A-08997F3E1DD6}"/>
              </a:ext>
            </a:extLst>
          </p:cNvPr>
          <p:cNvSpPr>
            <a:spLocks noGrp="1"/>
          </p:cNvSpPr>
          <p:nvPr>
            <p:ph type="subTitle" idx="1" hasCustomPrompt="1"/>
          </p:nvPr>
        </p:nvSpPr>
        <p:spPr>
          <a:xfrm>
            <a:off x="1164970" y="3741489"/>
            <a:ext cx="8931530" cy="1092845"/>
          </a:xfrm>
          <a:prstGeom prst="rect">
            <a:avLst/>
          </a:prstGeom>
        </p:spPr>
        <p:txBody>
          <a:bodyPr/>
          <a:lstStyle>
            <a:lvl1pPr marL="0" indent="0" algn="l" rtl="0">
              <a:lnSpc>
                <a:spcPct val="90000"/>
              </a:lnSpc>
              <a:spcAft>
                <a:spcPts val="0"/>
              </a:spcAft>
              <a:buNone/>
              <a:defRPr sz="1800" b="0" i="0" spc="0">
                <a:solidFill>
                  <a:schemeClr val="tx1"/>
                </a:solidFill>
                <a:latin typeface="Graphik" panose="020B0503030202060203" pitchFamily="34" charset="77"/>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pPr marL="0" lvl="0" indent="0" algn="l" defTabSz="914377" rtl="0" eaLnBrk="1" latinLnBrk="0" hangingPunct="1">
              <a:lnSpc>
                <a:spcPct val="100000"/>
              </a:lnSpc>
              <a:spcBef>
                <a:spcPts val="0"/>
              </a:spcBef>
              <a:spcAft>
                <a:spcPts val="0"/>
              </a:spcAft>
              <a:buFont typeface="Graphik" panose="020B0604020202020204" pitchFamily="34" charset="0"/>
              <a:buNone/>
            </a:pPr>
            <a:r>
              <a:rPr lang="pt-BR"/>
              <a:t>Place subtitle here in Graphik regular</a:t>
            </a:r>
            <a:endParaRPr lang="pt-BR" dirty="0"/>
          </a:p>
        </p:txBody>
      </p:sp>
      <p:sp>
        <p:nvSpPr>
          <p:cNvPr id="6" name="Text Placeholder 16">
            <a:extLst>
              <a:ext uri="{FF2B5EF4-FFF2-40B4-BE49-F238E27FC236}">
                <a16:creationId xmlns:a16="http://schemas.microsoft.com/office/drawing/2014/main" id="{EA105FD1-CA09-BDBB-C408-AB40400DB336}"/>
              </a:ext>
            </a:extLst>
          </p:cNvPr>
          <p:cNvSpPr>
            <a:spLocks noGrp="1"/>
          </p:cNvSpPr>
          <p:nvPr>
            <p:ph type="body" sz="quarter" idx="15" hasCustomPrompt="1"/>
          </p:nvPr>
        </p:nvSpPr>
        <p:spPr>
          <a:xfrm>
            <a:off x="1171950" y="5176580"/>
            <a:ext cx="3655291" cy="184666"/>
          </a:xfrm>
          <a:prstGeom prst="rect">
            <a:avLst/>
          </a:prstGeom>
        </p:spPr>
        <p:txBody>
          <a:bodyPr wrap="square">
            <a:spAutoFit/>
          </a:bodyPr>
          <a:lstStyle>
            <a:lvl1pPr marL="0" indent="0" algn="l" defTabSz="914377" rtl="0" eaLnBrk="1" latinLnBrk="0" hangingPunct="1">
              <a:spcAft>
                <a:spcPts val="0"/>
              </a:spcAft>
              <a:buNone/>
              <a:defRPr lang="en-US" sz="1200" b="0" i="0" kern="1200" dirty="0">
                <a:solidFill>
                  <a:schemeClr val="tx1"/>
                </a:solidFill>
                <a:latin typeface="Graphik Semibold" panose="020B0703030202060203" pitchFamily="34" charset="0"/>
                <a:ea typeface="+mn-ea"/>
                <a:cs typeface="+mn-cs"/>
              </a:defRPr>
            </a:lvl1pPr>
            <a:lvl2pPr marL="0" algn="l" defTabSz="914377" rtl="0" eaLnBrk="1" latinLnBrk="0" hangingPunct="1">
              <a:spcAft>
                <a:spcPts val="0"/>
              </a:spcAft>
              <a:defRPr lang="en-US" sz="1400" b="0" kern="1200" dirty="0" smtClean="0">
                <a:solidFill>
                  <a:schemeClr val="tx1"/>
                </a:solidFill>
                <a:latin typeface="+mn-lt"/>
                <a:ea typeface="+mn-ea"/>
                <a:cs typeface="+mn-cs"/>
              </a:defRPr>
            </a:lvl2pPr>
            <a:lvl3pPr marL="0" algn="l" defTabSz="914377" rtl="0" eaLnBrk="1" latinLnBrk="0" hangingPunct="1">
              <a:spcAft>
                <a:spcPts val="0"/>
              </a:spcAft>
              <a:defRPr lang="en-US" sz="1400" b="0" kern="1200" dirty="0" smtClean="0">
                <a:solidFill>
                  <a:schemeClr val="tx1"/>
                </a:solidFill>
                <a:latin typeface="+mn-lt"/>
                <a:ea typeface="+mn-ea"/>
                <a:cs typeface="+mn-cs"/>
              </a:defRPr>
            </a:lvl3pPr>
            <a:lvl4pPr marL="0" algn="l" defTabSz="914377" rtl="0" eaLnBrk="1" latinLnBrk="0" hangingPunct="1">
              <a:spcAft>
                <a:spcPts val="0"/>
              </a:spcAft>
              <a:defRPr lang="en-US" sz="1400" b="0" kern="1200" dirty="0" smtClean="0">
                <a:solidFill>
                  <a:schemeClr val="tx1"/>
                </a:solidFill>
                <a:latin typeface="+mn-lt"/>
                <a:ea typeface="+mn-ea"/>
                <a:cs typeface="+mn-cs"/>
              </a:defRPr>
            </a:lvl4pPr>
            <a:lvl5pPr marL="0" algn="l" defTabSz="914377" rtl="0" eaLnBrk="1" latinLnBrk="0" hangingPunct="1">
              <a:spcAft>
                <a:spcPts val="0"/>
              </a:spcAft>
              <a:defRPr lang="en-US" sz="1400" b="0" kern="1200" dirty="0" smtClean="0">
                <a:solidFill>
                  <a:schemeClr val="tx1"/>
                </a:solidFill>
                <a:latin typeface="+mn-lt"/>
                <a:ea typeface="+mn-ea"/>
                <a:cs typeface="+mn-cs"/>
              </a:defRPr>
            </a:lvl5pPr>
          </a:lstStyle>
          <a:p>
            <a:pPr lvl="0"/>
            <a:r>
              <a:rPr lang="pt-BR"/>
              <a:t>MM.DD.YYYY</a:t>
            </a:r>
            <a:endParaRPr lang="pt-BR" dirty="0"/>
          </a:p>
        </p:txBody>
      </p:sp>
      <p:sp>
        <p:nvSpPr>
          <p:cNvPr id="5" name="Text Placeholder 16">
            <a:extLst>
              <a:ext uri="{FF2B5EF4-FFF2-40B4-BE49-F238E27FC236}">
                <a16:creationId xmlns:a16="http://schemas.microsoft.com/office/drawing/2014/main" id="{D266AB3E-F8D9-4648-CDC8-BDA8246735A6}"/>
              </a:ext>
            </a:extLst>
          </p:cNvPr>
          <p:cNvSpPr>
            <a:spLocks noGrp="1"/>
          </p:cNvSpPr>
          <p:nvPr>
            <p:ph type="body" sz="quarter" idx="12" hasCustomPrompt="1"/>
          </p:nvPr>
        </p:nvSpPr>
        <p:spPr>
          <a:xfrm>
            <a:off x="1171950" y="5401494"/>
            <a:ext cx="3655291" cy="184666"/>
          </a:xfrm>
          <a:prstGeom prst="rect">
            <a:avLst/>
          </a:prstGeom>
        </p:spPr>
        <p:txBody>
          <a:bodyPr anchor="b"/>
          <a:lstStyle>
            <a:lvl1pPr marL="0" indent="0" algn="l" defTabSz="914377" rtl="0" eaLnBrk="1" latinLnBrk="0" hangingPunct="1">
              <a:spcAft>
                <a:spcPts val="0"/>
              </a:spcAft>
              <a:buNone/>
              <a:defRPr lang="en-US" sz="1200" b="0" i="0" kern="1200" dirty="0" smtClean="0">
                <a:solidFill>
                  <a:schemeClr val="tx1"/>
                </a:solidFill>
                <a:latin typeface="Graphik" panose="020B0503030202060203" pitchFamily="34" charset="77"/>
                <a:ea typeface="+mn-ea"/>
                <a:cs typeface="+mn-cs"/>
              </a:defRPr>
            </a:lvl1pPr>
            <a:lvl2pPr marL="0" algn="l" defTabSz="914377" rtl="0" eaLnBrk="1" latinLnBrk="0" hangingPunct="1">
              <a:spcAft>
                <a:spcPts val="0"/>
              </a:spcAft>
              <a:defRPr lang="en-US" sz="1400" b="0" kern="1200" dirty="0" smtClean="0">
                <a:solidFill>
                  <a:schemeClr val="tx1"/>
                </a:solidFill>
                <a:latin typeface="+mn-lt"/>
                <a:ea typeface="+mn-ea"/>
                <a:cs typeface="+mn-cs"/>
              </a:defRPr>
            </a:lvl2pPr>
            <a:lvl3pPr marL="0" algn="l" defTabSz="914377" rtl="0" eaLnBrk="1" latinLnBrk="0" hangingPunct="1">
              <a:spcAft>
                <a:spcPts val="0"/>
              </a:spcAft>
              <a:defRPr lang="en-US" sz="1400" b="0" kern="1200" dirty="0" smtClean="0">
                <a:solidFill>
                  <a:schemeClr val="tx1"/>
                </a:solidFill>
                <a:latin typeface="+mn-lt"/>
                <a:ea typeface="+mn-ea"/>
                <a:cs typeface="+mn-cs"/>
              </a:defRPr>
            </a:lvl3pPr>
            <a:lvl4pPr marL="0" algn="l" defTabSz="914377" rtl="0" eaLnBrk="1" latinLnBrk="0" hangingPunct="1">
              <a:spcAft>
                <a:spcPts val="0"/>
              </a:spcAft>
              <a:defRPr lang="en-US" sz="1400" b="0" kern="1200" dirty="0" smtClean="0">
                <a:solidFill>
                  <a:schemeClr val="tx1"/>
                </a:solidFill>
                <a:latin typeface="+mn-lt"/>
                <a:ea typeface="+mn-ea"/>
                <a:cs typeface="+mn-cs"/>
              </a:defRPr>
            </a:lvl4pPr>
            <a:lvl5pPr marL="0" algn="l" defTabSz="914377" rtl="0" eaLnBrk="1" latinLnBrk="0" hangingPunct="1">
              <a:spcAft>
                <a:spcPts val="0"/>
              </a:spcAft>
              <a:defRPr lang="en-US" sz="1400" b="0" kern="1200" dirty="0" smtClean="0">
                <a:solidFill>
                  <a:schemeClr val="tx1"/>
                </a:solidFill>
                <a:latin typeface="+mn-lt"/>
                <a:ea typeface="+mn-ea"/>
                <a:cs typeface="+mn-cs"/>
              </a:defRPr>
            </a:lvl5pPr>
          </a:lstStyle>
          <a:p>
            <a:pPr lvl="0"/>
            <a:r>
              <a:rPr lang="pt-BR"/>
              <a:t>Presenter</a:t>
            </a:r>
            <a:endParaRPr lang="pt-BR" dirty="0"/>
          </a:p>
        </p:txBody>
      </p:sp>
    </p:spTree>
    <p:extLst>
      <p:ext uri="{BB962C8B-B14F-4D97-AF65-F5344CB8AC3E}">
        <p14:creationId xmlns:p14="http://schemas.microsoft.com/office/powerpoint/2010/main" val="399503885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1620">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text + spli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A4C137-4394-29E9-EA18-FC5446E67F45}"/>
              </a:ext>
            </a:extLst>
          </p:cNvPr>
          <p:cNvGraphicFramePr>
            <a:graphicFrameLocks noChangeAspect="1"/>
          </p:cNvGraphicFramePr>
          <p:nvPr userDrawn="1">
            <p:custDataLst>
              <p:tags r:id="rId1"/>
            </p:custDataLst>
            <p:extLst>
              <p:ext uri="{D42A27DB-BD31-4B8C-83A1-F6EECF244321}">
                <p14:modId xmlns:p14="http://schemas.microsoft.com/office/powerpoint/2010/main" val="2074642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5" name="think-cell data - do not delete" hidden="1">
                        <a:extLst>
                          <a:ext uri="{FF2B5EF4-FFF2-40B4-BE49-F238E27FC236}">
                            <a16:creationId xmlns:a16="http://schemas.microsoft.com/office/drawing/2014/main" id="{E8A4C137-4394-29E9-EA18-FC5446E67F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7CADDCEF-8841-4D73-EAEB-25E159BD364A}"/>
              </a:ext>
            </a:extLst>
          </p:cNvPr>
          <p:cNvSpPr/>
          <p:nvPr userDrawn="1"/>
        </p:nvSpPr>
        <p:spPr>
          <a:xfrm>
            <a:off x="7839456" y="0"/>
            <a:ext cx="4352544"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tIns="121920" bIns="121920" rtlCol="0" anchor="ctr"/>
          <a:lstStyle/>
          <a:p>
            <a:pPr algn="ctr" rtl="0"/>
            <a:endParaRPr lang="pt-BR" sz="2400" dirty="0"/>
          </a:p>
        </p:txBody>
      </p:sp>
      <p:sp>
        <p:nvSpPr>
          <p:cNvPr id="6" name="Title 2">
            <a:extLst>
              <a:ext uri="{FF2B5EF4-FFF2-40B4-BE49-F238E27FC236}">
                <a16:creationId xmlns:a16="http://schemas.microsoft.com/office/drawing/2014/main" id="{9596D82E-71B7-FF51-B8E9-B259B21B69EB}"/>
              </a:ext>
            </a:extLst>
          </p:cNvPr>
          <p:cNvSpPr>
            <a:spLocks noGrp="1"/>
          </p:cNvSpPr>
          <p:nvPr>
            <p:ph type="title"/>
          </p:nvPr>
        </p:nvSpPr>
        <p:spPr>
          <a:xfrm>
            <a:off x="556467" y="572600"/>
            <a:ext cx="6757704" cy="393954"/>
          </a:xfrm>
        </p:spPr>
        <p:txBody>
          <a:bodyPr vert="horz"/>
          <a:lstStyle>
            <a:lvl1pPr rtl="0">
              <a:defRPr/>
            </a:lvl1pPr>
          </a:lstStyle>
          <a:p>
            <a:r>
              <a:rPr lang="pt-BR"/>
              <a:t>Click to edit Master title style</a:t>
            </a:r>
            <a:endParaRPr lang="pt-BR" dirty="0"/>
          </a:p>
        </p:txBody>
      </p:sp>
      <p:sp>
        <p:nvSpPr>
          <p:cNvPr id="15" name="Text Placeholder 47">
            <a:extLst>
              <a:ext uri="{FF2B5EF4-FFF2-40B4-BE49-F238E27FC236}">
                <a16:creationId xmlns:a16="http://schemas.microsoft.com/office/drawing/2014/main" id="{3269863B-5234-38BF-0D34-E538ACE4EA2B}"/>
              </a:ext>
            </a:extLst>
          </p:cNvPr>
          <p:cNvSpPr>
            <a:spLocks noGrp="1"/>
          </p:cNvSpPr>
          <p:nvPr>
            <p:ph type="body" sz="quarter" idx="28" hasCustomPrompt="1"/>
          </p:nvPr>
        </p:nvSpPr>
        <p:spPr>
          <a:xfrm>
            <a:off x="556468" y="2330533"/>
            <a:ext cx="3148429" cy="734935"/>
          </a:xfrm>
        </p:spPr>
        <p:txBody>
          <a:bodyPr/>
          <a:lstStyle>
            <a:lvl1pPr rtl="0">
              <a:defRPr lang="en-US" sz="1200" b="0" kern="1200" dirty="0" smtClean="0">
                <a:solidFill>
                  <a:schemeClr val="tx1"/>
                </a:solidFill>
                <a:latin typeface="+mn-lt"/>
                <a:ea typeface="+mn-ea"/>
                <a:cs typeface="+mn-cs"/>
              </a:defRPr>
            </a:lvl1pPr>
            <a:lvl2pPr>
              <a:defRPr lang="en-US" sz="1400" b="0" kern="1200" dirty="0" smtClean="0">
                <a:solidFill>
                  <a:schemeClr val="tx1"/>
                </a:solidFill>
                <a:latin typeface="+mn-lt"/>
                <a:ea typeface="+mn-ea"/>
                <a:cs typeface="+mn-cs"/>
              </a:defRPr>
            </a:lvl2pPr>
            <a:lvl3pPr>
              <a:defRPr/>
            </a:lvl3pPr>
            <a:lvl4pPr>
              <a:defRPr/>
            </a:lvl4pPr>
            <a:lvl5pPr>
              <a:defRPr/>
            </a:lvl5pPr>
          </a:lstStyle>
          <a:p>
            <a:pPr lvl="0"/>
            <a:r>
              <a:rPr lang="pt-BR"/>
              <a:t>Click to edit Master text styles. Lorem ipsum dolor sit amet, consectetur adipiscing elit.</a:t>
            </a:r>
            <a:endParaRPr lang="pt-BR" dirty="0"/>
          </a:p>
        </p:txBody>
      </p:sp>
      <p:sp>
        <p:nvSpPr>
          <p:cNvPr id="16" name="Text Placeholder 3a">
            <a:extLst>
              <a:ext uri="{FF2B5EF4-FFF2-40B4-BE49-F238E27FC236}">
                <a16:creationId xmlns:a16="http://schemas.microsoft.com/office/drawing/2014/main" id="{FAAE1576-C1B9-0E2B-83B0-F7C54B8589E8}"/>
              </a:ext>
            </a:extLst>
          </p:cNvPr>
          <p:cNvSpPr>
            <a:spLocks noGrp="1"/>
          </p:cNvSpPr>
          <p:nvPr>
            <p:ph type="body" idx="29" hasCustomPrompt="1"/>
          </p:nvPr>
        </p:nvSpPr>
        <p:spPr>
          <a:xfrm>
            <a:off x="556468" y="1887912"/>
            <a:ext cx="3148429" cy="256198"/>
          </a:xfrm>
          <a:prstGeom prst="rect">
            <a:avLst/>
          </a:prstGeom>
        </p:spPr>
        <p:txBody>
          <a:bodyPr anchor="t"/>
          <a:lstStyle>
            <a:lvl1pPr marL="0" indent="0" rtl="0">
              <a:lnSpc>
                <a:spcPct val="90000"/>
              </a:lnSpc>
              <a:spcAft>
                <a:spcPts val="0"/>
              </a:spcAft>
              <a:buNone/>
              <a:defRPr sz="1600" b="0" i="0">
                <a:solidFill>
                  <a:schemeClr val="bg2"/>
                </a:solidFill>
                <a:latin typeface="+mn-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pt-BR"/>
              <a:t>Text here</a:t>
            </a:r>
            <a:endParaRPr lang="pt-BR" dirty="0"/>
          </a:p>
        </p:txBody>
      </p:sp>
      <p:sp>
        <p:nvSpPr>
          <p:cNvPr id="17" name="Text Placeholder 47">
            <a:extLst>
              <a:ext uri="{FF2B5EF4-FFF2-40B4-BE49-F238E27FC236}">
                <a16:creationId xmlns:a16="http://schemas.microsoft.com/office/drawing/2014/main" id="{8ED52606-50DB-73E6-95EA-D88B274B22CD}"/>
              </a:ext>
            </a:extLst>
          </p:cNvPr>
          <p:cNvSpPr>
            <a:spLocks noGrp="1"/>
          </p:cNvSpPr>
          <p:nvPr>
            <p:ph type="body" sz="quarter" idx="30" hasCustomPrompt="1"/>
          </p:nvPr>
        </p:nvSpPr>
        <p:spPr>
          <a:xfrm>
            <a:off x="4135240" y="2330533"/>
            <a:ext cx="3148429" cy="734935"/>
          </a:xfrm>
        </p:spPr>
        <p:txBody>
          <a:bodyPr/>
          <a:lstStyle>
            <a:lvl1pPr rtl="0">
              <a:defRPr lang="en-US" sz="1200" b="0" kern="1200" dirty="0" smtClean="0">
                <a:solidFill>
                  <a:schemeClr val="tx1"/>
                </a:solidFill>
                <a:latin typeface="+mn-lt"/>
                <a:ea typeface="+mn-ea"/>
                <a:cs typeface="+mn-cs"/>
              </a:defRPr>
            </a:lvl1pPr>
            <a:lvl2pPr>
              <a:defRPr lang="en-US" sz="1400" b="0" kern="1200" dirty="0" smtClean="0">
                <a:solidFill>
                  <a:schemeClr val="tx1"/>
                </a:solidFill>
                <a:latin typeface="+mn-lt"/>
                <a:ea typeface="+mn-ea"/>
                <a:cs typeface="+mn-cs"/>
              </a:defRPr>
            </a:lvl2pPr>
            <a:lvl3pPr>
              <a:defRPr/>
            </a:lvl3pPr>
            <a:lvl4pPr>
              <a:defRPr/>
            </a:lvl4pPr>
            <a:lvl5pPr>
              <a:defRPr/>
            </a:lvl5pPr>
          </a:lstStyle>
          <a:p>
            <a:pPr lvl="0"/>
            <a:r>
              <a:rPr lang="pt-BR"/>
              <a:t>Click to edit Master text styles. Lorem ipsum dolor sit amet, consectetur adipiscing elit.</a:t>
            </a:r>
            <a:endParaRPr lang="pt-BR" dirty="0"/>
          </a:p>
        </p:txBody>
      </p:sp>
      <p:sp>
        <p:nvSpPr>
          <p:cNvPr id="18" name="Text Placeholder 3a">
            <a:extLst>
              <a:ext uri="{FF2B5EF4-FFF2-40B4-BE49-F238E27FC236}">
                <a16:creationId xmlns:a16="http://schemas.microsoft.com/office/drawing/2014/main" id="{AA248D68-4226-2C8B-DAF1-EBBE3A60A940}"/>
              </a:ext>
            </a:extLst>
          </p:cNvPr>
          <p:cNvSpPr>
            <a:spLocks noGrp="1"/>
          </p:cNvSpPr>
          <p:nvPr>
            <p:ph type="body" idx="31" hasCustomPrompt="1"/>
          </p:nvPr>
        </p:nvSpPr>
        <p:spPr>
          <a:xfrm>
            <a:off x="4135240" y="1887912"/>
            <a:ext cx="3148429" cy="256198"/>
          </a:xfrm>
          <a:prstGeom prst="rect">
            <a:avLst/>
          </a:prstGeom>
        </p:spPr>
        <p:txBody>
          <a:bodyPr anchor="t"/>
          <a:lstStyle>
            <a:lvl1pPr marL="0" indent="0" rtl="0">
              <a:lnSpc>
                <a:spcPct val="90000"/>
              </a:lnSpc>
              <a:spcAft>
                <a:spcPts val="0"/>
              </a:spcAft>
              <a:buNone/>
              <a:defRPr sz="1600" b="0" i="0">
                <a:solidFill>
                  <a:schemeClr val="bg2"/>
                </a:solidFill>
                <a:latin typeface="+mn-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pt-BR"/>
              <a:t>Text here</a:t>
            </a:r>
            <a:endParaRPr lang="pt-BR" dirty="0"/>
          </a:p>
        </p:txBody>
      </p:sp>
      <p:sp>
        <p:nvSpPr>
          <p:cNvPr id="7" name="slide number automatic">
            <a:extLst>
              <a:ext uri="{FF2B5EF4-FFF2-40B4-BE49-F238E27FC236}">
                <a16:creationId xmlns:a16="http://schemas.microsoft.com/office/drawing/2014/main" id="{B0F19C31-6554-B271-0340-EE09C970123A}"/>
              </a:ext>
            </a:extLst>
          </p:cNvPr>
          <p:cNvSpPr txBox="1"/>
          <p:nvPr userDrawn="1"/>
        </p:nvSpPr>
        <p:spPr>
          <a:xfrm>
            <a:off x="11685965" y="6429853"/>
            <a:ext cx="125035" cy="123111"/>
          </a:xfrm>
          <a:prstGeom prst="rect">
            <a:avLst/>
          </a:prstGeom>
          <a:noFill/>
        </p:spPr>
        <p:txBody>
          <a:bodyPr wrap="none" lIns="0" tIns="0" rIns="0" bIns="0" rtlCol="0" anchor="ctr">
            <a:spAutoFit/>
          </a:bodyPr>
          <a:lstStyle/>
          <a:p>
            <a:pPr marL="0" marR="0" lvl="0" indent="0" algn="r" defTabSz="228594" rtl="0" eaLnBrk="1" fontAlgn="auto" latinLnBrk="0" hangingPunct="1">
              <a:lnSpc>
                <a:spcPct val="100000"/>
              </a:lnSpc>
              <a:spcBef>
                <a:spcPts val="0"/>
              </a:spcBef>
              <a:spcAft>
                <a:spcPts val="1200"/>
              </a:spcAft>
              <a:buClrTx/>
              <a:buSzTx/>
              <a:buFontTx/>
              <a:buNone/>
              <a:tabLst/>
              <a:defRPr/>
            </a:pPr>
            <a:fld id="{8A1971D9-5B62-3C46-9EC9-FDAAB88557B2}" type="slidenum">
              <a:rPr lang="pt-BR" sz="800" smtClean="0">
                <a:solidFill>
                  <a:schemeClr val="bg1">
                    <a:lumMod val="85000"/>
                    <a:alpha val="75000"/>
                  </a:schemeClr>
                </a:solidFill>
                <a:latin typeface="Graphik Semibold" panose="020B0703030202060203" pitchFamily="34" charset="0"/>
              </a:rPr>
              <a:pPr marL="0" marR="0" lvl="0" indent="0" algn="r" defTabSz="228594" rtl="0" eaLnBrk="1" fontAlgn="auto" latinLnBrk="0" hangingPunct="1">
                <a:lnSpc>
                  <a:spcPct val="100000"/>
                </a:lnSpc>
                <a:spcBef>
                  <a:spcPts val="0"/>
                </a:spcBef>
                <a:spcAft>
                  <a:spcPts val="1200"/>
                </a:spcAft>
                <a:buClrTx/>
                <a:buSzTx/>
                <a:buFontTx/>
                <a:buNone/>
                <a:tabLst/>
                <a:defRPr/>
              </a:pPr>
              <a:t>‹#›</a:t>
            </a:fld>
            <a:endParaRPr lang="pt-BR" sz="1351" noProof="0" dirty="0">
              <a:solidFill>
                <a:schemeClr val="bg1">
                  <a:lumMod val="85000"/>
                  <a:alpha val="75000"/>
                </a:schemeClr>
              </a:solidFill>
              <a:latin typeface="Graphik Semibold" panose="020B0703030202060203" pitchFamily="34" charset="0"/>
            </a:endParaRPr>
          </a:p>
        </p:txBody>
      </p:sp>
    </p:spTree>
    <p:extLst>
      <p:ext uri="{BB962C8B-B14F-4D97-AF65-F5344CB8AC3E}">
        <p14:creationId xmlns:p14="http://schemas.microsoft.com/office/powerpoint/2010/main" val="3392396099"/>
      </p:ext>
    </p:extLst>
  </p:cSld>
  <p:clrMapOvr>
    <a:masterClrMapping/>
  </p:clrMapOvr>
  <p:extLst>
    <p:ext uri="{DCECCB84-F9BA-43D5-87BE-67443E8EF086}">
      <p15:sldGuideLst xmlns:p15="http://schemas.microsoft.com/office/powerpoint/2012/main">
        <p15:guide id="1" orient="horz" pos="3249"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1 column + spli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9C70982-65B0-A9F8-EBA9-30F8C1C5FCA0}"/>
              </a:ext>
            </a:extLst>
          </p:cNvPr>
          <p:cNvGraphicFramePr>
            <a:graphicFrameLocks noChangeAspect="1"/>
          </p:cNvGraphicFramePr>
          <p:nvPr userDrawn="1">
            <p:custDataLst>
              <p:tags r:id="rId1"/>
            </p:custDataLst>
            <p:extLst>
              <p:ext uri="{D42A27DB-BD31-4B8C-83A1-F6EECF244321}">
                <p14:modId xmlns:p14="http://schemas.microsoft.com/office/powerpoint/2010/main" val="417268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5" name="think-cell data - do not delete" hidden="1">
                        <a:extLst>
                          <a:ext uri="{FF2B5EF4-FFF2-40B4-BE49-F238E27FC236}">
                            <a16:creationId xmlns:a16="http://schemas.microsoft.com/office/drawing/2014/main" id="{D9C70982-65B0-A9F8-EBA9-30F8C1C5FCA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ntent Placeholder 4">
            <a:extLst>
              <a:ext uri="{FF2B5EF4-FFF2-40B4-BE49-F238E27FC236}">
                <a16:creationId xmlns:a16="http://schemas.microsoft.com/office/drawing/2014/main" id="{9917C584-C28F-B584-7B0F-55FA025AE20A}"/>
              </a:ext>
            </a:extLst>
          </p:cNvPr>
          <p:cNvSpPr>
            <a:spLocks noGrp="1"/>
          </p:cNvSpPr>
          <p:nvPr>
            <p:ph sz="half" idx="23" hasCustomPrompt="1"/>
          </p:nvPr>
        </p:nvSpPr>
        <p:spPr>
          <a:xfrm>
            <a:off x="563411" y="1871331"/>
            <a:ext cx="6898434" cy="4258007"/>
          </a:xfrm>
          <a:prstGeom prst="rect">
            <a:avLst/>
          </a:prstGeom>
        </p:spPr>
        <p:txBody>
          <a:bodyPr/>
          <a:lstStyle>
            <a:lvl1pPr rtl="0">
              <a:spcAft>
                <a:spcPts val="600"/>
              </a:spcAft>
              <a:defRPr sz="1400" b="0" i="0">
                <a:latin typeface="Graphik" panose="020B0503030202060203" pitchFamily="34" charset="77"/>
              </a:defRPr>
            </a:lvl1pPr>
            <a:lvl2pPr rtl="0">
              <a:spcAft>
                <a:spcPts val="600"/>
              </a:spcAft>
              <a:defRPr sz="1400" b="0" i="0">
                <a:latin typeface="Graphik" panose="020B0503030202060203" pitchFamily="34" charset="77"/>
              </a:defRPr>
            </a:lvl2pPr>
            <a:lvl3pPr rtl="0">
              <a:spcAft>
                <a:spcPts val="600"/>
              </a:spcAft>
              <a:defRPr sz="1400" b="0" i="0">
                <a:latin typeface="Graphik" panose="020B0503030202060203" pitchFamily="34" charset="77"/>
              </a:defRPr>
            </a:lvl3pPr>
            <a:lvl4pPr rtl="0">
              <a:spcAft>
                <a:spcPts val="600"/>
              </a:spcAft>
              <a:defRPr sz="1200" b="0" i="0">
                <a:latin typeface="Graphik" panose="020B0503030202060203" pitchFamily="34" charset="77"/>
              </a:defRPr>
            </a:lvl4pPr>
            <a:lvl5pPr rtl="0">
              <a:spcAft>
                <a:spcPts val="600"/>
              </a:spcAft>
              <a:defRPr sz="1200" b="0" i="0">
                <a:latin typeface="Graphik" panose="020B0503030202060203" pitchFamily="34" charset="77"/>
              </a:defRPr>
            </a:lvl5pPr>
            <a:lvl6pPr rtl="0">
              <a:defRPr sz="1100" b="0" i="0">
                <a:latin typeface="Graphik" panose="020B0503030202060203" pitchFamily="34" charset="77"/>
              </a:defRPr>
            </a:lvl6pPr>
          </a:lstStyle>
          <a:p>
            <a:pPr lvl="0"/>
            <a:r>
              <a:rPr lang="pt-BR"/>
              <a:t>Place text here</a:t>
            </a:r>
          </a:p>
          <a:p>
            <a:pPr lvl="1"/>
            <a:r>
              <a:rPr lang="pt-BR"/>
              <a:t>Second level</a:t>
            </a:r>
          </a:p>
          <a:p>
            <a:pPr lvl="2"/>
            <a:r>
              <a:rPr lang="pt-BR"/>
              <a:t>Third level</a:t>
            </a:r>
          </a:p>
          <a:p>
            <a:pPr lvl="3"/>
            <a:r>
              <a:rPr lang="pt-BR"/>
              <a:t>Fourth level</a:t>
            </a:r>
          </a:p>
          <a:p>
            <a:pPr lvl="4"/>
            <a:r>
              <a:rPr lang="pt-BR"/>
              <a:t>Fifth level</a:t>
            </a:r>
          </a:p>
          <a:p>
            <a:pPr lvl="5"/>
            <a:r>
              <a:rPr lang="pt-BR"/>
              <a:t>Sixth level</a:t>
            </a:r>
            <a:endParaRPr lang="pt-BR" dirty="0"/>
          </a:p>
        </p:txBody>
      </p:sp>
      <p:sp>
        <p:nvSpPr>
          <p:cNvPr id="2" name="Rectangle 1">
            <a:extLst>
              <a:ext uri="{FF2B5EF4-FFF2-40B4-BE49-F238E27FC236}">
                <a16:creationId xmlns:a16="http://schemas.microsoft.com/office/drawing/2014/main" id="{7CADDCEF-8841-4D73-EAEB-25E159BD364A}"/>
              </a:ext>
            </a:extLst>
          </p:cNvPr>
          <p:cNvSpPr/>
          <p:nvPr userDrawn="1"/>
        </p:nvSpPr>
        <p:spPr>
          <a:xfrm>
            <a:off x="7839456" y="0"/>
            <a:ext cx="4352544"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tIns="121920" bIns="121920" rtlCol="0" anchor="ctr"/>
          <a:lstStyle/>
          <a:p>
            <a:pPr algn="ctr" rtl="0"/>
            <a:endParaRPr lang="pt-BR" sz="2400" dirty="0"/>
          </a:p>
        </p:txBody>
      </p:sp>
      <p:sp>
        <p:nvSpPr>
          <p:cNvPr id="8" name="Title 2">
            <a:extLst>
              <a:ext uri="{FF2B5EF4-FFF2-40B4-BE49-F238E27FC236}">
                <a16:creationId xmlns:a16="http://schemas.microsoft.com/office/drawing/2014/main" id="{5D3D732C-3732-CD02-EAC3-668BD05D5AF0}"/>
              </a:ext>
            </a:extLst>
          </p:cNvPr>
          <p:cNvSpPr>
            <a:spLocks noGrp="1"/>
          </p:cNvSpPr>
          <p:nvPr>
            <p:ph type="title"/>
          </p:nvPr>
        </p:nvSpPr>
        <p:spPr>
          <a:xfrm>
            <a:off x="556467" y="572600"/>
            <a:ext cx="6898434" cy="393954"/>
          </a:xfrm>
        </p:spPr>
        <p:txBody>
          <a:bodyPr vert="horz"/>
          <a:lstStyle>
            <a:lvl1pPr rtl="0">
              <a:defRPr/>
            </a:lvl1pPr>
          </a:lstStyle>
          <a:p>
            <a:r>
              <a:rPr lang="pt-BR"/>
              <a:t>Click to edit Master title style</a:t>
            </a:r>
            <a:endParaRPr lang="pt-BR" dirty="0"/>
          </a:p>
        </p:txBody>
      </p:sp>
      <p:sp>
        <p:nvSpPr>
          <p:cNvPr id="3" name="Text Placeholder 47">
            <a:extLst>
              <a:ext uri="{FF2B5EF4-FFF2-40B4-BE49-F238E27FC236}">
                <a16:creationId xmlns:a16="http://schemas.microsoft.com/office/drawing/2014/main" id="{48660C5F-04AB-D437-8D1D-398DD42B6654}"/>
              </a:ext>
            </a:extLst>
          </p:cNvPr>
          <p:cNvSpPr>
            <a:spLocks noGrp="1"/>
          </p:cNvSpPr>
          <p:nvPr>
            <p:ph type="body" sz="quarter" idx="28" hasCustomPrompt="1"/>
          </p:nvPr>
        </p:nvSpPr>
        <p:spPr>
          <a:xfrm>
            <a:off x="8492709" y="2254789"/>
            <a:ext cx="3148429" cy="399921"/>
          </a:xfrm>
        </p:spPr>
        <p:txBody>
          <a:bodyPr/>
          <a:lstStyle>
            <a:lvl1pPr rtl="0">
              <a:defRPr lang="en-US" sz="1600" b="0" kern="1200" dirty="0" smtClean="0">
                <a:solidFill>
                  <a:schemeClr val="bg1"/>
                </a:solidFill>
                <a:latin typeface="+mn-lt"/>
                <a:ea typeface="+mn-ea"/>
                <a:cs typeface="+mn-cs"/>
              </a:defRPr>
            </a:lvl1pPr>
            <a:lvl2pPr>
              <a:defRPr lang="en-US" sz="1400" b="0" kern="1200" dirty="0" smtClean="0">
                <a:solidFill>
                  <a:schemeClr val="tx1"/>
                </a:solidFill>
                <a:latin typeface="+mn-lt"/>
                <a:ea typeface="+mn-ea"/>
                <a:cs typeface="+mn-cs"/>
              </a:defRPr>
            </a:lvl2pPr>
            <a:lvl3pPr>
              <a:defRPr/>
            </a:lvl3pPr>
            <a:lvl4pPr>
              <a:defRPr/>
            </a:lvl4pPr>
            <a:lvl5pPr>
              <a:defRPr/>
            </a:lvl5pPr>
          </a:lstStyle>
          <a:p>
            <a:pPr lvl="0"/>
            <a:r>
              <a:rPr lang="pt-BR"/>
              <a:t>Click to edit Master text styles.</a:t>
            </a:r>
            <a:endParaRPr lang="pt-BR" dirty="0"/>
          </a:p>
        </p:txBody>
      </p:sp>
      <p:sp>
        <p:nvSpPr>
          <p:cNvPr id="9" name="Text Placeholder 47">
            <a:extLst>
              <a:ext uri="{FF2B5EF4-FFF2-40B4-BE49-F238E27FC236}">
                <a16:creationId xmlns:a16="http://schemas.microsoft.com/office/drawing/2014/main" id="{87445057-4F7B-3130-60F5-D78783A22201}"/>
              </a:ext>
            </a:extLst>
          </p:cNvPr>
          <p:cNvSpPr>
            <a:spLocks noGrp="1"/>
          </p:cNvSpPr>
          <p:nvPr>
            <p:ph type="body" sz="quarter" idx="29" hasCustomPrompt="1"/>
          </p:nvPr>
        </p:nvSpPr>
        <p:spPr>
          <a:xfrm>
            <a:off x="8492709" y="3223267"/>
            <a:ext cx="3148429" cy="399921"/>
          </a:xfrm>
        </p:spPr>
        <p:txBody>
          <a:bodyPr/>
          <a:lstStyle>
            <a:lvl1pPr rtl="0">
              <a:defRPr lang="en-US" sz="1600" b="0" kern="1200" dirty="0" smtClean="0">
                <a:solidFill>
                  <a:schemeClr val="bg1"/>
                </a:solidFill>
                <a:latin typeface="+mn-lt"/>
                <a:ea typeface="+mn-ea"/>
                <a:cs typeface="+mn-cs"/>
              </a:defRPr>
            </a:lvl1pPr>
            <a:lvl2pPr>
              <a:defRPr lang="en-US" sz="1400" b="0" kern="1200" dirty="0" smtClean="0">
                <a:solidFill>
                  <a:schemeClr val="tx1"/>
                </a:solidFill>
                <a:latin typeface="+mn-lt"/>
                <a:ea typeface="+mn-ea"/>
                <a:cs typeface="+mn-cs"/>
              </a:defRPr>
            </a:lvl2pPr>
            <a:lvl3pPr>
              <a:defRPr/>
            </a:lvl3pPr>
            <a:lvl4pPr>
              <a:defRPr/>
            </a:lvl4pPr>
            <a:lvl5pPr>
              <a:defRPr/>
            </a:lvl5pPr>
          </a:lstStyle>
          <a:p>
            <a:pPr lvl="0"/>
            <a:r>
              <a:rPr lang="pt-BR"/>
              <a:t>Click to edit Master text styles.</a:t>
            </a:r>
            <a:endParaRPr lang="pt-BR" dirty="0"/>
          </a:p>
        </p:txBody>
      </p:sp>
      <p:sp>
        <p:nvSpPr>
          <p:cNvPr id="10" name="Text Placeholder 47">
            <a:extLst>
              <a:ext uri="{FF2B5EF4-FFF2-40B4-BE49-F238E27FC236}">
                <a16:creationId xmlns:a16="http://schemas.microsoft.com/office/drawing/2014/main" id="{7153D109-A742-E656-63F7-1203E6EBAA15}"/>
              </a:ext>
            </a:extLst>
          </p:cNvPr>
          <p:cNvSpPr>
            <a:spLocks noGrp="1"/>
          </p:cNvSpPr>
          <p:nvPr>
            <p:ph type="body" sz="quarter" idx="30" hasCustomPrompt="1"/>
          </p:nvPr>
        </p:nvSpPr>
        <p:spPr>
          <a:xfrm>
            <a:off x="8492709" y="4191745"/>
            <a:ext cx="3148429" cy="399921"/>
          </a:xfrm>
        </p:spPr>
        <p:txBody>
          <a:bodyPr/>
          <a:lstStyle>
            <a:lvl1pPr rtl="0">
              <a:defRPr lang="en-US" sz="1600" b="0" kern="1200" dirty="0" smtClean="0">
                <a:solidFill>
                  <a:schemeClr val="bg1"/>
                </a:solidFill>
                <a:latin typeface="+mn-lt"/>
                <a:ea typeface="+mn-ea"/>
                <a:cs typeface="+mn-cs"/>
              </a:defRPr>
            </a:lvl1pPr>
            <a:lvl2pPr>
              <a:defRPr lang="en-US" sz="1400" b="0" kern="1200" dirty="0" smtClean="0">
                <a:solidFill>
                  <a:schemeClr val="tx1"/>
                </a:solidFill>
                <a:latin typeface="+mn-lt"/>
                <a:ea typeface="+mn-ea"/>
                <a:cs typeface="+mn-cs"/>
              </a:defRPr>
            </a:lvl2pPr>
            <a:lvl3pPr>
              <a:defRPr/>
            </a:lvl3pPr>
            <a:lvl4pPr>
              <a:defRPr/>
            </a:lvl4pPr>
            <a:lvl5pPr>
              <a:defRPr/>
            </a:lvl5pPr>
          </a:lstStyle>
          <a:p>
            <a:pPr lvl="0"/>
            <a:r>
              <a:rPr lang="pt-BR"/>
              <a:t>Click to edit Master text styles.</a:t>
            </a:r>
            <a:endParaRPr lang="pt-BR" dirty="0"/>
          </a:p>
        </p:txBody>
      </p:sp>
      <p:sp>
        <p:nvSpPr>
          <p:cNvPr id="11" name="slide number automatic">
            <a:extLst>
              <a:ext uri="{FF2B5EF4-FFF2-40B4-BE49-F238E27FC236}">
                <a16:creationId xmlns:a16="http://schemas.microsoft.com/office/drawing/2014/main" id="{922D4837-A73E-8289-1E8F-AD0D5C3080D2}"/>
              </a:ext>
            </a:extLst>
          </p:cNvPr>
          <p:cNvSpPr txBox="1"/>
          <p:nvPr userDrawn="1"/>
        </p:nvSpPr>
        <p:spPr>
          <a:xfrm>
            <a:off x="11685965" y="6429853"/>
            <a:ext cx="125035" cy="123111"/>
          </a:xfrm>
          <a:prstGeom prst="rect">
            <a:avLst/>
          </a:prstGeom>
          <a:noFill/>
        </p:spPr>
        <p:txBody>
          <a:bodyPr wrap="none" lIns="0" tIns="0" rIns="0" bIns="0" rtlCol="0" anchor="ctr">
            <a:spAutoFit/>
          </a:bodyPr>
          <a:lstStyle/>
          <a:p>
            <a:pPr marL="0" marR="0" lvl="0" indent="0" algn="r" defTabSz="228594" rtl="0" eaLnBrk="1" fontAlgn="auto" latinLnBrk="0" hangingPunct="1">
              <a:lnSpc>
                <a:spcPct val="100000"/>
              </a:lnSpc>
              <a:spcBef>
                <a:spcPts val="0"/>
              </a:spcBef>
              <a:spcAft>
                <a:spcPts val="1200"/>
              </a:spcAft>
              <a:buClrTx/>
              <a:buSzTx/>
              <a:buFontTx/>
              <a:buNone/>
              <a:tabLst/>
              <a:defRPr/>
            </a:pPr>
            <a:fld id="{8A1971D9-5B62-3C46-9EC9-FDAAB88557B2}" type="slidenum">
              <a:rPr lang="pt-BR" sz="800" smtClean="0">
                <a:solidFill>
                  <a:schemeClr val="bg1">
                    <a:lumMod val="85000"/>
                    <a:alpha val="75000"/>
                  </a:schemeClr>
                </a:solidFill>
                <a:latin typeface="Graphik Semibold" panose="020B0703030202060203" pitchFamily="34" charset="0"/>
              </a:rPr>
              <a:pPr marL="0" marR="0" lvl="0" indent="0" algn="r" defTabSz="228594" rtl="0" eaLnBrk="1" fontAlgn="auto" latinLnBrk="0" hangingPunct="1">
                <a:lnSpc>
                  <a:spcPct val="100000"/>
                </a:lnSpc>
                <a:spcBef>
                  <a:spcPts val="0"/>
                </a:spcBef>
                <a:spcAft>
                  <a:spcPts val="1200"/>
                </a:spcAft>
                <a:buClrTx/>
                <a:buSzTx/>
                <a:buFontTx/>
                <a:buNone/>
                <a:tabLst/>
                <a:defRPr/>
              </a:pPr>
              <a:t>‹#›</a:t>
            </a:fld>
            <a:endParaRPr lang="pt-BR" sz="1351" noProof="0" dirty="0">
              <a:solidFill>
                <a:schemeClr val="bg1">
                  <a:lumMod val="85000"/>
                  <a:alpha val="75000"/>
                </a:schemeClr>
              </a:solidFill>
              <a:latin typeface="Graphik Semibold" panose="020B0703030202060203" pitchFamily="34" charset="0"/>
            </a:endParaRPr>
          </a:p>
        </p:txBody>
      </p:sp>
    </p:spTree>
    <p:extLst>
      <p:ext uri="{BB962C8B-B14F-4D97-AF65-F5344CB8AC3E}">
        <p14:creationId xmlns:p14="http://schemas.microsoft.com/office/powerpoint/2010/main" val="1281824958"/>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ote: image + white mode">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B7689AF-3D48-C0B3-0C11-EE6FFC063B52}"/>
              </a:ext>
            </a:extLst>
          </p:cNvPr>
          <p:cNvGraphicFramePr>
            <a:graphicFrameLocks noChangeAspect="1"/>
          </p:cNvGraphicFramePr>
          <p:nvPr userDrawn="1">
            <p:custDataLst>
              <p:tags r:id="rId1"/>
            </p:custDataLst>
            <p:extLst>
              <p:ext uri="{D42A27DB-BD31-4B8C-83A1-F6EECF244321}">
                <p14:modId xmlns:p14="http://schemas.microsoft.com/office/powerpoint/2010/main" val="1285224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4" name="think-cell data - do not delete" hidden="1">
                        <a:extLst>
                          <a:ext uri="{FF2B5EF4-FFF2-40B4-BE49-F238E27FC236}">
                            <a16:creationId xmlns:a16="http://schemas.microsoft.com/office/drawing/2014/main" id="{6B7689AF-3D48-C0B3-0C11-EE6FFC063B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icture Placeholder 10">
            <a:extLst>
              <a:ext uri="{FF2B5EF4-FFF2-40B4-BE49-F238E27FC236}">
                <a16:creationId xmlns:a16="http://schemas.microsoft.com/office/drawing/2014/main" id="{85F087B1-CDA4-427D-C33A-06F752C0B04F}"/>
              </a:ext>
            </a:extLst>
          </p:cNvPr>
          <p:cNvSpPr>
            <a:spLocks noGrp="1" noChangeAspect="1"/>
          </p:cNvSpPr>
          <p:nvPr>
            <p:ph type="pic" sz="quarter" idx="16"/>
          </p:nvPr>
        </p:nvSpPr>
        <p:spPr>
          <a:xfrm>
            <a:off x="6099351" y="549276"/>
            <a:ext cx="6091200" cy="5759450"/>
          </a:xfrm>
          <a:solidFill>
            <a:schemeClr val="bg1">
              <a:lumMod val="95000"/>
            </a:schemeClr>
          </a:solidFill>
        </p:spPr>
        <p:txBody>
          <a:bodyPr anchor="ctr"/>
          <a:lstStyle>
            <a:lvl1pPr algn="ctr" rtl="0">
              <a:defRPr>
                <a:solidFill>
                  <a:schemeClr val="tx1"/>
                </a:solidFill>
              </a:defRPr>
            </a:lvl1pPr>
          </a:lstStyle>
          <a:p>
            <a:r>
              <a:rPr lang="pt-BR"/>
              <a:t>Click icon to add picture</a:t>
            </a:r>
            <a:endParaRPr lang="pt-BR" dirty="0"/>
          </a:p>
        </p:txBody>
      </p:sp>
      <p:sp>
        <p:nvSpPr>
          <p:cNvPr id="2" name="Title 1">
            <a:extLst>
              <a:ext uri="{FF2B5EF4-FFF2-40B4-BE49-F238E27FC236}">
                <a16:creationId xmlns:a16="http://schemas.microsoft.com/office/drawing/2014/main" id="{1A550722-1BF3-D08F-D5F2-F357EE4FD5A8}"/>
              </a:ext>
            </a:extLst>
          </p:cNvPr>
          <p:cNvSpPr>
            <a:spLocks noGrp="1"/>
          </p:cNvSpPr>
          <p:nvPr>
            <p:ph type="title" hasCustomPrompt="1"/>
          </p:nvPr>
        </p:nvSpPr>
        <p:spPr>
          <a:xfrm>
            <a:off x="1163638" y="3033307"/>
            <a:ext cx="4489017" cy="398699"/>
          </a:xfrm>
          <a:prstGeom prst="rect">
            <a:avLst/>
          </a:prstGeom>
        </p:spPr>
        <p:txBody>
          <a:bodyPr vert="horz" anchor="ctr"/>
          <a:lstStyle>
            <a:lvl1pPr rtl="0">
              <a:lnSpc>
                <a:spcPct val="100000"/>
              </a:lnSpc>
              <a:defRPr lang="en-US" sz="3200" b="0" i="0" kern="1200">
                <a:solidFill>
                  <a:schemeClr val="tx1"/>
                </a:solidFill>
                <a:latin typeface="GT Sectra Fine Rg" pitchFamily="2" charset="77"/>
                <a:ea typeface="+mj-ea"/>
                <a:cs typeface="+mj-cs"/>
              </a:defRPr>
            </a:lvl1pPr>
          </a:lstStyle>
          <a:p>
            <a:pPr marL="0" lvl="0" indent="0" algn="l" defTabSz="914377" rtl="0" eaLnBrk="1" latinLnBrk="0" hangingPunct="1">
              <a:lnSpc>
                <a:spcPct val="80000"/>
              </a:lnSpc>
              <a:spcBef>
                <a:spcPct val="0"/>
              </a:spcBef>
              <a:spcAft>
                <a:spcPts val="0"/>
              </a:spcAft>
              <a:buFont typeface="Arial" panose="020B0604020202020204" pitchFamily="34" charset="0"/>
              <a:buNone/>
            </a:pPr>
            <a:r>
              <a:rPr lang="pt-BR"/>
              <a:t>Place quote here</a:t>
            </a:r>
            <a:endParaRPr lang="pt-BR" dirty="0"/>
          </a:p>
        </p:txBody>
      </p:sp>
    </p:spTree>
    <p:extLst>
      <p:ext uri="{BB962C8B-B14F-4D97-AF65-F5344CB8AC3E}">
        <p14:creationId xmlns:p14="http://schemas.microsoft.com/office/powerpoint/2010/main" val="2925679546"/>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ote: image + dark mode">
    <p:bg>
      <p:bgPr>
        <a:solidFill>
          <a:srgbClr val="000000"/>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811568A-5CB9-B5A9-636B-11936CEBF755}"/>
              </a:ext>
            </a:extLst>
          </p:cNvPr>
          <p:cNvGraphicFramePr>
            <a:graphicFrameLocks noChangeAspect="1"/>
          </p:cNvGraphicFramePr>
          <p:nvPr userDrawn="1">
            <p:custDataLst>
              <p:tags r:id="rId1"/>
            </p:custDataLst>
            <p:extLst>
              <p:ext uri="{D42A27DB-BD31-4B8C-83A1-F6EECF244321}">
                <p14:modId xmlns:p14="http://schemas.microsoft.com/office/powerpoint/2010/main" val="1795331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7" name="think-cell data - do not delete" hidden="1">
                        <a:extLst>
                          <a:ext uri="{FF2B5EF4-FFF2-40B4-BE49-F238E27FC236}">
                            <a16:creationId xmlns:a16="http://schemas.microsoft.com/office/drawing/2014/main" id="{F811568A-5CB9-B5A9-636B-11936CEBF7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icture Placeholder 10">
            <a:extLst>
              <a:ext uri="{FF2B5EF4-FFF2-40B4-BE49-F238E27FC236}">
                <a16:creationId xmlns:a16="http://schemas.microsoft.com/office/drawing/2014/main" id="{85F087B1-CDA4-427D-C33A-06F752C0B04F}"/>
              </a:ext>
            </a:extLst>
          </p:cNvPr>
          <p:cNvSpPr>
            <a:spLocks noGrp="1" noChangeAspect="1"/>
          </p:cNvSpPr>
          <p:nvPr>
            <p:ph type="pic" sz="quarter" idx="16"/>
          </p:nvPr>
        </p:nvSpPr>
        <p:spPr>
          <a:xfrm>
            <a:off x="6099351" y="549276"/>
            <a:ext cx="6091200" cy="5759450"/>
          </a:xfrm>
        </p:spPr>
        <p:txBody>
          <a:bodyPr anchor="ctr"/>
          <a:lstStyle>
            <a:lvl1pPr algn="ctr" rtl="0">
              <a:defRPr/>
            </a:lvl1pPr>
          </a:lstStyle>
          <a:p>
            <a:r>
              <a:rPr lang="pt-BR"/>
              <a:t>Click icon to add picture</a:t>
            </a:r>
            <a:endParaRPr lang="pt-BR" dirty="0"/>
          </a:p>
        </p:txBody>
      </p:sp>
      <p:sp>
        <p:nvSpPr>
          <p:cNvPr id="2" name="Title 1">
            <a:extLst>
              <a:ext uri="{FF2B5EF4-FFF2-40B4-BE49-F238E27FC236}">
                <a16:creationId xmlns:a16="http://schemas.microsoft.com/office/drawing/2014/main" id="{4D0BE08F-518C-6621-8CFD-4A6B4150BC57}"/>
              </a:ext>
            </a:extLst>
          </p:cNvPr>
          <p:cNvSpPr>
            <a:spLocks noGrp="1"/>
          </p:cNvSpPr>
          <p:nvPr>
            <p:ph type="title" hasCustomPrompt="1"/>
          </p:nvPr>
        </p:nvSpPr>
        <p:spPr>
          <a:xfrm>
            <a:off x="1163638" y="3033307"/>
            <a:ext cx="4489017" cy="398699"/>
          </a:xfrm>
          <a:prstGeom prst="rect">
            <a:avLst/>
          </a:prstGeom>
        </p:spPr>
        <p:txBody>
          <a:bodyPr vert="horz" anchor="ctr"/>
          <a:lstStyle>
            <a:lvl1pPr rtl="0">
              <a:lnSpc>
                <a:spcPct val="100000"/>
              </a:lnSpc>
              <a:defRPr lang="en-US" sz="3200" b="0" i="0" kern="1200">
                <a:solidFill>
                  <a:schemeClr val="bg1"/>
                </a:solidFill>
                <a:latin typeface="GT Sectra Fine Rg" pitchFamily="2" charset="77"/>
                <a:ea typeface="+mj-ea"/>
                <a:cs typeface="+mj-cs"/>
              </a:defRPr>
            </a:lvl1pPr>
          </a:lstStyle>
          <a:p>
            <a:pPr marL="0" lvl="0" indent="0" algn="l" defTabSz="914377" rtl="0" eaLnBrk="1" latinLnBrk="0" hangingPunct="1">
              <a:lnSpc>
                <a:spcPct val="80000"/>
              </a:lnSpc>
              <a:spcBef>
                <a:spcPct val="0"/>
              </a:spcBef>
              <a:spcAft>
                <a:spcPts val="0"/>
              </a:spcAft>
              <a:buFont typeface="Arial" panose="020B0604020202020204" pitchFamily="34" charset="0"/>
              <a:buNone/>
            </a:pPr>
            <a:r>
              <a:rPr lang="pt-BR"/>
              <a:t>Place quote here</a:t>
            </a:r>
            <a:endParaRPr lang="pt-BR" dirty="0"/>
          </a:p>
        </p:txBody>
      </p:sp>
      <p:sp>
        <p:nvSpPr>
          <p:cNvPr id="4" name="slide number automatic">
            <a:extLst>
              <a:ext uri="{FF2B5EF4-FFF2-40B4-BE49-F238E27FC236}">
                <a16:creationId xmlns:a16="http://schemas.microsoft.com/office/drawing/2014/main" id="{65E3D15D-8C37-9915-8ED3-632625C6F4D2}"/>
              </a:ext>
            </a:extLst>
          </p:cNvPr>
          <p:cNvSpPr txBox="1"/>
          <p:nvPr userDrawn="1"/>
        </p:nvSpPr>
        <p:spPr>
          <a:xfrm>
            <a:off x="11685965" y="6429853"/>
            <a:ext cx="125035" cy="123111"/>
          </a:xfrm>
          <a:prstGeom prst="rect">
            <a:avLst/>
          </a:prstGeom>
          <a:noFill/>
        </p:spPr>
        <p:txBody>
          <a:bodyPr wrap="none" lIns="0" tIns="0" rIns="0" bIns="0" rtlCol="0" anchor="ctr">
            <a:spAutoFit/>
          </a:bodyPr>
          <a:lstStyle/>
          <a:p>
            <a:pPr marL="0" marR="0" lvl="0" indent="0" algn="r" defTabSz="228594" rtl="0" eaLnBrk="1" fontAlgn="auto" latinLnBrk="0" hangingPunct="1">
              <a:lnSpc>
                <a:spcPct val="100000"/>
              </a:lnSpc>
              <a:spcBef>
                <a:spcPts val="0"/>
              </a:spcBef>
              <a:spcAft>
                <a:spcPts val="1200"/>
              </a:spcAft>
              <a:buClrTx/>
              <a:buSzTx/>
              <a:buFontTx/>
              <a:buNone/>
              <a:tabLst/>
              <a:defRPr/>
            </a:pPr>
            <a:fld id="{8A1971D9-5B62-3C46-9EC9-FDAAB88557B2}" type="slidenum">
              <a:rPr lang="pt-BR" sz="800" smtClean="0">
                <a:solidFill>
                  <a:schemeClr val="bg1">
                    <a:lumMod val="85000"/>
                    <a:alpha val="75000"/>
                  </a:schemeClr>
                </a:solidFill>
                <a:latin typeface="Graphik Semibold" panose="020B0703030202060203" pitchFamily="34" charset="0"/>
              </a:rPr>
              <a:pPr marL="0" marR="0" lvl="0" indent="0" algn="r" defTabSz="228594" rtl="0" eaLnBrk="1" fontAlgn="auto" latinLnBrk="0" hangingPunct="1">
                <a:lnSpc>
                  <a:spcPct val="100000"/>
                </a:lnSpc>
                <a:spcBef>
                  <a:spcPts val="0"/>
                </a:spcBef>
                <a:spcAft>
                  <a:spcPts val="1200"/>
                </a:spcAft>
                <a:buClrTx/>
                <a:buSzTx/>
                <a:buFontTx/>
                <a:buNone/>
                <a:tabLst/>
                <a:defRPr/>
              </a:pPr>
              <a:t>‹#›</a:t>
            </a:fld>
            <a:endParaRPr lang="pt-BR" sz="1351" noProof="0" dirty="0">
              <a:solidFill>
                <a:schemeClr val="bg1">
                  <a:lumMod val="85000"/>
                  <a:alpha val="75000"/>
                </a:schemeClr>
              </a:solidFill>
              <a:latin typeface="Graphik Semibold" panose="020B0703030202060203" pitchFamily="34" charset="0"/>
            </a:endParaRPr>
          </a:p>
        </p:txBody>
      </p:sp>
    </p:spTree>
    <p:extLst>
      <p:ext uri="{BB962C8B-B14F-4D97-AF65-F5344CB8AC3E}">
        <p14:creationId xmlns:p14="http://schemas.microsoft.com/office/powerpoint/2010/main" val="666653570"/>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ote: image + gradien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E2AF165-AF3A-CDD4-D31D-7F538D372D48}"/>
              </a:ext>
            </a:extLst>
          </p:cNvPr>
          <p:cNvGraphicFramePr>
            <a:graphicFrameLocks noChangeAspect="1"/>
          </p:cNvGraphicFramePr>
          <p:nvPr userDrawn="1">
            <p:custDataLst>
              <p:tags r:id="rId1"/>
            </p:custDataLst>
            <p:extLst>
              <p:ext uri="{D42A27DB-BD31-4B8C-83A1-F6EECF244321}">
                <p14:modId xmlns:p14="http://schemas.microsoft.com/office/powerpoint/2010/main" val="3092222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7" name="think-cell data - do not delete" hidden="1">
                        <a:extLst>
                          <a:ext uri="{FF2B5EF4-FFF2-40B4-BE49-F238E27FC236}">
                            <a16:creationId xmlns:a16="http://schemas.microsoft.com/office/drawing/2014/main" id="{0E2AF165-AF3A-CDD4-D31D-7F538D372D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descr="A purple and white blurry background&#10;&#10;AI-generated content may be incorrect.">
            <a:extLst>
              <a:ext uri="{FF2B5EF4-FFF2-40B4-BE49-F238E27FC236}">
                <a16:creationId xmlns:a16="http://schemas.microsoft.com/office/drawing/2014/main" id="{A383F73A-0DDB-6544-ADBF-6FC2D5357A94}"/>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rot="5400000">
            <a:off x="2665522" y="-2667001"/>
            <a:ext cx="6857998" cy="12192000"/>
          </a:xfrm>
          <a:prstGeom prst="rect">
            <a:avLst/>
          </a:prstGeom>
        </p:spPr>
      </p:pic>
      <p:sp>
        <p:nvSpPr>
          <p:cNvPr id="11" name="Picture Placeholder 10">
            <a:extLst>
              <a:ext uri="{FF2B5EF4-FFF2-40B4-BE49-F238E27FC236}">
                <a16:creationId xmlns:a16="http://schemas.microsoft.com/office/drawing/2014/main" id="{C176B75E-8527-3123-1BF5-5C5B849F38C1}"/>
              </a:ext>
            </a:extLst>
          </p:cNvPr>
          <p:cNvSpPr>
            <a:spLocks noGrp="1" noChangeAspect="1"/>
          </p:cNvSpPr>
          <p:nvPr>
            <p:ph type="pic" sz="quarter" idx="16"/>
          </p:nvPr>
        </p:nvSpPr>
        <p:spPr>
          <a:xfrm>
            <a:off x="6103368" y="549275"/>
            <a:ext cx="6092648" cy="5759450"/>
          </a:xfrm>
        </p:spPr>
        <p:txBody>
          <a:bodyPr anchor="ctr"/>
          <a:lstStyle>
            <a:lvl1pPr algn="ctr" rtl="0">
              <a:defRPr/>
            </a:lvl1pPr>
          </a:lstStyle>
          <a:p>
            <a:r>
              <a:rPr lang="pt-BR"/>
              <a:t>Click icon to add picture</a:t>
            </a:r>
            <a:endParaRPr lang="pt-BR" dirty="0"/>
          </a:p>
        </p:txBody>
      </p:sp>
      <p:sp>
        <p:nvSpPr>
          <p:cNvPr id="5" name="slide number automatic">
            <a:extLst>
              <a:ext uri="{FF2B5EF4-FFF2-40B4-BE49-F238E27FC236}">
                <a16:creationId xmlns:a16="http://schemas.microsoft.com/office/drawing/2014/main" id="{2250694F-F294-16BF-824E-C65B31D78242}"/>
              </a:ext>
            </a:extLst>
          </p:cNvPr>
          <p:cNvSpPr txBox="1"/>
          <p:nvPr userDrawn="1"/>
        </p:nvSpPr>
        <p:spPr>
          <a:xfrm>
            <a:off x="11685965" y="6429853"/>
            <a:ext cx="125035" cy="123111"/>
          </a:xfrm>
          <a:prstGeom prst="rect">
            <a:avLst/>
          </a:prstGeom>
          <a:noFill/>
        </p:spPr>
        <p:txBody>
          <a:bodyPr wrap="none" lIns="0" tIns="0" rIns="0" bIns="0" rtlCol="0" anchor="ctr">
            <a:spAutoFit/>
          </a:bodyPr>
          <a:lstStyle/>
          <a:p>
            <a:pPr marL="0" marR="0" lvl="0" indent="0" algn="r" defTabSz="228594" rtl="0" eaLnBrk="1" fontAlgn="auto" latinLnBrk="0" hangingPunct="1">
              <a:lnSpc>
                <a:spcPct val="100000"/>
              </a:lnSpc>
              <a:spcBef>
                <a:spcPts val="0"/>
              </a:spcBef>
              <a:spcAft>
                <a:spcPts val="1200"/>
              </a:spcAft>
              <a:buClrTx/>
              <a:buSzTx/>
              <a:buFontTx/>
              <a:buNone/>
              <a:tabLst/>
              <a:defRPr/>
            </a:pPr>
            <a:fld id="{8A1971D9-5B62-3C46-9EC9-FDAAB88557B2}" type="slidenum">
              <a:rPr lang="pt-BR" sz="800" smtClean="0">
                <a:solidFill>
                  <a:schemeClr val="bg1">
                    <a:lumMod val="85000"/>
                    <a:alpha val="75000"/>
                  </a:schemeClr>
                </a:solidFill>
                <a:latin typeface="Graphik Semibold" panose="020B0703030202060203" pitchFamily="34" charset="0"/>
              </a:rPr>
              <a:pPr marL="0" marR="0" lvl="0" indent="0" algn="r" defTabSz="228594" rtl="0" eaLnBrk="1" fontAlgn="auto" latinLnBrk="0" hangingPunct="1">
                <a:lnSpc>
                  <a:spcPct val="100000"/>
                </a:lnSpc>
                <a:spcBef>
                  <a:spcPts val="0"/>
                </a:spcBef>
                <a:spcAft>
                  <a:spcPts val="1200"/>
                </a:spcAft>
                <a:buClrTx/>
                <a:buSzTx/>
                <a:buFontTx/>
                <a:buNone/>
                <a:tabLst/>
                <a:defRPr/>
              </a:pPr>
              <a:t>‹#›</a:t>
            </a:fld>
            <a:endParaRPr lang="pt-BR" sz="1351" noProof="0" dirty="0">
              <a:solidFill>
                <a:schemeClr val="bg1">
                  <a:lumMod val="85000"/>
                  <a:alpha val="75000"/>
                </a:schemeClr>
              </a:solidFill>
              <a:latin typeface="Graphik Semibold" panose="020B0703030202060203" pitchFamily="34" charset="0"/>
            </a:endParaRPr>
          </a:p>
        </p:txBody>
      </p:sp>
      <p:sp>
        <p:nvSpPr>
          <p:cNvPr id="2" name="Title 1">
            <a:extLst>
              <a:ext uri="{FF2B5EF4-FFF2-40B4-BE49-F238E27FC236}">
                <a16:creationId xmlns:a16="http://schemas.microsoft.com/office/drawing/2014/main" id="{0B7292A3-796A-5092-2636-A42C4142BA0C}"/>
              </a:ext>
            </a:extLst>
          </p:cNvPr>
          <p:cNvSpPr>
            <a:spLocks noGrp="1"/>
          </p:cNvSpPr>
          <p:nvPr>
            <p:ph type="title" hasCustomPrompt="1"/>
          </p:nvPr>
        </p:nvSpPr>
        <p:spPr>
          <a:xfrm>
            <a:off x="1163638" y="3033307"/>
            <a:ext cx="4489017" cy="398699"/>
          </a:xfrm>
          <a:prstGeom prst="rect">
            <a:avLst/>
          </a:prstGeom>
        </p:spPr>
        <p:txBody>
          <a:bodyPr vert="horz" anchor="ctr"/>
          <a:lstStyle>
            <a:lvl1pPr rtl="0">
              <a:lnSpc>
                <a:spcPct val="100000"/>
              </a:lnSpc>
              <a:defRPr lang="en-US" sz="3200" b="0" i="0" kern="1200">
                <a:solidFill>
                  <a:schemeClr val="bg1"/>
                </a:solidFill>
                <a:latin typeface="GT Sectra Fine Rg" pitchFamily="2" charset="77"/>
                <a:ea typeface="+mj-ea"/>
                <a:cs typeface="+mj-cs"/>
              </a:defRPr>
            </a:lvl1pPr>
          </a:lstStyle>
          <a:p>
            <a:pPr marL="0" lvl="0" indent="0" algn="l" defTabSz="914377" rtl="0" eaLnBrk="1" latinLnBrk="0" hangingPunct="1">
              <a:lnSpc>
                <a:spcPct val="80000"/>
              </a:lnSpc>
              <a:spcBef>
                <a:spcPct val="0"/>
              </a:spcBef>
              <a:spcAft>
                <a:spcPts val="0"/>
              </a:spcAft>
              <a:buFont typeface="Arial" panose="020B0604020202020204" pitchFamily="34" charset="0"/>
              <a:buNone/>
            </a:pPr>
            <a:r>
              <a:rPr lang="pt-BR"/>
              <a:t>Place quote here</a:t>
            </a:r>
            <a:endParaRPr lang="pt-BR" dirty="0"/>
          </a:p>
        </p:txBody>
      </p:sp>
    </p:spTree>
    <p:extLst>
      <p:ext uri="{BB962C8B-B14F-4D97-AF65-F5344CB8AC3E}">
        <p14:creationId xmlns:p14="http://schemas.microsoft.com/office/powerpoint/2010/main" val="1157513013"/>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key message + image, light mo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E25699E-FDF9-8442-D96C-58A474D723FD}"/>
              </a:ext>
            </a:extLst>
          </p:cNvPr>
          <p:cNvGraphicFramePr>
            <a:graphicFrameLocks noChangeAspect="1"/>
          </p:cNvGraphicFramePr>
          <p:nvPr userDrawn="1">
            <p:custDataLst>
              <p:tags r:id="rId1"/>
            </p:custDataLst>
            <p:extLst>
              <p:ext uri="{D42A27DB-BD31-4B8C-83A1-F6EECF244321}">
                <p14:modId xmlns:p14="http://schemas.microsoft.com/office/powerpoint/2010/main" val="2177332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5" name="think-cell data - do not delete" hidden="1">
                        <a:extLst>
                          <a:ext uri="{FF2B5EF4-FFF2-40B4-BE49-F238E27FC236}">
                            <a16:creationId xmlns:a16="http://schemas.microsoft.com/office/drawing/2014/main" id="{0E25699E-FDF9-8442-D96C-58A474D723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554568" y="2838703"/>
            <a:ext cx="5098087" cy="787908"/>
          </a:xfrm>
          <a:prstGeom prst="rect">
            <a:avLst/>
          </a:prstGeom>
        </p:spPr>
        <p:txBody>
          <a:bodyPr vert="horz" anchor="ctr"/>
          <a:lstStyle>
            <a:lvl1pPr rtl="0">
              <a:defRPr sz="3200" b="0" i="0">
                <a:solidFill>
                  <a:schemeClr val="tx1"/>
                </a:solidFill>
                <a:latin typeface="+mn-lt"/>
              </a:defRPr>
            </a:lvl1pPr>
          </a:lstStyle>
          <a:p>
            <a:r>
              <a:rPr lang="pt-BR"/>
              <a:t>Place quote or key message here</a:t>
            </a:r>
            <a:endParaRPr lang="pt-BR" dirty="0"/>
          </a:p>
        </p:txBody>
      </p:sp>
      <p:sp>
        <p:nvSpPr>
          <p:cNvPr id="3" name="Picture Placeholder 18">
            <a:extLst>
              <a:ext uri="{FF2B5EF4-FFF2-40B4-BE49-F238E27FC236}">
                <a16:creationId xmlns:a16="http://schemas.microsoft.com/office/drawing/2014/main" id="{65F763E4-6449-FB61-1EC3-49C208D39CBF}"/>
              </a:ext>
            </a:extLst>
          </p:cNvPr>
          <p:cNvSpPr>
            <a:spLocks noGrp="1"/>
          </p:cNvSpPr>
          <p:nvPr>
            <p:ph type="pic" sz="quarter" idx="13" hasCustomPrompt="1"/>
          </p:nvPr>
        </p:nvSpPr>
        <p:spPr bwMode="gray">
          <a:xfrm>
            <a:off x="6096001" y="561651"/>
            <a:ext cx="6096000" cy="5747074"/>
          </a:xfrm>
          <a:prstGeom prst="rect">
            <a:avLst/>
          </a:prstGeom>
          <a:solidFill>
            <a:schemeClr val="bg1">
              <a:lumMod val="95000"/>
            </a:schemeClr>
          </a:solidFill>
          <a:effectLst/>
        </p:spPr>
        <p:txBody>
          <a:bodyPr tIns="274320" bIns="274320" anchor="ctr"/>
          <a:lstStyle>
            <a:lvl1pPr marL="0" indent="0" algn="ctr" rtl="0">
              <a:buNone/>
              <a:defRPr sz="1400" b="0" i="0">
                <a:solidFill>
                  <a:schemeClr val="tx1"/>
                </a:solidFill>
                <a:latin typeface="Graphik" panose="020B0503030202060203" pitchFamily="34" charset="77"/>
              </a:defRPr>
            </a:lvl1pPr>
          </a:lstStyle>
          <a:p>
            <a:r>
              <a:rPr lang="pt-BR"/>
              <a:t>Drag picture to placeholder or click icon to add</a:t>
            </a:r>
            <a:endParaRPr lang="pt-BR" dirty="0"/>
          </a:p>
        </p:txBody>
      </p:sp>
    </p:spTree>
    <p:extLst>
      <p:ext uri="{BB962C8B-B14F-4D97-AF65-F5344CB8AC3E}">
        <p14:creationId xmlns:p14="http://schemas.microsoft.com/office/powerpoint/2010/main" val="7420386"/>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key message + image, gradien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05D48CE-018D-D883-95B7-BA140B6FEF59}"/>
              </a:ext>
            </a:extLst>
          </p:cNvPr>
          <p:cNvGraphicFramePr>
            <a:graphicFrameLocks noChangeAspect="1"/>
          </p:cNvGraphicFramePr>
          <p:nvPr userDrawn="1">
            <p:custDataLst>
              <p:tags r:id="rId1"/>
            </p:custDataLst>
            <p:extLst>
              <p:ext uri="{D42A27DB-BD31-4B8C-83A1-F6EECF244321}">
                <p14:modId xmlns:p14="http://schemas.microsoft.com/office/powerpoint/2010/main" val="3779887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6" name="think-cell data - do not delete" hidden="1">
                        <a:extLst>
                          <a:ext uri="{FF2B5EF4-FFF2-40B4-BE49-F238E27FC236}">
                            <a16:creationId xmlns:a16="http://schemas.microsoft.com/office/drawing/2014/main" id="{705D48CE-018D-D883-95B7-BA140B6FEF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1" descr="A purple and white blurry background&#10;&#10;AI-generated content may be incorrect.">
            <a:extLst>
              <a:ext uri="{FF2B5EF4-FFF2-40B4-BE49-F238E27FC236}">
                <a16:creationId xmlns:a16="http://schemas.microsoft.com/office/drawing/2014/main" id="{9BD1E420-1BB8-094F-77D8-F027430B17F6}"/>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rot="5400000">
            <a:off x="2665522" y="-2667001"/>
            <a:ext cx="6857998" cy="12192000"/>
          </a:xfrm>
          <a:prstGeom prst="rect">
            <a:avLst/>
          </a:prstGeom>
        </p:spPr>
      </p:pic>
      <p:sp>
        <p:nvSpPr>
          <p:cNvPr id="10" name="Picture Placeholder 18">
            <a:extLst>
              <a:ext uri="{FF2B5EF4-FFF2-40B4-BE49-F238E27FC236}">
                <a16:creationId xmlns:a16="http://schemas.microsoft.com/office/drawing/2014/main" id="{9AA3B26C-CA7F-B4DF-EE34-75C3462C65F7}"/>
              </a:ext>
            </a:extLst>
          </p:cNvPr>
          <p:cNvSpPr>
            <a:spLocks noGrp="1"/>
          </p:cNvSpPr>
          <p:nvPr>
            <p:ph type="pic" sz="quarter" idx="13" hasCustomPrompt="1"/>
          </p:nvPr>
        </p:nvSpPr>
        <p:spPr bwMode="gray">
          <a:xfrm>
            <a:off x="6096001" y="561651"/>
            <a:ext cx="6096000" cy="5747074"/>
          </a:xfrm>
          <a:prstGeom prst="rect">
            <a:avLst/>
          </a:prstGeom>
          <a:solidFill>
            <a:schemeClr val="bg1">
              <a:lumMod val="95000"/>
            </a:schemeClr>
          </a:solidFill>
          <a:effectLst/>
        </p:spPr>
        <p:txBody>
          <a:bodyPr tIns="274320" bIns="274320" anchor="ctr"/>
          <a:lstStyle>
            <a:lvl1pPr marL="0" indent="0" algn="ctr" rtl="0">
              <a:buNone/>
              <a:defRPr sz="1400" b="0" i="0">
                <a:solidFill>
                  <a:schemeClr val="tx1"/>
                </a:solidFill>
                <a:latin typeface="Graphik" panose="020B0503030202060203" pitchFamily="34" charset="77"/>
              </a:defRPr>
            </a:lvl1pPr>
          </a:lstStyle>
          <a:p>
            <a:r>
              <a:rPr lang="pt-BR"/>
              <a:t>Drag picture to placeholder or click icon to add</a:t>
            </a:r>
            <a:endParaRPr lang="pt-BR" dirty="0"/>
          </a:p>
        </p:txBody>
      </p:sp>
      <p:sp>
        <p:nvSpPr>
          <p:cNvPr id="4" name="slide number automatic">
            <a:extLst>
              <a:ext uri="{FF2B5EF4-FFF2-40B4-BE49-F238E27FC236}">
                <a16:creationId xmlns:a16="http://schemas.microsoft.com/office/drawing/2014/main" id="{60F9A526-39EE-8272-4753-D784C27C5191}"/>
              </a:ext>
            </a:extLst>
          </p:cNvPr>
          <p:cNvSpPr txBox="1"/>
          <p:nvPr userDrawn="1"/>
        </p:nvSpPr>
        <p:spPr>
          <a:xfrm>
            <a:off x="11685965" y="6429853"/>
            <a:ext cx="125035" cy="123111"/>
          </a:xfrm>
          <a:prstGeom prst="rect">
            <a:avLst/>
          </a:prstGeom>
          <a:noFill/>
        </p:spPr>
        <p:txBody>
          <a:bodyPr wrap="none" lIns="0" tIns="0" rIns="0" bIns="0" rtlCol="0" anchor="ctr">
            <a:spAutoFit/>
          </a:bodyPr>
          <a:lstStyle/>
          <a:p>
            <a:pPr marL="0" marR="0" lvl="0" indent="0" algn="r" defTabSz="228594" rtl="0" eaLnBrk="1" fontAlgn="auto" latinLnBrk="0" hangingPunct="1">
              <a:lnSpc>
                <a:spcPct val="100000"/>
              </a:lnSpc>
              <a:spcBef>
                <a:spcPts val="0"/>
              </a:spcBef>
              <a:spcAft>
                <a:spcPts val="1200"/>
              </a:spcAft>
              <a:buClrTx/>
              <a:buSzTx/>
              <a:buFontTx/>
              <a:buNone/>
              <a:tabLst/>
              <a:defRPr/>
            </a:pPr>
            <a:fld id="{8A1971D9-5B62-3C46-9EC9-FDAAB88557B2}" type="slidenum">
              <a:rPr lang="pt-BR" sz="800" smtClean="0">
                <a:solidFill>
                  <a:schemeClr val="bg1">
                    <a:lumMod val="85000"/>
                    <a:alpha val="75000"/>
                  </a:schemeClr>
                </a:solidFill>
                <a:latin typeface="Graphik Semibold" panose="020B0703030202060203" pitchFamily="34" charset="0"/>
              </a:rPr>
              <a:pPr marL="0" marR="0" lvl="0" indent="0" algn="r" defTabSz="228594" rtl="0" eaLnBrk="1" fontAlgn="auto" latinLnBrk="0" hangingPunct="1">
                <a:lnSpc>
                  <a:spcPct val="100000"/>
                </a:lnSpc>
                <a:spcBef>
                  <a:spcPts val="0"/>
                </a:spcBef>
                <a:spcAft>
                  <a:spcPts val="1200"/>
                </a:spcAft>
                <a:buClrTx/>
                <a:buSzTx/>
                <a:buFontTx/>
                <a:buNone/>
                <a:tabLst/>
                <a:defRPr/>
              </a:pPr>
              <a:t>‹#›</a:t>
            </a:fld>
            <a:endParaRPr lang="pt-BR" sz="1351" noProof="0" dirty="0">
              <a:solidFill>
                <a:schemeClr val="bg1">
                  <a:lumMod val="85000"/>
                  <a:alpha val="75000"/>
                </a:schemeClr>
              </a:solidFill>
              <a:latin typeface="Graphik Semibold" panose="020B0703030202060203" pitchFamily="34" charset="0"/>
            </a:endParaRPr>
          </a:p>
        </p:txBody>
      </p:sp>
      <p:sp>
        <p:nvSpPr>
          <p:cNvPr id="11" name="Title 1">
            <a:extLst>
              <a:ext uri="{FF2B5EF4-FFF2-40B4-BE49-F238E27FC236}">
                <a16:creationId xmlns:a16="http://schemas.microsoft.com/office/drawing/2014/main" id="{5761EBD1-EAAC-E1FA-6310-1DCDC89C84B6}"/>
              </a:ext>
            </a:extLst>
          </p:cNvPr>
          <p:cNvSpPr>
            <a:spLocks noGrp="1"/>
          </p:cNvSpPr>
          <p:nvPr>
            <p:ph type="title" hasCustomPrompt="1"/>
          </p:nvPr>
        </p:nvSpPr>
        <p:spPr>
          <a:xfrm>
            <a:off x="554568" y="2838703"/>
            <a:ext cx="5098087" cy="787908"/>
          </a:xfrm>
          <a:prstGeom prst="rect">
            <a:avLst/>
          </a:prstGeom>
        </p:spPr>
        <p:txBody>
          <a:bodyPr vert="horz" anchor="ctr"/>
          <a:lstStyle>
            <a:lvl1pPr rtl="0">
              <a:defRPr sz="3200" b="0" i="0">
                <a:solidFill>
                  <a:schemeClr val="bg1"/>
                </a:solidFill>
                <a:latin typeface="+mn-lt"/>
              </a:defRPr>
            </a:lvl1pPr>
          </a:lstStyle>
          <a:p>
            <a:r>
              <a:rPr lang="pt-BR"/>
              <a:t>Place quote or key message here</a:t>
            </a:r>
            <a:endParaRPr lang="pt-BR" dirty="0"/>
          </a:p>
        </p:txBody>
      </p:sp>
    </p:spTree>
    <p:extLst>
      <p:ext uri="{BB962C8B-B14F-4D97-AF65-F5344CB8AC3E}">
        <p14:creationId xmlns:p14="http://schemas.microsoft.com/office/powerpoint/2010/main" val="1025997231"/>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key message + image, dark mode">
    <p:bg>
      <p:bgPr>
        <a:solidFill>
          <a:srgbClr val="000000"/>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F0CDBD3-7558-C744-9E31-7842799EFF4D}"/>
              </a:ext>
            </a:extLst>
          </p:cNvPr>
          <p:cNvGraphicFramePr>
            <a:graphicFrameLocks noChangeAspect="1"/>
          </p:cNvGraphicFramePr>
          <p:nvPr userDrawn="1">
            <p:custDataLst>
              <p:tags r:id="rId1"/>
            </p:custDataLst>
            <p:extLst>
              <p:ext uri="{D42A27DB-BD31-4B8C-83A1-F6EECF244321}">
                <p14:modId xmlns:p14="http://schemas.microsoft.com/office/powerpoint/2010/main" val="4115214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6" name="think-cell data - do not delete" hidden="1">
                        <a:extLst>
                          <a:ext uri="{FF2B5EF4-FFF2-40B4-BE49-F238E27FC236}">
                            <a16:creationId xmlns:a16="http://schemas.microsoft.com/office/drawing/2014/main" id="{9F0CDBD3-7558-C744-9E31-7842799EFF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slide number automatic">
            <a:extLst>
              <a:ext uri="{FF2B5EF4-FFF2-40B4-BE49-F238E27FC236}">
                <a16:creationId xmlns:a16="http://schemas.microsoft.com/office/drawing/2014/main" id="{4F03B290-6E83-1A46-D0DD-7EDFE2CF4967}"/>
              </a:ext>
            </a:extLst>
          </p:cNvPr>
          <p:cNvSpPr txBox="1"/>
          <p:nvPr userDrawn="1"/>
        </p:nvSpPr>
        <p:spPr>
          <a:xfrm>
            <a:off x="11685965" y="6429853"/>
            <a:ext cx="125035" cy="123111"/>
          </a:xfrm>
          <a:prstGeom prst="rect">
            <a:avLst/>
          </a:prstGeom>
          <a:noFill/>
        </p:spPr>
        <p:txBody>
          <a:bodyPr wrap="none" lIns="0" tIns="0" rIns="0" bIns="0" rtlCol="0" anchor="ctr">
            <a:spAutoFit/>
          </a:bodyPr>
          <a:lstStyle/>
          <a:p>
            <a:pPr marL="0" marR="0" lvl="0" indent="0" algn="r" defTabSz="228594" rtl="0" eaLnBrk="1" fontAlgn="auto" latinLnBrk="0" hangingPunct="1">
              <a:lnSpc>
                <a:spcPct val="100000"/>
              </a:lnSpc>
              <a:spcBef>
                <a:spcPts val="0"/>
              </a:spcBef>
              <a:spcAft>
                <a:spcPts val="1200"/>
              </a:spcAft>
              <a:buClrTx/>
              <a:buSzTx/>
              <a:buFontTx/>
              <a:buNone/>
              <a:tabLst/>
              <a:defRPr/>
            </a:pPr>
            <a:fld id="{8A1971D9-5B62-3C46-9EC9-FDAAB88557B2}" type="slidenum">
              <a:rPr lang="pt-BR" sz="800" smtClean="0">
                <a:solidFill>
                  <a:schemeClr val="bg1">
                    <a:lumMod val="85000"/>
                    <a:alpha val="75000"/>
                  </a:schemeClr>
                </a:solidFill>
                <a:latin typeface="Graphik Semibold" panose="020B0703030202060203" pitchFamily="34" charset="0"/>
              </a:rPr>
              <a:pPr marL="0" marR="0" lvl="0" indent="0" algn="r" defTabSz="228594" rtl="0" eaLnBrk="1" fontAlgn="auto" latinLnBrk="0" hangingPunct="1">
                <a:lnSpc>
                  <a:spcPct val="100000"/>
                </a:lnSpc>
                <a:spcBef>
                  <a:spcPts val="0"/>
                </a:spcBef>
                <a:spcAft>
                  <a:spcPts val="1200"/>
                </a:spcAft>
                <a:buClrTx/>
                <a:buSzTx/>
                <a:buFontTx/>
                <a:buNone/>
                <a:tabLst/>
                <a:defRPr/>
              </a:pPr>
              <a:t>‹#›</a:t>
            </a:fld>
            <a:endParaRPr lang="pt-BR" sz="1351" noProof="0" dirty="0">
              <a:solidFill>
                <a:schemeClr val="bg1">
                  <a:lumMod val="85000"/>
                  <a:alpha val="75000"/>
                </a:schemeClr>
              </a:solidFill>
              <a:latin typeface="Graphik Semibold" panose="020B0703030202060203" pitchFamily="34" charset="0"/>
            </a:endParaRPr>
          </a:p>
        </p:txBody>
      </p:sp>
      <p:sp>
        <p:nvSpPr>
          <p:cNvPr id="3" name="Title 1">
            <a:extLst>
              <a:ext uri="{FF2B5EF4-FFF2-40B4-BE49-F238E27FC236}">
                <a16:creationId xmlns:a16="http://schemas.microsoft.com/office/drawing/2014/main" id="{639540C7-90CF-ACE6-34AE-174CDEB46195}"/>
              </a:ext>
            </a:extLst>
          </p:cNvPr>
          <p:cNvSpPr>
            <a:spLocks noGrp="1"/>
          </p:cNvSpPr>
          <p:nvPr>
            <p:ph type="title" hasCustomPrompt="1"/>
          </p:nvPr>
        </p:nvSpPr>
        <p:spPr>
          <a:xfrm>
            <a:off x="554568" y="2838703"/>
            <a:ext cx="5098087" cy="787908"/>
          </a:xfrm>
          <a:prstGeom prst="rect">
            <a:avLst/>
          </a:prstGeom>
        </p:spPr>
        <p:txBody>
          <a:bodyPr vert="horz" anchor="ctr"/>
          <a:lstStyle>
            <a:lvl1pPr rtl="0">
              <a:defRPr sz="3200" b="0" i="0">
                <a:solidFill>
                  <a:schemeClr val="bg1"/>
                </a:solidFill>
                <a:latin typeface="+mn-lt"/>
              </a:defRPr>
            </a:lvl1pPr>
          </a:lstStyle>
          <a:p>
            <a:r>
              <a:rPr lang="pt-BR"/>
              <a:t>Place quote or key message here</a:t>
            </a:r>
            <a:endParaRPr lang="pt-BR" dirty="0"/>
          </a:p>
        </p:txBody>
      </p:sp>
      <p:sp>
        <p:nvSpPr>
          <p:cNvPr id="5" name="Picture Placeholder 18">
            <a:extLst>
              <a:ext uri="{FF2B5EF4-FFF2-40B4-BE49-F238E27FC236}">
                <a16:creationId xmlns:a16="http://schemas.microsoft.com/office/drawing/2014/main" id="{0E1008B6-7792-F7C1-448D-E26EBA7F66E1}"/>
              </a:ext>
            </a:extLst>
          </p:cNvPr>
          <p:cNvSpPr>
            <a:spLocks noGrp="1"/>
          </p:cNvSpPr>
          <p:nvPr>
            <p:ph type="pic" sz="quarter" idx="13" hasCustomPrompt="1"/>
          </p:nvPr>
        </p:nvSpPr>
        <p:spPr bwMode="gray">
          <a:xfrm>
            <a:off x="6096001" y="561651"/>
            <a:ext cx="6096000" cy="5747074"/>
          </a:xfrm>
          <a:prstGeom prst="rect">
            <a:avLst/>
          </a:prstGeom>
          <a:solidFill>
            <a:schemeClr val="bg1">
              <a:lumMod val="95000"/>
            </a:schemeClr>
          </a:solidFill>
          <a:effectLst/>
        </p:spPr>
        <p:txBody>
          <a:bodyPr tIns="274320" bIns="274320" anchor="ctr"/>
          <a:lstStyle>
            <a:lvl1pPr marL="0" indent="0" algn="ctr" rtl="0">
              <a:buNone/>
              <a:defRPr sz="1400" b="0" i="0">
                <a:solidFill>
                  <a:schemeClr val="tx1"/>
                </a:solidFill>
                <a:latin typeface="Graphik" panose="020B0503030202060203" pitchFamily="34" charset="77"/>
              </a:defRPr>
            </a:lvl1pPr>
          </a:lstStyle>
          <a:p>
            <a:r>
              <a:rPr lang="pt-BR"/>
              <a:t>Drag picture to placeholder or click icon to add</a:t>
            </a:r>
            <a:endParaRPr lang="pt-BR" dirty="0"/>
          </a:p>
        </p:txBody>
      </p:sp>
    </p:spTree>
    <p:extLst>
      <p:ext uri="{BB962C8B-B14F-4D97-AF65-F5344CB8AC3E}">
        <p14:creationId xmlns:p14="http://schemas.microsoft.com/office/powerpoint/2010/main" val="1547389539"/>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Key message: light mode">
    <p:bg>
      <p:bgPr>
        <a:solidFill>
          <a:schemeClr val="tx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94D7E0B-1DBA-14B7-1371-09827E44E95D}"/>
              </a:ext>
            </a:extLst>
          </p:cNvPr>
          <p:cNvGraphicFramePr>
            <a:graphicFrameLocks noChangeAspect="1"/>
          </p:cNvGraphicFramePr>
          <p:nvPr userDrawn="1">
            <p:custDataLst>
              <p:tags r:id="rId1"/>
            </p:custDataLst>
            <p:extLst>
              <p:ext uri="{D42A27DB-BD31-4B8C-83A1-F6EECF244321}">
                <p14:modId xmlns:p14="http://schemas.microsoft.com/office/powerpoint/2010/main" val="801514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4" name="think-cell data - do not delete" hidden="1">
                        <a:extLst>
                          <a:ext uri="{FF2B5EF4-FFF2-40B4-BE49-F238E27FC236}">
                            <a16:creationId xmlns:a16="http://schemas.microsoft.com/office/drawing/2014/main" id="{E94D7E0B-1DBA-14B7-1371-09827E44E9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Slide number automatic">
            <a:extLst>
              <a:ext uri="{FF2B5EF4-FFF2-40B4-BE49-F238E27FC236}">
                <a16:creationId xmlns:a16="http://schemas.microsoft.com/office/drawing/2014/main" id="{4FE121F1-B169-11A8-1F63-C705FECD0AAA}"/>
              </a:ext>
            </a:extLst>
          </p:cNvPr>
          <p:cNvSpPr txBox="1">
            <a:spLocks/>
          </p:cNvSpPr>
          <p:nvPr userDrawn="1"/>
        </p:nvSpPr>
        <p:spPr>
          <a:xfrm>
            <a:off x="11484000" y="6384001"/>
            <a:ext cx="327600" cy="198319"/>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algn="r" defTabSz="914377" rtl="0" eaLnBrk="1" latinLnBrk="0" hangingPunct="1">
              <a:spcAft>
                <a:spcPts val="1200"/>
              </a:spcAft>
              <a:defRPr/>
            </a:pPr>
            <a:fld id="{73F1C454-A9D8-014C-8BFC-BAC2D203B5DF}" type="slidenum">
              <a:rPr lang="pt-BR" sz="800" b="0" i="0" kern="1200" smtClean="0">
                <a:solidFill>
                  <a:schemeClr val="bg1"/>
                </a:solidFill>
                <a:latin typeface="Graphik" panose="020B0503030202060203" pitchFamily="34" charset="77"/>
                <a:ea typeface="+mn-ea"/>
                <a:cs typeface="+mn-cs"/>
              </a:rPr>
              <a:pPr marL="0" algn="r" defTabSz="914377" rtl="0" eaLnBrk="1" latinLnBrk="0" hangingPunct="1">
                <a:spcAft>
                  <a:spcPts val="1200"/>
                </a:spcAft>
                <a:defRPr/>
              </a:pPr>
              <a:t>‹#›</a:t>
            </a:fld>
            <a:endParaRPr lang="pt-BR" sz="800" b="0" i="0" kern="1200" dirty="0">
              <a:solidFill>
                <a:schemeClr val="bg1"/>
              </a:solidFill>
              <a:latin typeface="Graphik" panose="020B0503030202060203" pitchFamily="34" charset="77"/>
              <a:ea typeface="+mn-ea"/>
              <a:cs typeface="+mn-cs"/>
            </a:endParaRPr>
          </a:p>
        </p:txBody>
      </p:sp>
      <p:sp>
        <p:nvSpPr>
          <p:cNvPr id="2" name="Title 1">
            <a:extLst>
              <a:ext uri="{FF2B5EF4-FFF2-40B4-BE49-F238E27FC236}">
                <a16:creationId xmlns:a16="http://schemas.microsoft.com/office/drawing/2014/main" id="{97274A5B-9D05-0703-63C7-382088724F28}"/>
              </a:ext>
            </a:extLst>
          </p:cNvPr>
          <p:cNvSpPr>
            <a:spLocks noGrp="1"/>
          </p:cNvSpPr>
          <p:nvPr>
            <p:ph type="title" hasCustomPrompt="1"/>
          </p:nvPr>
        </p:nvSpPr>
        <p:spPr>
          <a:xfrm>
            <a:off x="1163638" y="3179796"/>
            <a:ext cx="7200000" cy="498406"/>
          </a:xfrm>
          <a:prstGeom prst="rect">
            <a:avLst/>
          </a:prstGeom>
        </p:spPr>
        <p:txBody>
          <a:bodyPr vert="horz" anchor="ctr"/>
          <a:lstStyle>
            <a:lvl1pPr algn="l" defTabSz="914377" rtl="0" eaLnBrk="1" latinLnBrk="0" hangingPunct="1">
              <a:lnSpc>
                <a:spcPct val="80000"/>
              </a:lnSpc>
              <a:spcBef>
                <a:spcPct val="0"/>
              </a:spcBef>
              <a:buNone/>
              <a:defRPr lang="en-US" sz="4000" b="0" i="0" kern="1200">
                <a:solidFill>
                  <a:srgbClr val="000000"/>
                </a:solidFill>
                <a:latin typeface="GT Sectra Fine Rg" pitchFamily="2" charset="77"/>
                <a:ea typeface="+mj-ea"/>
                <a:cs typeface="+mj-cs"/>
              </a:defRPr>
            </a:lvl1pPr>
          </a:lstStyle>
          <a:p>
            <a:r>
              <a:rPr lang="pt-BR"/>
              <a:t>Click to edit key message style</a:t>
            </a:r>
            <a:endParaRPr lang="pt-BR" dirty="0"/>
          </a:p>
        </p:txBody>
      </p:sp>
    </p:spTree>
    <p:extLst>
      <p:ext uri="{BB962C8B-B14F-4D97-AF65-F5344CB8AC3E}">
        <p14:creationId xmlns:p14="http://schemas.microsoft.com/office/powerpoint/2010/main" val="300650142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1620" userDrawn="1">
          <p15:clr>
            <a:srgbClr val="C35EA4"/>
          </p15:clr>
        </p15:guide>
        <p15:guide id="2" pos="2880" userDrawn="1">
          <p15:clr>
            <a:srgbClr val="C35EA4"/>
          </p15:clr>
        </p15:guide>
        <p15:guide id="3" orient="horz" pos="2707" userDrawn="1">
          <p15:clr>
            <a:srgbClr val="C35E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Key message: dark mode">
    <p:bg>
      <p:bgPr>
        <a:solidFill>
          <a:srgbClr val="000000"/>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1B83BCA-A409-E84C-6579-D211C21B231D}"/>
              </a:ext>
            </a:extLst>
          </p:cNvPr>
          <p:cNvGraphicFramePr>
            <a:graphicFrameLocks noChangeAspect="1"/>
          </p:cNvGraphicFramePr>
          <p:nvPr userDrawn="1">
            <p:custDataLst>
              <p:tags r:id="rId1"/>
            </p:custDataLst>
            <p:extLst>
              <p:ext uri="{D42A27DB-BD31-4B8C-83A1-F6EECF244321}">
                <p14:modId xmlns:p14="http://schemas.microsoft.com/office/powerpoint/2010/main" val="3169380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6" name="think-cell data - do not delete" hidden="1">
                        <a:extLst>
                          <a:ext uri="{FF2B5EF4-FFF2-40B4-BE49-F238E27FC236}">
                            <a16:creationId xmlns:a16="http://schemas.microsoft.com/office/drawing/2014/main" id="{E1B83BCA-A409-E84C-6579-D211C21B23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itle 1">
            <a:extLst>
              <a:ext uri="{FF2B5EF4-FFF2-40B4-BE49-F238E27FC236}">
                <a16:creationId xmlns:a16="http://schemas.microsoft.com/office/drawing/2014/main" id="{4E36F867-B36A-BD05-3724-F673E9B7FF67}"/>
              </a:ext>
            </a:extLst>
          </p:cNvPr>
          <p:cNvSpPr>
            <a:spLocks noGrp="1"/>
          </p:cNvSpPr>
          <p:nvPr>
            <p:ph type="title" hasCustomPrompt="1"/>
          </p:nvPr>
        </p:nvSpPr>
        <p:spPr>
          <a:xfrm>
            <a:off x="1163638" y="3179796"/>
            <a:ext cx="7200000" cy="498406"/>
          </a:xfrm>
          <a:prstGeom prst="rect">
            <a:avLst/>
          </a:prstGeom>
        </p:spPr>
        <p:txBody>
          <a:bodyPr vert="horz" anchor="ctr"/>
          <a:lstStyle>
            <a:lvl1pPr algn="l" defTabSz="914377" rtl="0" eaLnBrk="1" latinLnBrk="0" hangingPunct="1">
              <a:lnSpc>
                <a:spcPct val="80000"/>
              </a:lnSpc>
              <a:spcBef>
                <a:spcPct val="0"/>
              </a:spcBef>
              <a:buNone/>
              <a:defRPr lang="en-US" sz="4000" b="0" i="0" kern="1200">
                <a:solidFill>
                  <a:schemeClr val="tx1"/>
                </a:solidFill>
                <a:latin typeface="GT Sectra Fine Rg" pitchFamily="2" charset="77"/>
                <a:ea typeface="+mj-ea"/>
                <a:cs typeface="+mj-cs"/>
              </a:defRPr>
            </a:lvl1pPr>
          </a:lstStyle>
          <a:p>
            <a:r>
              <a:rPr lang="pt-BR"/>
              <a:t>Click to edit key message style</a:t>
            </a:r>
            <a:endParaRPr lang="pt-BR" dirty="0"/>
          </a:p>
        </p:txBody>
      </p:sp>
      <p:sp>
        <p:nvSpPr>
          <p:cNvPr id="5" name="slide number automatic">
            <a:extLst>
              <a:ext uri="{FF2B5EF4-FFF2-40B4-BE49-F238E27FC236}">
                <a16:creationId xmlns:a16="http://schemas.microsoft.com/office/drawing/2014/main" id="{6D94838E-FC9B-7D11-0B27-05F3B48DF76D}"/>
              </a:ext>
            </a:extLst>
          </p:cNvPr>
          <p:cNvSpPr txBox="1"/>
          <p:nvPr userDrawn="1"/>
        </p:nvSpPr>
        <p:spPr>
          <a:xfrm>
            <a:off x="11685965" y="6429853"/>
            <a:ext cx="125035" cy="123111"/>
          </a:xfrm>
          <a:prstGeom prst="rect">
            <a:avLst/>
          </a:prstGeom>
          <a:noFill/>
        </p:spPr>
        <p:txBody>
          <a:bodyPr wrap="none" lIns="0" tIns="0" rIns="0" bIns="0" rtlCol="0" anchor="ctr">
            <a:spAutoFit/>
          </a:bodyPr>
          <a:lstStyle/>
          <a:p>
            <a:pPr marL="0" marR="0" lvl="0" indent="0" algn="r" defTabSz="228594" rtl="0" eaLnBrk="1" fontAlgn="auto" latinLnBrk="0" hangingPunct="1">
              <a:lnSpc>
                <a:spcPct val="100000"/>
              </a:lnSpc>
              <a:spcBef>
                <a:spcPts val="0"/>
              </a:spcBef>
              <a:spcAft>
                <a:spcPts val="1200"/>
              </a:spcAft>
              <a:buClrTx/>
              <a:buSzTx/>
              <a:buFontTx/>
              <a:buNone/>
              <a:tabLst/>
              <a:defRPr/>
            </a:pPr>
            <a:fld id="{8A1971D9-5B62-3C46-9EC9-FDAAB88557B2}" type="slidenum">
              <a:rPr lang="pt-BR" sz="800" smtClean="0">
                <a:solidFill>
                  <a:srgbClr val="FFFFFF">
                    <a:alpha val="75000"/>
                  </a:srgbClr>
                </a:solidFill>
                <a:latin typeface="Graphik Semibold" panose="020B0703030202060203" pitchFamily="34" charset="0"/>
              </a:rPr>
              <a:pPr marL="0" marR="0" lvl="0" indent="0" algn="r" defTabSz="228594" rtl="0" eaLnBrk="1" fontAlgn="auto" latinLnBrk="0" hangingPunct="1">
                <a:lnSpc>
                  <a:spcPct val="100000"/>
                </a:lnSpc>
                <a:spcBef>
                  <a:spcPts val="0"/>
                </a:spcBef>
                <a:spcAft>
                  <a:spcPts val="1200"/>
                </a:spcAft>
                <a:buClrTx/>
                <a:buSzTx/>
                <a:buFontTx/>
                <a:buNone/>
                <a:tabLst/>
                <a:defRPr/>
              </a:pPr>
              <a:t>‹#›</a:t>
            </a:fld>
            <a:endParaRPr lang="pt-BR" sz="1351" noProof="0" dirty="0">
              <a:solidFill>
                <a:srgbClr val="FFFFFF">
                  <a:alpha val="75000"/>
                </a:srgbClr>
              </a:solidFill>
              <a:latin typeface="Graphik Semibold" panose="020B0703030202060203" pitchFamily="34" charset="0"/>
            </a:endParaRPr>
          </a:p>
        </p:txBody>
      </p:sp>
    </p:spTree>
    <p:extLst>
      <p:ext uri="{BB962C8B-B14F-4D97-AF65-F5344CB8AC3E}">
        <p14:creationId xmlns:p14="http://schemas.microsoft.com/office/powerpoint/2010/main" val="46128507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lient &amp; acquisition cover: light mode">
    <p:bg>
      <p:bgPr>
        <a:solidFill>
          <a:schemeClr val="tx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ECB7D07-70B9-D4D5-70D1-B8DD86990334}"/>
              </a:ext>
            </a:extLst>
          </p:cNvPr>
          <p:cNvGraphicFramePr>
            <a:graphicFrameLocks noChangeAspect="1"/>
          </p:cNvGraphicFramePr>
          <p:nvPr userDrawn="1">
            <p:custDataLst>
              <p:tags r:id="rId1"/>
            </p:custDataLst>
            <p:extLst>
              <p:ext uri="{D42A27DB-BD31-4B8C-83A1-F6EECF244321}">
                <p14:modId xmlns:p14="http://schemas.microsoft.com/office/powerpoint/2010/main" val="3537507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5" name="think-cell data - do not delete" hidden="1">
                        <a:extLst>
                          <a:ext uri="{FF2B5EF4-FFF2-40B4-BE49-F238E27FC236}">
                            <a16:creationId xmlns:a16="http://schemas.microsoft.com/office/drawing/2014/main" id="{BECB7D07-70B9-D4D5-70D1-B8DD869903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icture Placeholder 11" descr="Image placeholder for client logo">
            <a:extLst>
              <a:ext uri="{FF2B5EF4-FFF2-40B4-BE49-F238E27FC236}">
                <a16:creationId xmlns:a16="http://schemas.microsoft.com/office/drawing/2014/main" id="{C5FB3CF4-DD64-BD63-23C6-97F8FC097FD4}"/>
              </a:ext>
            </a:extLst>
          </p:cNvPr>
          <p:cNvSpPr>
            <a:spLocks noGrp="1"/>
          </p:cNvSpPr>
          <p:nvPr>
            <p:ph type="pic" sz="quarter" idx="13" hasCustomPrompt="1"/>
          </p:nvPr>
        </p:nvSpPr>
        <p:spPr>
          <a:xfrm>
            <a:off x="1143003" y="821769"/>
            <a:ext cx="1884233" cy="985085"/>
          </a:xfrm>
          <a:prstGeom prst="rect">
            <a:avLst/>
          </a:prstGeom>
        </p:spPr>
        <p:txBody>
          <a:bodyPr anchor="ctr"/>
          <a:lstStyle>
            <a:lvl1pPr algn="ctr" rtl="0">
              <a:buFont typeface="Graphik" panose="020B0604020202020204" pitchFamily="34" charset="0"/>
              <a:buNone/>
              <a:defRPr sz="1400" b="0" i="0">
                <a:solidFill>
                  <a:sysClr val="windowText" lastClr="000000"/>
                </a:solidFill>
                <a:latin typeface="Graphik" panose="020B0503030202060203" pitchFamily="34" charset="77"/>
              </a:defRPr>
            </a:lvl1pPr>
          </a:lstStyle>
          <a:p>
            <a:r>
              <a:rPr lang="pt-BR"/>
              <a:t>Add client logo</a:t>
            </a:r>
            <a:endParaRPr lang="pt-BR" dirty="0"/>
          </a:p>
        </p:txBody>
      </p:sp>
      <p:sp>
        <p:nvSpPr>
          <p:cNvPr id="11" name="Title 1">
            <a:extLst>
              <a:ext uri="{FF2B5EF4-FFF2-40B4-BE49-F238E27FC236}">
                <a16:creationId xmlns:a16="http://schemas.microsoft.com/office/drawing/2014/main" id="{441759CF-E2D4-0A80-7950-4AF5952D5985}"/>
              </a:ext>
            </a:extLst>
          </p:cNvPr>
          <p:cNvSpPr>
            <a:spLocks noGrp="1"/>
          </p:cNvSpPr>
          <p:nvPr>
            <p:ph type="ctrTitle"/>
          </p:nvPr>
        </p:nvSpPr>
        <p:spPr bwMode="white">
          <a:xfrm>
            <a:off x="1182796" y="3524589"/>
            <a:ext cx="8813534" cy="664797"/>
          </a:xfrm>
          <a:prstGeom prst="rect">
            <a:avLst/>
          </a:prstGeom>
        </p:spPr>
        <p:txBody>
          <a:bodyPr vert="horz" anchor="b"/>
          <a:lstStyle>
            <a:lvl1pPr algn="l" rtl="0">
              <a:lnSpc>
                <a:spcPct val="90000"/>
              </a:lnSpc>
              <a:defRPr sz="4800">
                <a:solidFill>
                  <a:schemeClr val="bg1"/>
                </a:solidFill>
              </a:defRPr>
            </a:lvl1pPr>
          </a:lstStyle>
          <a:p>
            <a:r>
              <a:rPr lang="pt-BR"/>
              <a:t>Click to edit Master title style</a:t>
            </a:r>
            <a:endParaRPr lang="pt-BR" dirty="0"/>
          </a:p>
        </p:txBody>
      </p:sp>
      <p:sp>
        <p:nvSpPr>
          <p:cNvPr id="10" name="Subtitle 2">
            <a:extLst>
              <a:ext uri="{FF2B5EF4-FFF2-40B4-BE49-F238E27FC236}">
                <a16:creationId xmlns:a16="http://schemas.microsoft.com/office/drawing/2014/main" id="{71313E0C-79AC-2382-CFF0-C1879E03CA7D}"/>
              </a:ext>
            </a:extLst>
          </p:cNvPr>
          <p:cNvSpPr>
            <a:spLocks noGrp="1"/>
          </p:cNvSpPr>
          <p:nvPr>
            <p:ph type="subTitle" idx="1" hasCustomPrompt="1"/>
          </p:nvPr>
        </p:nvSpPr>
        <p:spPr bwMode="white">
          <a:xfrm>
            <a:off x="1182796" y="4302038"/>
            <a:ext cx="5715000" cy="1092845"/>
          </a:xfrm>
          <a:prstGeom prst="rect">
            <a:avLst/>
          </a:prstGeom>
        </p:spPr>
        <p:txBody>
          <a:bodyPr/>
          <a:lstStyle>
            <a:lvl1pPr marL="0" indent="0" algn="l" rtl="0">
              <a:lnSpc>
                <a:spcPct val="90000"/>
              </a:lnSpc>
              <a:spcAft>
                <a:spcPts val="0"/>
              </a:spcAft>
              <a:buNone/>
              <a:defRPr sz="1800" b="0" i="0" spc="0">
                <a:solidFill>
                  <a:schemeClr val="bg1"/>
                </a:solidFill>
                <a:latin typeface="Graphik" panose="020B0503030202060203" pitchFamily="34" charset="77"/>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pPr marL="0" lvl="0" indent="0" algn="l" defTabSz="914377" rtl="0" eaLnBrk="1" latinLnBrk="0" hangingPunct="1">
              <a:lnSpc>
                <a:spcPct val="100000"/>
              </a:lnSpc>
              <a:spcBef>
                <a:spcPts val="0"/>
              </a:spcBef>
              <a:spcAft>
                <a:spcPts val="0"/>
              </a:spcAft>
              <a:buFont typeface="Graphik" panose="020B0604020202020204" pitchFamily="34" charset="0"/>
              <a:buNone/>
            </a:pPr>
            <a:r>
              <a:rPr lang="pt-BR"/>
              <a:t>Place subtitle here in Graphik regular</a:t>
            </a:r>
            <a:endParaRPr lang="pt-BR" dirty="0"/>
          </a:p>
        </p:txBody>
      </p:sp>
      <p:sp>
        <p:nvSpPr>
          <p:cNvPr id="9" name="Text Placeholder 16">
            <a:extLst>
              <a:ext uri="{FF2B5EF4-FFF2-40B4-BE49-F238E27FC236}">
                <a16:creationId xmlns:a16="http://schemas.microsoft.com/office/drawing/2014/main" id="{EF8263C3-A1F7-3492-0FC4-3EB7054D3058}"/>
              </a:ext>
            </a:extLst>
          </p:cNvPr>
          <p:cNvSpPr>
            <a:spLocks noGrp="1"/>
          </p:cNvSpPr>
          <p:nvPr>
            <p:ph type="body" sz="quarter" idx="16" hasCustomPrompt="1"/>
          </p:nvPr>
        </p:nvSpPr>
        <p:spPr>
          <a:xfrm>
            <a:off x="1178689" y="5495715"/>
            <a:ext cx="2825654" cy="184666"/>
          </a:xfrm>
          <a:prstGeom prst="rect">
            <a:avLst/>
          </a:prstGeom>
        </p:spPr>
        <p:txBody>
          <a:bodyPr wrap="square">
            <a:spAutoFit/>
          </a:bodyPr>
          <a:lstStyle>
            <a:lvl1pPr marL="0" indent="0" algn="l" defTabSz="914377" rtl="0" eaLnBrk="1" latinLnBrk="0" hangingPunct="1">
              <a:spcAft>
                <a:spcPts val="0"/>
              </a:spcAft>
              <a:buNone/>
              <a:defRPr lang="en-US" sz="1200" b="0" i="0" kern="1200" dirty="0">
                <a:solidFill>
                  <a:schemeClr val="bg1"/>
                </a:solidFill>
                <a:latin typeface="Graphik Semibold" panose="020B0703030202060203" pitchFamily="34" charset="0"/>
                <a:ea typeface="+mn-ea"/>
                <a:cs typeface="+mn-cs"/>
              </a:defRPr>
            </a:lvl1pPr>
            <a:lvl2pPr marL="0" algn="l" defTabSz="914377" rtl="0" eaLnBrk="1" latinLnBrk="0" hangingPunct="1">
              <a:spcAft>
                <a:spcPts val="0"/>
              </a:spcAft>
              <a:defRPr lang="en-US" sz="1400" b="0" kern="1200" dirty="0" smtClean="0">
                <a:solidFill>
                  <a:schemeClr val="tx1"/>
                </a:solidFill>
                <a:latin typeface="+mn-lt"/>
                <a:ea typeface="+mn-ea"/>
                <a:cs typeface="+mn-cs"/>
              </a:defRPr>
            </a:lvl2pPr>
            <a:lvl3pPr marL="0" algn="l" defTabSz="914377" rtl="0" eaLnBrk="1" latinLnBrk="0" hangingPunct="1">
              <a:spcAft>
                <a:spcPts val="0"/>
              </a:spcAft>
              <a:defRPr lang="en-US" sz="1400" b="0" kern="1200" dirty="0" smtClean="0">
                <a:solidFill>
                  <a:schemeClr val="tx1"/>
                </a:solidFill>
                <a:latin typeface="+mn-lt"/>
                <a:ea typeface="+mn-ea"/>
                <a:cs typeface="+mn-cs"/>
              </a:defRPr>
            </a:lvl3pPr>
            <a:lvl4pPr marL="0" algn="l" defTabSz="914377" rtl="0" eaLnBrk="1" latinLnBrk="0" hangingPunct="1">
              <a:spcAft>
                <a:spcPts val="0"/>
              </a:spcAft>
              <a:defRPr lang="en-US" sz="1400" b="0" kern="1200" dirty="0" smtClean="0">
                <a:solidFill>
                  <a:schemeClr val="tx1"/>
                </a:solidFill>
                <a:latin typeface="+mn-lt"/>
                <a:ea typeface="+mn-ea"/>
                <a:cs typeface="+mn-cs"/>
              </a:defRPr>
            </a:lvl4pPr>
            <a:lvl5pPr marL="0" algn="l" defTabSz="914377" rtl="0" eaLnBrk="1" latinLnBrk="0" hangingPunct="1">
              <a:spcAft>
                <a:spcPts val="0"/>
              </a:spcAft>
              <a:defRPr lang="en-US" sz="1400" b="0" kern="1200" dirty="0" smtClean="0">
                <a:solidFill>
                  <a:schemeClr val="tx1"/>
                </a:solidFill>
                <a:latin typeface="+mn-lt"/>
                <a:ea typeface="+mn-ea"/>
                <a:cs typeface="+mn-cs"/>
              </a:defRPr>
            </a:lvl5pPr>
          </a:lstStyle>
          <a:p>
            <a:pPr lvl="0"/>
            <a:r>
              <a:rPr lang="pt-BR"/>
              <a:t>MM.DD.YYYY</a:t>
            </a:r>
            <a:endParaRPr lang="pt-BR" dirty="0"/>
          </a:p>
        </p:txBody>
      </p:sp>
      <p:sp>
        <p:nvSpPr>
          <p:cNvPr id="6" name="Text Placeholder 16">
            <a:extLst>
              <a:ext uri="{FF2B5EF4-FFF2-40B4-BE49-F238E27FC236}">
                <a16:creationId xmlns:a16="http://schemas.microsoft.com/office/drawing/2014/main" id="{36794D19-B699-311B-25DD-C0D60FC7889B}"/>
              </a:ext>
            </a:extLst>
          </p:cNvPr>
          <p:cNvSpPr>
            <a:spLocks noGrp="1"/>
          </p:cNvSpPr>
          <p:nvPr>
            <p:ph type="body" sz="quarter" idx="12" hasCustomPrompt="1"/>
          </p:nvPr>
        </p:nvSpPr>
        <p:spPr bwMode="white">
          <a:xfrm>
            <a:off x="1182796" y="5781214"/>
            <a:ext cx="5714999" cy="530687"/>
          </a:xfrm>
          <a:prstGeom prst="rect">
            <a:avLst/>
          </a:prstGeom>
        </p:spPr>
        <p:txBody>
          <a:bodyPr/>
          <a:lstStyle>
            <a:lvl1pPr marL="0" indent="0" algn="l" defTabSz="914377" rtl="0" eaLnBrk="1" latinLnBrk="0" hangingPunct="1">
              <a:spcAft>
                <a:spcPts val="0"/>
              </a:spcAft>
              <a:buNone/>
              <a:defRPr lang="en-US" sz="1200" b="0" i="0" kern="1200" dirty="0" smtClean="0">
                <a:solidFill>
                  <a:schemeClr val="bg1"/>
                </a:solidFill>
                <a:latin typeface="Graphik" panose="020B0503030202060203" pitchFamily="34" charset="77"/>
                <a:ea typeface="+mn-ea"/>
                <a:cs typeface="+mn-cs"/>
              </a:defRPr>
            </a:lvl1pPr>
            <a:lvl2pPr marL="0" algn="l" defTabSz="914377" rtl="0" eaLnBrk="1" latinLnBrk="0" hangingPunct="1">
              <a:spcAft>
                <a:spcPts val="0"/>
              </a:spcAft>
              <a:defRPr lang="en-US" sz="1400" b="0" kern="1200" dirty="0" smtClean="0">
                <a:solidFill>
                  <a:schemeClr val="tx1"/>
                </a:solidFill>
                <a:latin typeface="+mn-lt"/>
                <a:ea typeface="+mn-ea"/>
                <a:cs typeface="+mn-cs"/>
              </a:defRPr>
            </a:lvl2pPr>
            <a:lvl3pPr marL="0" algn="l" defTabSz="914377" rtl="0" eaLnBrk="1" latinLnBrk="0" hangingPunct="1">
              <a:spcAft>
                <a:spcPts val="0"/>
              </a:spcAft>
              <a:defRPr lang="en-US" sz="1400" b="0" kern="1200" dirty="0" smtClean="0">
                <a:solidFill>
                  <a:schemeClr val="tx1"/>
                </a:solidFill>
                <a:latin typeface="+mn-lt"/>
                <a:ea typeface="+mn-ea"/>
                <a:cs typeface="+mn-cs"/>
              </a:defRPr>
            </a:lvl3pPr>
            <a:lvl4pPr marL="0" algn="l" defTabSz="914377" rtl="0" eaLnBrk="1" latinLnBrk="0" hangingPunct="1">
              <a:spcAft>
                <a:spcPts val="0"/>
              </a:spcAft>
              <a:defRPr lang="en-US" sz="1400" b="0" kern="1200" dirty="0" smtClean="0">
                <a:solidFill>
                  <a:schemeClr val="tx1"/>
                </a:solidFill>
                <a:latin typeface="+mn-lt"/>
                <a:ea typeface="+mn-ea"/>
                <a:cs typeface="+mn-cs"/>
              </a:defRPr>
            </a:lvl4pPr>
            <a:lvl5pPr marL="0" algn="l" defTabSz="914377" rtl="0" eaLnBrk="1" latinLnBrk="0" hangingPunct="1">
              <a:spcAft>
                <a:spcPts val="0"/>
              </a:spcAft>
              <a:defRPr lang="en-US" sz="1400" b="0" kern="1200" dirty="0" smtClean="0">
                <a:solidFill>
                  <a:schemeClr val="tx1"/>
                </a:solidFill>
                <a:latin typeface="+mn-lt"/>
                <a:ea typeface="+mn-ea"/>
                <a:cs typeface="+mn-cs"/>
              </a:defRPr>
            </a:lvl5pPr>
          </a:lstStyle>
          <a:p>
            <a:pPr lvl="0"/>
            <a:r>
              <a:rPr lang="pt-BR"/>
              <a:t>Presenter</a:t>
            </a:r>
            <a:endParaRPr lang="pt-BR" dirty="0"/>
          </a:p>
        </p:txBody>
      </p:sp>
      <p:sp>
        <p:nvSpPr>
          <p:cNvPr id="2" name="Picture Placeholder 11" descr="Image placeholder for client logo">
            <a:extLst>
              <a:ext uri="{FF2B5EF4-FFF2-40B4-BE49-F238E27FC236}">
                <a16:creationId xmlns:a16="http://schemas.microsoft.com/office/drawing/2014/main" id="{8B1EACD7-5325-C8B9-F0F8-361612B52620}"/>
              </a:ext>
            </a:extLst>
          </p:cNvPr>
          <p:cNvSpPr>
            <a:spLocks noGrp="1"/>
          </p:cNvSpPr>
          <p:nvPr>
            <p:ph type="pic" sz="quarter" idx="17" hasCustomPrompt="1"/>
          </p:nvPr>
        </p:nvSpPr>
        <p:spPr>
          <a:xfrm>
            <a:off x="4086942" y="859590"/>
            <a:ext cx="1884233" cy="985085"/>
          </a:xfrm>
          <a:prstGeom prst="rect">
            <a:avLst/>
          </a:prstGeom>
        </p:spPr>
        <p:txBody>
          <a:bodyPr anchor="ctr"/>
          <a:lstStyle>
            <a:lvl1pPr algn="ctr" rtl="0">
              <a:buFont typeface="Graphik" panose="020B0604020202020204" pitchFamily="34" charset="0"/>
              <a:buNone/>
              <a:defRPr sz="1400" b="0" i="0">
                <a:solidFill>
                  <a:sysClr val="windowText" lastClr="000000"/>
                </a:solidFill>
                <a:latin typeface="Graphik" panose="020B0503030202060203" pitchFamily="34" charset="77"/>
              </a:defRPr>
            </a:lvl1pPr>
          </a:lstStyle>
          <a:p>
            <a:r>
              <a:rPr lang="pt-BR"/>
              <a:t>Add client logo</a:t>
            </a:r>
            <a:endParaRPr lang="pt-BR" dirty="0"/>
          </a:p>
        </p:txBody>
      </p:sp>
    </p:spTree>
    <p:extLst>
      <p:ext uri="{BB962C8B-B14F-4D97-AF65-F5344CB8AC3E}">
        <p14:creationId xmlns:p14="http://schemas.microsoft.com/office/powerpoint/2010/main" val="204262538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Content: icons">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BB92593A-C5BB-A968-E717-67BAD96A5301}"/>
              </a:ext>
            </a:extLst>
          </p:cNvPr>
          <p:cNvGraphicFramePr>
            <a:graphicFrameLocks noChangeAspect="1"/>
          </p:cNvGraphicFramePr>
          <p:nvPr userDrawn="1">
            <p:custDataLst>
              <p:tags r:id="rId1"/>
            </p:custDataLst>
            <p:extLst>
              <p:ext uri="{D42A27DB-BD31-4B8C-83A1-F6EECF244321}">
                <p14:modId xmlns:p14="http://schemas.microsoft.com/office/powerpoint/2010/main" val="2469848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9" name="think-cell data - do not delete" hidden="1">
                        <a:extLst>
                          <a:ext uri="{FF2B5EF4-FFF2-40B4-BE49-F238E27FC236}">
                            <a16:creationId xmlns:a16="http://schemas.microsoft.com/office/drawing/2014/main" id="{BB92593A-C5BB-A968-E717-67BAD96A53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2">
            <a:extLst>
              <a:ext uri="{FF2B5EF4-FFF2-40B4-BE49-F238E27FC236}">
                <a16:creationId xmlns:a16="http://schemas.microsoft.com/office/drawing/2014/main" id="{C386F6A9-4F1A-3944-E7D3-E26B3E55A360}"/>
              </a:ext>
            </a:extLst>
          </p:cNvPr>
          <p:cNvSpPr>
            <a:spLocks noGrp="1"/>
          </p:cNvSpPr>
          <p:nvPr>
            <p:ph type="title"/>
          </p:nvPr>
        </p:nvSpPr>
        <p:spPr>
          <a:xfrm>
            <a:off x="556467" y="572600"/>
            <a:ext cx="11084672" cy="393954"/>
          </a:xfrm>
        </p:spPr>
        <p:txBody>
          <a:bodyPr vert="horz"/>
          <a:lstStyle>
            <a:lvl1pPr rtl="0">
              <a:defRPr/>
            </a:lvl1pPr>
          </a:lstStyle>
          <a:p>
            <a:r>
              <a:rPr lang="pt-BR"/>
              <a:t>Click to edit Master title style</a:t>
            </a:r>
            <a:endParaRPr lang="pt-BR" dirty="0"/>
          </a:p>
        </p:txBody>
      </p:sp>
      <p:sp>
        <p:nvSpPr>
          <p:cNvPr id="4" name="Text Placeholder 3">
            <a:extLst>
              <a:ext uri="{FF2B5EF4-FFF2-40B4-BE49-F238E27FC236}">
                <a16:creationId xmlns:a16="http://schemas.microsoft.com/office/drawing/2014/main" id="{6B34D946-575C-A63A-1F36-F73012F28CC3}"/>
              </a:ext>
            </a:extLst>
          </p:cNvPr>
          <p:cNvSpPr>
            <a:spLocks noGrp="1"/>
          </p:cNvSpPr>
          <p:nvPr>
            <p:ph type="body" sz="quarter" idx="32" hasCustomPrompt="1"/>
          </p:nvPr>
        </p:nvSpPr>
        <p:spPr>
          <a:xfrm>
            <a:off x="563412" y="1109663"/>
            <a:ext cx="11084672" cy="384048"/>
          </a:xfrm>
          <a:prstGeom prst="rect">
            <a:avLst/>
          </a:prstGeom>
        </p:spPr>
        <p:txBody>
          <a:bodyPr anchor="t"/>
          <a:lstStyle>
            <a:lvl1pPr marL="0" indent="0" rtl="0">
              <a:spcAft>
                <a:spcPts val="0"/>
              </a:spcAft>
              <a:buNone/>
              <a:defRPr sz="1800" b="0" i="0">
                <a:solidFill>
                  <a:schemeClr val="bg2"/>
                </a:solidFill>
                <a:latin typeface="Graphik" panose="020B0503030202060203" pitchFamily="34" charset="77"/>
              </a:defRPr>
            </a:lvl1pPr>
          </a:lstStyle>
          <a:p>
            <a:pPr lvl="0"/>
            <a:r>
              <a:rPr lang="pt-BR"/>
              <a:t>Place subtitle here in Graphik regular</a:t>
            </a:r>
            <a:endParaRPr lang="pt-BR" dirty="0"/>
          </a:p>
        </p:txBody>
      </p:sp>
      <p:sp>
        <p:nvSpPr>
          <p:cNvPr id="15" name="Picture Placeholder 2">
            <a:extLst>
              <a:ext uri="{FF2B5EF4-FFF2-40B4-BE49-F238E27FC236}">
                <a16:creationId xmlns:a16="http://schemas.microsoft.com/office/drawing/2014/main" id="{BD757F29-5B8C-430C-B53D-FA44B1887B4E}"/>
              </a:ext>
            </a:extLst>
          </p:cNvPr>
          <p:cNvSpPr>
            <a:spLocks noGrp="1"/>
          </p:cNvSpPr>
          <p:nvPr>
            <p:ph type="pic" sz="quarter" idx="14" hasCustomPrompt="1"/>
          </p:nvPr>
        </p:nvSpPr>
        <p:spPr>
          <a:xfrm>
            <a:off x="563411" y="1991444"/>
            <a:ext cx="1312792" cy="1312792"/>
          </a:xfrm>
          <a:prstGeom prst="rect">
            <a:avLst/>
          </a:prstGeom>
          <a:solidFill>
            <a:schemeClr val="bg1">
              <a:lumMod val="95000"/>
            </a:schemeClr>
          </a:solidFill>
        </p:spPr>
        <p:txBody>
          <a:bodyPr anchor="ctr"/>
          <a:lstStyle>
            <a:lvl1pPr marL="0" indent="0" algn="ctr" rtl="0">
              <a:buFont typeface="Graphik" panose="020B0604020202020204" pitchFamily="34" charset="0"/>
              <a:buNone/>
              <a:defRPr sz="1400" b="0" i="0">
                <a:latin typeface="Graphik" panose="020B0503030202060203" pitchFamily="34" charset="77"/>
              </a:defRPr>
            </a:lvl1pPr>
          </a:lstStyle>
          <a:p>
            <a:r>
              <a:rPr lang="pt-BR"/>
              <a:t>Add icon</a:t>
            </a:r>
            <a:endParaRPr lang="pt-BR" dirty="0"/>
          </a:p>
        </p:txBody>
      </p:sp>
      <p:sp>
        <p:nvSpPr>
          <p:cNvPr id="10" name="Text Placeholder 1">
            <a:extLst>
              <a:ext uri="{FF2B5EF4-FFF2-40B4-BE49-F238E27FC236}">
                <a16:creationId xmlns:a16="http://schemas.microsoft.com/office/drawing/2014/main" id="{4122B155-BA05-874A-7587-FD87E46FA210}"/>
              </a:ext>
            </a:extLst>
          </p:cNvPr>
          <p:cNvSpPr>
            <a:spLocks noGrp="1"/>
          </p:cNvSpPr>
          <p:nvPr>
            <p:ph type="body" sz="quarter" idx="19" hasCustomPrompt="1"/>
          </p:nvPr>
        </p:nvSpPr>
        <p:spPr>
          <a:xfrm>
            <a:off x="563411" y="3648454"/>
            <a:ext cx="1629646" cy="1971541"/>
          </a:xfrm>
          <a:prstGeom prst="rect">
            <a:avLst/>
          </a:prstGeom>
        </p:spPr>
        <p:txBody>
          <a:bodyPr/>
          <a:lstStyle>
            <a:lvl1pPr marL="0" indent="0" algn="l" rtl="0">
              <a:lnSpc>
                <a:spcPct val="90000"/>
              </a:lnSpc>
              <a:spcAft>
                <a:spcPts val="600"/>
              </a:spcAft>
              <a:buFont typeface="Graphik" panose="020B0604020202020204" pitchFamily="34" charset="0"/>
              <a:buNone/>
              <a:defRPr sz="1400" b="0" i="0">
                <a:solidFill>
                  <a:schemeClr val="bg2"/>
                </a:solidFill>
                <a:latin typeface="Graphik Semibold" panose="020B0503030202060203" pitchFamily="34" charset="77"/>
              </a:defRPr>
            </a:lvl1pPr>
            <a:lvl2pPr marL="0" indent="0" algn="l">
              <a:spcAft>
                <a:spcPts val="600"/>
              </a:spcAft>
              <a:buNone/>
              <a:defRPr sz="1200" b="0" i="0">
                <a:latin typeface="Graphik" panose="020B0503030202060203" pitchFamily="34" charset="77"/>
              </a:defRPr>
            </a:lvl2pPr>
            <a:lvl3pPr marL="0" indent="0" algn="l" rtl="0">
              <a:spcAft>
                <a:spcPts val="600"/>
              </a:spcAft>
              <a:buNone/>
              <a:defRPr sz="1200" b="0" i="0">
                <a:latin typeface="Graphik" panose="020B0503030202060203" pitchFamily="34" charset="77"/>
              </a:defRPr>
            </a:lvl3pPr>
            <a:lvl4pPr marL="182875" indent="-182875" algn="l" rtl="0">
              <a:spcAft>
                <a:spcPts val="600"/>
              </a:spcAft>
              <a:buFont typeface="Graphik" panose="020B0604020202020204" pitchFamily="34" charset="0"/>
              <a:buChar char="•"/>
              <a:defRPr sz="1200" b="0" i="0">
                <a:latin typeface="Graphik" panose="020B0503030202060203" pitchFamily="34" charset="77"/>
              </a:defRPr>
            </a:lvl4pPr>
            <a:lvl5pPr>
              <a:spcAft>
                <a:spcPts val="600"/>
              </a:spcAft>
              <a:defRPr sz="1600"/>
            </a:lvl5pPr>
          </a:lstStyle>
          <a:p>
            <a:pPr lvl="0"/>
            <a:r>
              <a:rPr lang="pt-BR"/>
              <a:t>Headline Details</a:t>
            </a:r>
          </a:p>
          <a:p>
            <a:pPr lvl="2"/>
            <a:r>
              <a:rPr lang="pt-BR"/>
              <a:t>More details</a:t>
            </a:r>
          </a:p>
          <a:p>
            <a:pPr lvl="3"/>
            <a:r>
              <a:rPr lang="pt-BR"/>
              <a:t>Bullet point</a:t>
            </a:r>
            <a:endParaRPr lang="pt-BR" dirty="0"/>
          </a:p>
        </p:txBody>
      </p:sp>
      <p:sp>
        <p:nvSpPr>
          <p:cNvPr id="29" name="Picture Placeholder 4">
            <a:extLst>
              <a:ext uri="{FF2B5EF4-FFF2-40B4-BE49-F238E27FC236}">
                <a16:creationId xmlns:a16="http://schemas.microsoft.com/office/drawing/2014/main" id="{EABD27E6-4547-45B3-9AC5-1EF508AE88ED}"/>
              </a:ext>
            </a:extLst>
          </p:cNvPr>
          <p:cNvSpPr>
            <a:spLocks noGrp="1"/>
          </p:cNvSpPr>
          <p:nvPr>
            <p:ph type="pic" sz="quarter" idx="24" hasCustomPrompt="1"/>
          </p:nvPr>
        </p:nvSpPr>
        <p:spPr>
          <a:xfrm>
            <a:off x="2925431" y="1991444"/>
            <a:ext cx="1312792" cy="1312792"/>
          </a:xfrm>
          <a:prstGeom prst="rect">
            <a:avLst/>
          </a:prstGeom>
          <a:solidFill>
            <a:schemeClr val="bg1">
              <a:lumMod val="95000"/>
            </a:schemeClr>
          </a:solidFill>
        </p:spPr>
        <p:txBody>
          <a:bodyPr anchor="ctr"/>
          <a:lstStyle>
            <a:lvl1pPr marL="0" indent="0" algn="ctr" rtl="0">
              <a:buFont typeface="Graphik" panose="020B0604020202020204" pitchFamily="34" charset="0"/>
              <a:buNone/>
              <a:defRPr sz="1400" b="0" i="0">
                <a:latin typeface="Graphik" panose="020B0503030202060203" pitchFamily="34" charset="77"/>
              </a:defRPr>
            </a:lvl1pPr>
          </a:lstStyle>
          <a:p>
            <a:r>
              <a:rPr lang="pt-BR"/>
              <a:t>Add icon</a:t>
            </a:r>
            <a:endParaRPr lang="pt-BR" dirty="0"/>
          </a:p>
        </p:txBody>
      </p:sp>
      <p:sp>
        <p:nvSpPr>
          <p:cNvPr id="3" name="Text Placeholder 2">
            <a:extLst>
              <a:ext uri="{FF2B5EF4-FFF2-40B4-BE49-F238E27FC236}">
                <a16:creationId xmlns:a16="http://schemas.microsoft.com/office/drawing/2014/main" id="{E51530D0-8A8F-68C0-4E3A-39EE60F2A549}"/>
              </a:ext>
            </a:extLst>
          </p:cNvPr>
          <p:cNvSpPr>
            <a:spLocks noGrp="1"/>
          </p:cNvSpPr>
          <p:nvPr>
            <p:ph type="body" sz="quarter" idx="28" hasCustomPrompt="1"/>
          </p:nvPr>
        </p:nvSpPr>
        <p:spPr>
          <a:xfrm>
            <a:off x="2925431" y="3648454"/>
            <a:ext cx="1629646" cy="1971541"/>
          </a:xfrm>
          <a:prstGeom prst="rect">
            <a:avLst/>
          </a:prstGeom>
        </p:spPr>
        <p:txBody>
          <a:bodyPr/>
          <a:lstStyle>
            <a:lvl1pPr marL="0" indent="0" algn="l" rtl="0">
              <a:lnSpc>
                <a:spcPct val="90000"/>
              </a:lnSpc>
              <a:spcAft>
                <a:spcPts val="600"/>
              </a:spcAft>
              <a:buFont typeface="Graphik" panose="020B0604020202020204" pitchFamily="34" charset="0"/>
              <a:buNone/>
              <a:defRPr sz="1400" b="0" i="0">
                <a:solidFill>
                  <a:schemeClr val="bg2"/>
                </a:solidFill>
                <a:latin typeface="Graphik Semibold" panose="020B0503030202060203" pitchFamily="34" charset="77"/>
              </a:defRPr>
            </a:lvl1pPr>
            <a:lvl2pPr marL="0" indent="0" algn="l">
              <a:spcAft>
                <a:spcPts val="600"/>
              </a:spcAft>
              <a:buNone/>
              <a:defRPr sz="1200" b="0" i="0">
                <a:latin typeface="Graphik" panose="020B0503030202060203" pitchFamily="34" charset="77"/>
              </a:defRPr>
            </a:lvl2pPr>
            <a:lvl3pPr marL="0" indent="0" algn="l" rtl="0">
              <a:spcAft>
                <a:spcPts val="600"/>
              </a:spcAft>
              <a:buNone/>
              <a:defRPr sz="1200" b="0" i="0">
                <a:latin typeface="Graphik" panose="020B0503030202060203" pitchFamily="34" charset="77"/>
              </a:defRPr>
            </a:lvl3pPr>
            <a:lvl4pPr marL="182875" indent="-182875" algn="l" rtl="0">
              <a:spcAft>
                <a:spcPts val="600"/>
              </a:spcAft>
              <a:buFont typeface="Graphik" panose="020B0604020202020204" pitchFamily="34" charset="0"/>
              <a:buChar char="•"/>
              <a:defRPr sz="1200" b="0" i="0">
                <a:latin typeface="Graphik" panose="020B0503030202060203" pitchFamily="34" charset="77"/>
              </a:defRPr>
            </a:lvl4pPr>
            <a:lvl5pPr>
              <a:spcAft>
                <a:spcPts val="600"/>
              </a:spcAft>
              <a:defRPr sz="1600"/>
            </a:lvl5pPr>
          </a:lstStyle>
          <a:p>
            <a:pPr lvl="0"/>
            <a:r>
              <a:rPr lang="pt-BR"/>
              <a:t>Headline Details</a:t>
            </a:r>
          </a:p>
          <a:p>
            <a:pPr lvl="2"/>
            <a:r>
              <a:rPr lang="pt-BR"/>
              <a:t>More details</a:t>
            </a:r>
          </a:p>
          <a:p>
            <a:pPr lvl="3"/>
            <a:r>
              <a:rPr lang="pt-BR"/>
              <a:t>Bullet point</a:t>
            </a:r>
            <a:endParaRPr lang="pt-BR" dirty="0"/>
          </a:p>
        </p:txBody>
      </p:sp>
      <p:sp>
        <p:nvSpPr>
          <p:cNvPr id="30" name="Picture Placeholder 6">
            <a:extLst>
              <a:ext uri="{FF2B5EF4-FFF2-40B4-BE49-F238E27FC236}">
                <a16:creationId xmlns:a16="http://schemas.microsoft.com/office/drawing/2014/main" id="{31C34651-25FA-45DD-86DF-BB58EBE9AA84}"/>
              </a:ext>
            </a:extLst>
          </p:cNvPr>
          <p:cNvSpPr>
            <a:spLocks noGrp="1"/>
          </p:cNvSpPr>
          <p:nvPr>
            <p:ph type="pic" sz="quarter" idx="25" hasCustomPrompt="1"/>
          </p:nvPr>
        </p:nvSpPr>
        <p:spPr>
          <a:xfrm>
            <a:off x="5287451" y="1991444"/>
            <a:ext cx="1312792" cy="1312792"/>
          </a:xfrm>
          <a:prstGeom prst="rect">
            <a:avLst/>
          </a:prstGeom>
          <a:solidFill>
            <a:schemeClr val="bg1">
              <a:lumMod val="95000"/>
            </a:schemeClr>
          </a:solidFill>
        </p:spPr>
        <p:txBody>
          <a:bodyPr anchor="ctr"/>
          <a:lstStyle>
            <a:lvl1pPr marL="0" indent="0" algn="ctr" rtl="0">
              <a:buFont typeface="Graphik" panose="020B0604020202020204" pitchFamily="34" charset="0"/>
              <a:buNone/>
              <a:defRPr sz="1400" b="0" i="0">
                <a:latin typeface="Graphik" panose="020B0503030202060203" pitchFamily="34" charset="77"/>
              </a:defRPr>
            </a:lvl1pPr>
          </a:lstStyle>
          <a:p>
            <a:r>
              <a:rPr lang="pt-BR"/>
              <a:t>Add icon</a:t>
            </a:r>
            <a:endParaRPr lang="pt-BR" dirty="0"/>
          </a:p>
        </p:txBody>
      </p:sp>
      <p:sp>
        <p:nvSpPr>
          <p:cNvPr id="5" name="Text Placeholder 3">
            <a:extLst>
              <a:ext uri="{FF2B5EF4-FFF2-40B4-BE49-F238E27FC236}">
                <a16:creationId xmlns:a16="http://schemas.microsoft.com/office/drawing/2014/main" id="{B220583F-078A-E528-E802-2F888AD1F0C1}"/>
              </a:ext>
            </a:extLst>
          </p:cNvPr>
          <p:cNvSpPr>
            <a:spLocks noGrp="1"/>
          </p:cNvSpPr>
          <p:nvPr>
            <p:ph type="body" sz="quarter" idx="29" hasCustomPrompt="1"/>
          </p:nvPr>
        </p:nvSpPr>
        <p:spPr>
          <a:xfrm>
            <a:off x="5287451" y="3648454"/>
            <a:ext cx="1629646" cy="1971541"/>
          </a:xfrm>
          <a:prstGeom prst="rect">
            <a:avLst/>
          </a:prstGeom>
        </p:spPr>
        <p:txBody>
          <a:bodyPr/>
          <a:lstStyle>
            <a:lvl1pPr marL="0" indent="0" algn="l" rtl="0">
              <a:lnSpc>
                <a:spcPct val="90000"/>
              </a:lnSpc>
              <a:spcAft>
                <a:spcPts val="600"/>
              </a:spcAft>
              <a:buFont typeface="Graphik" panose="020B0604020202020204" pitchFamily="34" charset="0"/>
              <a:buNone/>
              <a:defRPr sz="1400" b="0" i="0">
                <a:solidFill>
                  <a:schemeClr val="bg2"/>
                </a:solidFill>
                <a:latin typeface="Graphik Semibold" panose="020B0503030202060203" pitchFamily="34" charset="77"/>
              </a:defRPr>
            </a:lvl1pPr>
            <a:lvl2pPr marL="0" indent="0" algn="l">
              <a:spcAft>
                <a:spcPts val="600"/>
              </a:spcAft>
              <a:buNone/>
              <a:defRPr sz="1200" b="0" i="0">
                <a:latin typeface="Graphik" panose="020B0503030202060203" pitchFamily="34" charset="77"/>
              </a:defRPr>
            </a:lvl2pPr>
            <a:lvl3pPr marL="0" indent="0" algn="l" rtl="0">
              <a:spcAft>
                <a:spcPts val="600"/>
              </a:spcAft>
              <a:buNone/>
              <a:defRPr sz="1200" b="0" i="0">
                <a:latin typeface="Graphik" panose="020B0503030202060203" pitchFamily="34" charset="77"/>
              </a:defRPr>
            </a:lvl3pPr>
            <a:lvl4pPr marL="182875" indent="-182875" algn="l" rtl="0">
              <a:spcAft>
                <a:spcPts val="600"/>
              </a:spcAft>
              <a:buFont typeface="Graphik" panose="020B0604020202020204" pitchFamily="34" charset="0"/>
              <a:buChar char="•"/>
              <a:defRPr sz="1200" b="0" i="0">
                <a:latin typeface="Graphik" panose="020B0503030202060203" pitchFamily="34" charset="77"/>
              </a:defRPr>
            </a:lvl4pPr>
            <a:lvl5pPr>
              <a:spcAft>
                <a:spcPts val="600"/>
              </a:spcAft>
              <a:defRPr sz="1600"/>
            </a:lvl5pPr>
          </a:lstStyle>
          <a:p>
            <a:pPr lvl="0"/>
            <a:r>
              <a:rPr lang="pt-BR"/>
              <a:t>Headline Details</a:t>
            </a:r>
          </a:p>
          <a:p>
            <a:pPr lvl="2"/>
            <a:r>
              <a:rPr lang="pt-BR"/>
              <a:t>More details</a:t>
            </a:r>
          </a:p>
          <a:p>
            <a:pPr lvl="3"/>
            <a:r>
              <a:rPr lang="pt-BR"/>
              <a:t>Bullet point</a:t>
            </a:r>
            <a:endParaRPr lang="pt-BR" dirty="0"/>
          </a:p>
        </p:txBody>
      </p:sp>
      <p:sp>
        <p:nvSpPr>
          <p:cNvPr id="31" name="Picture Placeholder 8">
            <a:extLst>
              <a:ext uri="{FF2B5EF4-FFF2-40B4-BE49-F238E27FC236}">
                <a16:creationId xmlns:a16="http://schemas.microsoft.com/office/drawing/2014/main" id="{B32375EE-E449-4B59-B987-5D6EBFBDF31C}"/>
              </a:ext>
            </a:extLst>
          </p:cNvPr>
          <p:cNvSpPr>
            <a:spLocks noGrp="1"/>
          </p:cNvSpPr>
          <p:nvPr>
            <p:ph type="pic" sz="quarter" idx="26" hasCustomPrompt="1"/>
          </p:nvPr>
        </p:nvSpPr>
        <p:spPr>
          <a:xfrm>
            <a:off x="7649471" y="1991444"/>
            <a:ext cx="1312792" cy="1312792"/>
          </a:xfrm>
          <a:prstGeom prst="rect">
            <a:avLst/>
          </a:prstGeom>
          <a:solidFill>
            <a:schemeClr val="bg1">
              <a:lumMod val="95000"/>
            </a:schemeClr>
          </a:solidFill>
        </p:spPr>
        <p:txBody>
          <a:bodyPr anchor="ctr"/>
          <a:lstStyle>
            <a:lvl1pPr marL="0" indent="0" algn="ctr" rtl="0">
              <a:buFont typeface="Graphik" panose="020B0604020202020204" pitchFamily="34" charset="0"/>
              <a:buNone/>
              <a:defRPr sz="1400" b="0" i="0">
                <a:latin typeface="Graphik" panose="020B0503030202060203" pitchFamily="34" charset="77"/>
              </a:defRPr>
            </a:lvl1pPr>
          </a:lstStyle>
          <a:p>
            <a:r>
              <a:rPr lang="pt-BR"/>
              <a:t>Add icon</a:t>
            </a:r>
            <a:endParaRPr lang="pt-BR" dirty="0"/>
          </a:p>
        </p:txBody>
      </p:sp>
      <p:sp>
        <p:nvSpPr>
          <p:cNvPr id="6" name="Text Placeholder 4">
            <a:extLst>
              <a:ext uri="{FF2B5EF4-FFF2-40B4-BE49-F238E27FC236}">
                <a16:creationId xmlns:a16="http://schemas.microsoft.com/office/drawing/2014/main" id="{154AA6FC-4B12-B058-1F73-83023D3E1DF8}"/>
              </a:ext>
            </a:extLst>
          </p:cNvPr>
          <p:cNvSpPr>
            <a:spLocks noGrp="1"/>
          </p:cNvSpPr>
          <p:nvPr>
            <p:ph type="body" sz="quarter" idx="30" hasCustomPrompt="1"/>
          </p:nvPr>
        </p:nvSpPr>
        <p:spPr>
          <a:xfrm>
            <a:off x="7649471" y="3648454"/>
            <a:ext cx="1629646" cy="1971541"/>
          </a:xfrm>
          <a:prstGeom prst="rect">
            <a:avLst/>
          </a:prstGeom>
        </p:spPr>
        <p:txBody>
          <a:bodyPr/>
          <a:lstStyle>
            <a:lvl1pPr marL="0" indent="0" algn="l" rtl="0">
              <a:lnSpc>
                <a:spcPct val="90000"/>
              </a:lnSpc>
              <a:spcAft>
                <a:spcPts val="600"/>
              </a:spcAft>
              <a:buFont typeface="Graphik" panose="020B0604020202020204" pitchFamily="34" charset="0"/>
              <a:buNone/>
              <a:defRPr sz="1400" b="0" i="0">
                <a:solidFill>
                  <a:schemeClr val="bg2"/>
                </a:solidFill>
                <a:latin typeface="Graphik Semibold" panose="020B0503030202060203" pitchFamily="34" charset="77"/>
              </a:defRPr>
            </a:lvl1pPr>
            <a:lvl2pPr marL="0" indent="0" algn="l">
              <a:spcAft>
                <a:spcPts val="600"/>
              </a:spcAft>
              <a:buNone/>
              <a:defRPr sz="1200" b="0" i="0">
                <a:latin typeface="Graphik" panose="020B0503030202060203" pitchFamily="34" charset="77"/>
              </a:defRPr>
            </a:lvl2pPr>
            <a:lvl3pPr marL="0" indent="0" algn="l" rtl="0">
              <a:spcAft>
                <a:spcPts val="600"/>
              </a:spcAft>
              <a:buNone/>
              <a:defRPr sz="1200" b="0" i="0">
                <a:latin typeface="Graphik" panose="020B0503030202060203" pitchFamily="34" charset="77"/>
              </a:defRPr>
            </a:lvl3pPr>
            <a:lvl4pPr marL="182875" indent="-182875" algn="l" rtl="0">
              <a:spcAft>
                <a:spcPts val="600"/>
              </a:spcAft>
              <a:buFont typeface="Graphik" panose="020B0604020202020204" pitchFamily="34" charset="0"/>
              <a:buChar char="•"/>
              <a:defRPr sz="1200" b="0" i="0">
                <a:latin typeface="Graphik" panose="020B0503030202060203" pitchFamily="34" charset="77"/>
              </a:defRPr>
            </a:lvl4pPr>
            <a:lvl5pPr>
              <a:spcAft>
                <a:spcPts val="600"/>
              </a:spcAft>
              <a:defRPr sz="1600"/>
            </a:lvl5pPr>
          </a:lstStyle>
          <a:p>
            <a:pPr lvl="0"/>
            <a:r>
              <a:rPr lang="pt-BR"/>
              <a:t>Headline Details</a:t>
            </a:r>
          </a:p>
          <a:p>
            <a:pPr lvl="2"/>
            <a:r>
              <a:rPr lang="pt-BR"/>
              <a:t>More details</a:t>
            </a:r>
          </a:p>
          <a:p>
            <a:pPr lvl="3"/>
            <a:r>
              <a:rPr lang="pt-BR"/>
              <a:t>Bullet point</a:t>
            </a:r>
            <a:endParaRPr lang="pt-BR" dirty="0"/>
          </a:p>
        </p:txBody>
      </p:sp>
      <p:sp>
        <p:nvSpPr>
          <p:cNvPr id="32" name="Picture Placeholder 10">
            <a:extLst>
              <a:ext uri="{FF2B5EF4-FFF2-40B4-BE49-F238E27FC236}">
                <a16:creationId xmlns:a16="http://schemas.microsoft.com/office/drawing/2014/main" id="{EE1692D5-4CE6-4990-8769-B146983B9477}"/>
              </a:ext>
            </a:extLst>
          </p:cNvPr>
          <p:cNvSpPr>
            <a:spLocks noGrp="1"/>
          </p:cNvSpPr>
          <p:nvPr>
            <p:ph type="pic" sz="quarter" idx="27" hasCustomPrompt="1"/>
          </p:nvPr>
        </p:nvSpPr>
        <p:spPr>
          <a:xfrm>
            <a:off x="10011492" y="1991444"/>
            <a:ext cx="1312792" cy="1312792"/>
          </a:xfrm>
          <a:prstGeom prst="rect">
            <a:avLst/>
          </a:prstGeom>
          <a:solidFill>
            <a:schemeClr val="bg1">
              <a:lumMod val="95000"/>
            </a:schemeClr>
          </a:solidFill>
        </p:spPr>
        <p:txBody>
          <a:bodyPr anchor="ctr"/>
          <a:lstStyle>
            <a:lvl1pPr marL="0" indent="0" algn="ctr" rtl="0">
              <a:buFont typeface="Graphik" panose="020B0604020202020204" pitchFamily="34" charset="0"/>
              <a:buNone/>
              <a:defRPr sz="1400" b="0" i="0">
                <a:latin typeface="Graphik" panose="020B0503030202060203" pitchFamily="34" charset="77"/>
              </a:defRPr>
            </a:lvl1pPr>
          </a:lstStyle>
          <a:p>
            <a:r>
              <a:rPr lang="pt-BR"/>
              <a:t>Add icon</a:t>
            </a:r>
            <a:endParaRPr lang="pt-BR" dirty="0"/>
          </a:p>
        </p:txBody>
      </p:sp>
      <p:sp>
        <p:nvSpPr>
          <p:cNvPr id="7" name="Text Placeholder 5">
            <a:extLst>
              <a:ext uri="{FF2B5EF4-FFF2-40B4-BE49-F238E27FC236}">
                <a16:creationId xmlns:a16="http://schemas.microsoft.com/office/drawing/2014/main" id="{DE7585F8-AF83-86FE-9FDC-FCBB8F0FDCBB}"/>
              </a:ext>
            </a:extLst>
          </p:cNvPr>
          <p:cNvSpPr>
            <a:spLocks noGrp="1"/>
          </p:cNvSpPr>
          <p:nvPr>
            <p:ph type="body" sz="quarter" idx="31" hasCustomPrompt="1"/>
          </p:nvPr>
        </p:nvSpPr>
        <p:spPr>
          <a:xfrm>
            <a:off x="10011492" y="3648454"/>
            <a:ext cx="1629646" cy="1971541"/>
          </a:xfrm>
          <a:prstGeom prst="rect">
            <a:avLst/>
          </a:prstGeom>
        </p:spPr>
        <p:txBody>
          <a:bodyPr/>
          <a:lstStyle>
            <a:lvl1pPr marL="0" indent="0" algn="l" rtl="0">
              <a:lnSpc>
                <a:spcPct val="90000"/>
              </a:lnSpc>
              <a:spcAft>
                <a:spcPts val="600"/>
              </a:spcAft>
              <a:buFont typeface="Graphik" panose="020B0604020202020204" pitchFamily="34" charset="0"/>
              <a:buNone/>
              <a:defRPr sz="1400" b="0" i="0">
                <a:solidFill>
                  <a:schemeClr val="bg2"/>
                </a:solidFill>
                <a:latin typeface="Graphik Semibold" panose="020B0503030202060203" pitchFamily="34" charset="77"/>
              </a:defRPr>
            </a:lvl1pPr>
            <a:lvl2pPr marL="0" indent="0" algn="l">
              <a:spcAft>
                <a:spcPts val="600"/>
              </a:spcAft>
              <a:buNone/>
              <a:defRPr sz="1200" b="0" i="0">
                <a:latin typeface="Graphik" panose="020B0503030202060203" pitchFamily="34" charset="77"/>
              </a:defRPr>
            </a:lvl2pPr>
            <a:lvl3pPr marL="0" indent="0" algn="l" rtl="0">
              <a:spcAft>
                <a:spcPts val="600"/>
              </a:spcAft>
              <a:buNone/>
              <a:defRPr sz="1200" b="0" i="0">
                <a:latin typeface="Graphik" panose="020B0503030202060203" pitchFamily="34" charset="77"/>
              </a:defRPr>
            </a:lvl3pPr>
            <a:lvl4pPr marL="182875" indent="-182875" algn="l" rtl="0">
              <a:spcAft>
                <a:spcPts val="600"/>
              </a:spcAft>
              <a:buFont typeface="Graphik" panose="020B0604020202020204" pitchFamily="34" charset="0"/>
              <a:buChar char="•"/>
              <a:defRPr sz="1200" b="0" i="0">
                <a:latin typeface="Graphik" panose="020B0503030202060203" pitchFamily="34" charset="77"/>
              </a:defRPr>
            </a:lvl4pPr>
            <a:lvl5pPr>
              <a:spcAft>
                <a:spcPts val="600"/>
              </a:spcAft>
              <a:defRPr sz="1600"/>
            </a:lvl5pPr>
          </a:lstStyle>
          <a:p>
            <a:pPr lvl="0"/>
            <a:r>
              <a:rPr lang="pt-BR"/>
              <a:t>Headline Details</a:t>
            </a:r>
          </a:p>
          <a:p>
            <a:pPr lvl="2"/>
            <a:r>
              <a:rPr lang="pt-BR"/>
              <a:t>More details</a:t>
            </a:r>
          </a:p>
          <a:p>
            <a:pPr lvl="3"/>
            <a:r>
              <a:rPr lang="pt-BR"/>
              <a:t>Bullet point</a:t>
            </a:r>
            <a:endParaRPr lang="pt-BR" dirty="0"/>
          </a:p>
        </p:txBody>
      </p:sp>
    </p:spTree>
    <p:extLst>
      <p:ext uri="{BB962C8B-B14F-4D97-AF65-F5344CB8AC3E}">
        <p14:creationId xmlns:p14="http://schemas.microsoft.com/office/powerpoint/2010/main" val="1502942214"/>
      </p:ext>
    </p:extLst>
  </p:cSld>
  <p:clrMapOvr>
    <a:masterClrMapping/>
  </p:clrMapOvr>
  <p:extLst>
    <p:ext uri="{DCECCB84-F9BA-43D5-87BE-67443E8EF086}">
      <p15:sldGuideLst xmlns:p15="http://schemas.microsoft.com/office/powerpoint/2012/main">
        <p15:guide id="1" orient="horz" pos="2777" userDrawn="1">
          <p15:clr>
            <a:srgbClr val="C35EA4"/>
          </p15:clr>
        </p15:guide>
        <p15:guide id="2" orient="horz" pos="699" userDrawn="1">
          <p15:clr>
            <a:srgbClr val="547EBF"/>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team 1">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BC0A3C0-1220-6D10-BBF3-4C9642698305}"/>
              </a:ext>
            </a:extLst>
          </p:cNvPr>
          <p:cNvGraphicFramePr>
            <a:graphicFrameLocks noChangeAspect="1"/>
          </p:cNvGraphicFramePr>
          <p:nvPr userDrawn="1">
            <p:custDataLst>
              <p:tags r:id="rId1"/>
            </p:custDataLst>
            <p:extLst>
              <p:ext uri="{D42A27DB-BD31-4B8C-83A1-F6EECF244321}">
                <p14:modId xmlns:p14="http://schemas.microsoft.com/office/powerpoint/2010/main" val="2954328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9" name="think-cell data - do not delete" hidden="1">
                        <a:extLst>
                          <a:ext uri="{FF2B5EF4-FFF2-40B4-BE49-F238E27FC236}">
                            <a16:creationId xmlns:a16="http://schemas.microsoft.com/office/drawing/2014/main" id="{8BC0A3C0-1220-6D10-BBF3-4C96426983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Picture Placeholder 2">
            <a:extLst>
              <a:ext uri="{FF2B5EF4-FFF2-40B4-BE49-F238E27FC236}">
                <a16:creationId xmlns:a16="http://schemas.microsoft.com/office/drawing/2014/main" id="{D57647B7-79D1-0A4B-BE19-EB3D7E56204A}"/>
              </a:ext>
            </a:extLst>
          </p:cNvPr>
          <p:cNvSpPr>
            <a:spLocks noGrp="1" noChangeAspect="1"/>
          </p:cNvSpPr>
          <p:nvPr>
            <p:ph type="pic" sz="quarter" idx="15" hasCustomPrompt="1"/>
          </p:nvPr>
        </p:nvSpPr>
        <p:spPr>
          <a:xfrm>
            <a:off x="564646" y="1744663"/>
            <a:ext cx="1180800" cy="1180800"/>
          </a:xfrm>
          <a:prstGeom prst="rect">
            <a:avLst/>
          </a:prstGeom>
          <a:solidFill>
            <a:schemeClr val="bg1">
              <a:lumMod val="95000"/>
            </a:schemeClr>
          </a:solidFill>
          <a:ln>
            <a:noFill/>
          </a:ln>
        </p:spPr>
        <p:txBody>
          <a:bodyPr vert="horz" lIns="91440" tIns="0" rIns="0" bIns="0" rtlCol="0" anchor="ctr">
            <a:noAutofit/>
          </a:bodyPr>
          <a:lstStyle>
            <a:lvl1pPr rtl="0">
              <a:defRPr lang="en-US" i="0">
                <a:latin typeface="Graphik" panose="020B0503030202060203" pitchFamily="34" charset="77"/>
              </a:defRPr>
            </a:lvl1pPr>
          </a:lstStyle>
          <a:p>
            <a:pPr lvl="0" algn="ctr"/>
            <a:r>
              <a:rPr lang="pt-BR"/>
              <a:t>Add profile photo</a:t>
            </a:r>
            <a:endParaRPr lang="pt-BR" dirty="0"/>
          </a:p>
        </p:txBody>
      </p:sp>
      <p:sp>
        <p:nvSpPr>
          <p:cNvPr id="46" name="Picture Placeholder 4">
            <a:extLst>
              <a:ext uri="{FF2B5EF4-FFF2-40B4-BE49-F238E27FC236}">
                <a16:creationId xmlns:a16="http://schemas.microsoft.com/office/drawing/2014/main" id="{25DB0B2A-9775-46B0-9A40-F75EBFA4B45C}"/>
              </a:ext>
            </a:extLst>
          </p:cNvPr>
          <p:cNvSpPr>
            <a:spLocks noGrp="1" noChangeAspect="1"/>
          </p:cNvSpPr>
          <p:nvPr>
            <p:ph type="pic" sz="quarter" idx="27" hasCustomPrompt="1"/>
          </p:nvPr>
        </p:nvSpPr>
        <p:spPr>
          <a:xfrm>
            <a:off x="3569554" y="1744663"/>
            <a:ext cx="1180800" cy="1180800"/>
          </a:xfrm>
          <a:prstGeom prst="rect">
            <a:avLst/>
          </a:prstGeom>
          <a:solidFill>
            <a:schemeClr val="bg1">
              <a:lumMod val="95000"/>
            </a:schemeClr>
          </a:solidFill>
          <a:ln>
            <a:noFill/>
          </a:ln>
        </p:spPr>
        <p:txBody>
          <a:bodyPr vert="horz" lIns="91440" tIns="0" rIns="0" bIns="0" rtlCol="0" anchor="ctr">
            <a:noAutofit/>
          </a:bodyPr>
          <a:lstStyle>
            <a:lvl1pPr rtl="0">
              <a:defRPr lang="en-US" i="0">
                <a:latin typeface="Graphik" panose="020B0503030202060203" pitchFamily="34" charset="77"/>
              </a:defRPr>
            </a:lvl1pPr>
          </a:lstStyle>
          <a:p>
            <a:pPr lvl="0" algn="ctr"/>
            <a:r>
              <a:rPr lang="pt-BR"/>
              <a:t>Add profile photo</a:t>
            </a:r>
            <a:endParaRPr lang="pt-BR" dirty="0"/>
          </a:p>
        </p:txBody>
      </p:sp>
      <p:sp>
        <p:nvSpPr>
          <p:cNvPr id="47" name="Picture Placeholder 6">
            <a:extLst>
              <a:ext uri="{FF2B5EF4-FFF2-40B4-BE49-F238E27FC236}">
                <a16:creationId xmlns:a16="http://schemas.microsoft.com/office/drawing/2014/main" id="{F83F6B5F-EAE7-44DA-BD77-6D66865CEB92}"/>
              </a:ext>
            </a:extLst>
          </p:cNvPr>
          <p:cNvSpPr>
            <a:spLocks noGrp="1" noChangeAspect="1"/>
          </p:cNvSpPr>
          <p:nvPr>
            <p:ph type="pic" sz="quarter" idx="28" hasCustomPrompt="1"/>
          </p:nvPr>
        </p:nvSpPr>
        <p:spPr>
          <a:xfrm>
            <a:off x="6574462" y="1744663"/>
            <a:ext cx="1180800" cy="1180800"/>
          </a:xfrm>
          <a:prstGeom prst="rect">
            <a:avLst/>
          </a:prstGeom>
          <a:solidFill>
            <a:schemeClr val="bg1">
              <a:lumMod val="95000"/>
            </a:schemeClr>
          </a:solidFill>
          <a:ln>
            <a:noFill/>
          </a:ln>
        </p:spPr>
        <p:txBody>
          <a:bodyPr vert="horz" lIns="91440" tIns="0" rIns="0" bIns="0" rtlCol="0" anchor="ctr">
            <a:noAutofit/>
          </a:bodyPr>
          <a:lstStyle>
            <a:lvl1pPr rtl="0">
              <a:defRPr lang="en-US" i="0">
                <a:latin typeface="Graphik" panose="020B0503030202060203" pitchFamily="34" charset="77"/>
              </a:defRPr>
            </a:lvl1pPr>
          </a:lstStyle>
          <a:p>
            <a:pPr lvl="0" algn="ctr"/>
            <a:r>
              <a:rPr lang="pt-BR"/>
              <a:t>Add profile photo</a:t>
            </a:r>
            <a:endParaRPr lang="pt-BR" dirty="0"/>
          </a:p>
        </p:txBody>
      </p:sp>
      <p:sp>
        <p:nvSpPr>
          <p:cNvPr id="48" name="Picture Placeholder 8">
            <a:extLst>
              <a:ext uri="{FF2B5EF4-FFF2-40B4-BE49-F238E27FC236}">
                <a16:creationId xmlns:a16="http://schemas.microsoft.com/office/drawing/2014/main" id="{AD8EF41C-E978-4139-80A4-73605C41EA35}"/>
              </a:ext>
            </a:extLst>
          </p:cNvPr>
          <p:cNvSpPr>
            <a:spLocks noGrp="1" noChangeAspect="1"/>
          </p:cNvSpPr>
          <p:nvPr>
            <p:ph type="pic" sz="quarter" idx="29" hasCustomPrompt="1"/>
          </p:nvPr>
        </p:nvSpPr>
        <p:spPr>
          <a:xfrm>
            <a:off x="9579372" y="1744663"/>
            <a:ext cx="1180800" cy="1180800"/>
          </a:xfrm>
          <a:prstGeom prst="rect">
            <a:avLst/>
          </a:prstGeom>
          <a:solidFill>
            <a:schemeClr val="bg1">
              <a:lumMod val="95000"/>
            </a:schemeClr>
          </a:solidFill>
          <a:ln>
            <a:noFill/>
          </a:ln>
        </p:spPr>
        <p:txBody>
          <a:bodyPr vert="horz" lIns="91440" tIns="0" rIns="0" bIns="0" rtlCol="0" anchor="ctr">
            <a:noAutofit/>
          </a:bodyPr>
          <a:lstStyle>
            <a:lvl1pPr rtl="0">
              <a:defRPr lang="en-US" i="0">
                <a:latin typeface="Graphik" panose="020B0503030202060203" pitchFamily="34" charset="77"/>
              </a:defRPr>
            </a:lvl1pPr>
          </a:lstStyle>
          <a:p>
            <a:pPr lvl="0" algn="ctr"/>
            <a:r>
              <a:rPr lang="pt-BR"/>
              <a:t>Add profile photo</a:t>
            </a:r>
            <a:endParaRPr lang="pt-BR" dirty="0"/>
          </a:p>
        </p:txBody>
      </p:sp>
      <p:sp>
        <p:nvSpPr>
          <p:cNvPr id="3" name="Text Placeholder 1">
            <a:extLst>
              <a:ext uri="{FF2B5EF4-FFF2-40B4-BE49-F238E27FC236}">
                <a16:creationId xmlns:a16="http://schemas.microsoft.com/office/drawing/2014/main" id="{E190AA3D-F653-7DE3-E814-C735080B2FC6}"/>
              </a:ext>
            </a:extLst>
          </p:cNvPr>
          <p:cNvSpPr>
            <a:spLocks noGrp="1"/>
          </p:cNvSpPr>
          <p:nvPr>
            <p:ph type="body" sz="quarter" idx="19" hasCustomPrompt="1"/>
          </p:nvPr>
        </p:nvSpPr>
        <p:spPr>
          <a:xfrm>
            <a:off x="564645" y="3331287"/>
            <a:ext cx="2047984" cy="2397859"/>
          </a:xfrm>
          <a:prstGeom prst="rect">
            <a:avLst/>
          </a:prstGeom>
        </p:spPr>
        <p:txBody>
          <a:bodyPr/>
          <a:lstStyle>
            <a:lvl1pPr marL="0" indent="0" rtl="0">
              <a:lnSpc>
                <a:spcPct val="80000"/>
              </a:lnSpc>
              <a:spcAft>
                <a:spcPts val="0"/>
              </a:spcAft>
              <a:buFont typeface="Graphik" panose="020B0604020202020204" pitchFamily="34" charset="0"/>
              <a:buNone/>
              <a:defRPr sz="1100" b="1" i="0">
                <a:solidFill>
                  <a:schemeClr val="bg2"/>
                </a:solidFill>
                <a:latin typeface="Graphik Semibold" panose="020B0503030202060203" pitchFamily="34" charset="77"/>
              </a:defRPr>
            </a:lvl1pPr>
            <a:lvl2pPr marL="0" indent="0" rtl="0">
              <a:spcAft>
                <a:spcPts val="800"/>
              </a:spcAft>
              <a:buNone/>
              <a:defRPr lang="en-US" sz="1100" b="1" i="0" kern="1200">
                <a:solidFill>
                  <a:schemeClr val="bg2"/>
                </a:solidFill>
                <a:latin typeface="Graphik Semibold" panose="020B0503030202060203" pitchFamily="34" charset="77"/>
                <a:ea typeface="+mn-ea"/>
                <a:cs typeface="+mn-cs"/>
              </a:defRPr>
            </a:lvl2pPr>
            <a:lvl3pPr marL="0" indent="0" rtl="0">
              <a:spcAft>
                <a:spcPts val="600"/>
              </a:spcAft>
              <a:buNone/>
              <a:defRPr sz="1100" b="0" i="0">
                <a:latin typeface="Graphik" panose="020B0503030202060203" pitchFamily="34" charset="77"/>
              </a:defRPr>
            </a:lvl3pPr>
            <a:lvl4pPr marL="182875" indent="-182875" rtl="0">
              <a:spcAft>
                <a:spcPts val="600"/>
              </a:spcAft>
              <a:buFont typeface="Graphik" panose="020B0604020202020204" pitchFamily="34" charset="0"/>
              <a:buChar char="•"/>
              <a:defRPr sz="1100" b="0" i="0">
                <a:latin typeface="Graphik" panose="020B0503030202060203" pitchFamily="34" charset="77"/>
              </a:defRPr>
            </a:lvl4pPr>
            <a:lvl5pPr>
              <a:spcAft>
                <a:spcPts val="600"/>
              </a:spcAft>
              <a:defRPr sz="1600"/>
            </a:lvl5pPr>
          </a:lstStyle>
          <a:p>
            <a:pPr lvl="0"/>
            <a:r>
              <a:rPr lang="pt-BR"/>
              <a:t>First name</a:t>
            </a:r>
          </a:p>
          <a:p>
            <a:pPr marL="0" lvl="1" indent="0" algn="l" defTabSz="228594" rtl="0" eaLnBrk="1" latinLnBrk="0" hangingPunct="1">
              <a:lnSpc>
                <a:spcPct val="100000"/>
              </a:lnSpc>
              <a:spcBef>
                <a:spcPts val="0"/>
              </a:spcBef>
              <a:spcAft>
                <a:spcPts val="800"/>
              </a:spcAft>
              <a:buClrTx/>
              <a:buFont typeface="Arial" panose="020B0604020202020204" pitchFamily="34" charset="0"/>
              <a:buNone/>
            </a:pPr>
            <a:r>
              <a:rPr lang="pt-BR"/>
              <a:t>Surname or Role</a:t>
            </a:r>
          </a:p>
          <a:p>
            <a:pPr lvl="2"/>
            <a:r>
              <a:rPr lang="pt-BR"/>
              <a:t>Short bio</a:t>
            </a:r>
          </a:p>
          <a:p>
            <a:pPr lvl="3"/>
            <a:r>
              <a:rPr lang="pt-BR"/>
              <a:t>Bullet point</a:t>
            </a:r>
            <a:endParaRPr lang="pt-BR" dirty="0"/>
          </a:p>
        </p:txBody>
      </p:sp>
      <p:sp>
        <p:nvSpPr>
          <p:cNvPr id="4" name="Text Placeholder 2">
            <a:extLst>
              <a:ext uri="{FF2B5EF4-FFF2-40B4-BE49-F238E27FC236}">
                <a16:creationId xmlns:a16="http://schemas.microsoft.com/office/drawing/2014/main" id="{6845C65E-741B-B706-0B82-1C81A0F6B5D9}"/>
              </a:ext>
            </a:extLst>
          </p:cNvPr>
          <p:cNvSpPr>
            <a:spLocks noGrp="1"/>
          </p:cNvSpPr>
          <p:nvPr>
            <p:ph type="body" sz="quarter" idx="31" hasCustomPrompt="1"/>
          </p:nvPr>
        </p:nvSpPr>
        <p:spPr>
          <a:xfrm>
            <a:off x="3569554" y="3331287"/>
            <a:ext cx="2047984" cy="2397859"/>
          </a:xfrm>
          <a:prstGeom prst="rect">
            <a:avLst/>
          </a:prstGeom>
        </p:spPr>
        <p:txBody>
          <a:bodyPr/>
          <a:lstStyle>
            <a:lvl1pPr marL="0" indent="0" rtl="0">
              <a:lnSpc>
                <a:spcPct val="80000"/>
              </a:lnSpc>
              <a:spcAft>
                <a:spcPts val="0"/>
              </a:spcAft>
              <a:buFont typeface="Graphik" panose="020B0604020202020204" pitchFamily="34" charset="0"/>
              <a:buNone/>
              <a:defRPr sz="1100" b="1" i="0">
                <a:solidFill>
                  <a:schemeClr val="bg2"/>
                </a:solidFill>
                <a:latin typeface="Graphik Semibold" panose="020B0503030202060203" pitchFamily="34" charset="77"/>
              </a:defRPr>
            </a:lvl1pPr>
            <a:lvl2pPr marL="0" indent="0" rtl="0">
              <a:spcAft>
                <a:spcPts val="800"/>
              </a:spcAft>
              <a:buNone/>
              <a:defRPr lang="en-US" sz="1100" b="1" i="0" kern="1200">
                <a:solidFill>
                  <a:schemeClr val="bg2"/>
                </a:solidFill>
                <a:latin typeface="Graphik Semibold" panose="020B0503030202060203" pitchFamily="34" charset="77"/>
                <a:ea typeface="+mn-ea"/>
                <a:cs typeface="+mn-cs"/>
              </a:defRPr>
            </a:lvl2pPr>
            <a:lvl3pPr marL="0" indent="0" rtl="0">
              <a:spcAft>
                <a:spcPts val="600"/>
              </a:spcAft>
              <a:buNone/>
              <a:defRPr sz="1100" b="0" i="0">
                <a:latin typeface="Graphik" panose="020B0503030202060203" pitchFamily="34" charset="77"/>
              </a:defRPr>
            </a:lvl3pPr>
            <a:lvl4pPr marL="182875" indent="-182875" rtl="0">
              <a:spcAft>
                <a:spcPts val="600"/>
              </a:spcAft>
              <a:buFont typeface="Graphik" panose="020B0604020202020204" pitchFamily="34" charset="0"/>
              <a:buChar char="•"/>
              <a:defRPr sz="1100" b="0" i="0">
                <a:latin typeface="Graphik" panose="020B0503030202060203" pitchFamily="34" charset="77"/>
              </a:defRPr>
            </a:lvl4pPr>
            <a:lvl5pPr>
              <a:spcAft>
                <a:spcPts val="600"/>
              </a:spcAft>
              <a:defRPr sz="1600"/>
            </a:lvl5pPr>
          </a:lstStyle>
          <a:p>
            <a:pPr lvl="0"/>
            <a:r>
              <a:rPr lang="pt-BR"/>
              <a:t>First name</a:t>
            </a:r>
          </a:p>
          <a:p>
            <a:pPr marL="0" lvl="1" indent="0" algn="l" defTabSz="228594" rtl="0" eaLnBrk="1" latinLnBrk="0" hangingPunct="1">
              <a:lnSpc>
                <a:spcPct val="100000"/>
              </a:lnSpc>
              <a:spcBef>
                <a:spcPts val="0"/>
              </a:spcBef>
              <a:spcAft>
                <a:spcPts val="800"/>
              </a:spcAft>
              <a:buClrTx/>
              <a:buFont typeface="Arial" panose="020B0604020202020204" pitchFamily="34" charset="0"/>
              <a:buNone/>
            </a:pPr>
            <a:r>
              <a:rPr lang="pt-BR"/>
              <a:t>Surname or Role</a:t>
            </a:r>
          </a:p>
          <a:p>
            <a:pPr lvl="2"/>
            <a:r>
              <a:rPr lang="pt-BR"/>
              <a:t>Short bio</a:t>
            </a:r>
          </a:p>
          <a:p>
            <a:pPr lvl="3"/>
            <a:r>
              <a:rPr lang="pt-BR"/>
              <a:t>Bullet point</a:t>
            </a:r>
            <a:endParaRPr lang="pt-BR" dirty="0"/>
          </a:p>
        </p:txBody>
      </p:sp>
      <p:sp>
        <p:nvSpPr>
          <p:cNvPr id="6" name="Text Placeholder 3">
            <a:extLst>
              <a:ext uri="{FF2B5EF4-FFF2-40B4-BE49-F238E27FC236}">
                <a16:creationId xmlns:a16="http://schemas.microsoft.com/office/drawing/2014/main" id="{820C257B-A255-A185-7414-40904B81A8DC}"/>
              </a:ext>
            </a:extLst>
          </p:cNvPr>
          <p:cNvSpPr>
            <a:spLocks noGrp="1"/>
          </p:cNvSpPr>
          <p:nvPr>
            <p:ph type="body" sz="quarter" idx="32" hasCustomPrompt="1"/>
          </p:nvPr>
        </p:nvSpPr>
        <p:spPr>
          <a:xfrm>
            <a:off x="6574463" y="3331287"/>
            <a:ext cx="2047984" cy="2397859"/>
          </a:xfrm>
          <a:prstGeom prst="rect">
            <a:avLst/>
          </a:prstGeom>
        </p:spPr>
        <p:txBody>
          <a:bodyPr/>
          <a:lstStyle>
            <a:lvl1pPr marL="0" indent="0" rtl="0">
              <a:lnSpc>
                <a:spcPct val="80000"/>
              </a:lnSpc>
              <a:spcAft>
                <a:spcPts val="0"/>
              </a:spcAft>
              <a:buFont typeface="Graphik" panose="020B0604020202020204" pitchFamily="34" charset="0"/>
              <a:buNone/>
              <a:defRPr sz="1100" b="1" i="0">
                <a:solidFill>
                  <a:schemeClr val="bg2"/>
                </a:solidFill>
                <a:latin typeface="Graphik Semibold" panose="020B0503030202060203" pitchFamily="34" charset="77"/>
              </a:defRPr>
            </a:lvl1pPr>
            <a:lvl2pPr marL="0" indent="0" rtl="0">
              <a:spcAft>
                <a:spcPts val="800"/>
              </a:spcAft>
              <a:buNone/>
              <a:defRPr lang="en-US" sz="1100" b="1" i="0" kern="1200">
                <a:solidFill>
                  <a:schemeClr val="bg2"/>
                </a:solidFill>
                <a:latin typeface="Graphik Semibold" panose="020B0503030202060203" pitchFamily="34" charset="77"/>
                <a:ea typeface="+mn-ea"/>
                <a:cs typeface="+mn-cs"/>
              </a:defRPr>
            </a:lvl2pPr>
            <a:lvl3pPr marL="0" indent="0" rtl="0">
              <a:spcAft>
                <a:spcPts val="600"/>
              </a:spcAft>
              <a:buNone/>
              <a:defRPr sz="1100" b="0" i="0">
                <a:latin typeface="Graphik" panose="020B0503030202060203" pitchFamily="34" charset="77"/>
              </a:defRPr>
            </a:lvl3pPr>
            <a:lvl4pPr marL="182875" indent="-182875" rtl="0">
              <a:spcAft>
                <a:spcPts val="600"/>
              </a:spcAft>
              <a:buFont typeface="Graphik" panose="020B0604020202020204" pitchFamily="34" charset="0"/>
              <a:buChar char="•"/>
              <a:defRPr sz="1100" b="0" i="0">
                <a:latin typeface="Graphik" panose="020B0503030202060203" pitchFamily="34" charset="77"/>
              </a:defRPr>
            </a:lvl4pPr>
            <a:lvl5pPr>
              <a:spcAft>
                <a:spcPts val="600"/>
              </a:spcAft>
              <a:defRPr sz="1600"/>
            </a:lvl5pPr>
          </a:lstStyle>
          <a:p>
            <a:pPr lvl="0"/>
            <a:r>
              <a:rPr lang="pt-BR"/>
              <a:t>First name</a:t>
            </a:r>
          </a:p>
          <a:p>
            <a:pPr marL="0" lvl="1" indent="0" algn="l" defTabSz="228594" rtl="0" eaLnBrk="1" latinLnBrk="0" hangingPunct="1">
              <a:lnSpc>
                <a:spcPct val="100000"/>
              </a:lnSpc>
              <a:spcBef>
                <a:spcPts val="0"/>
              </a:spcBef>
              <a:spcAft>
                <a:spcPts val="800"/>
              </a:spcAft>
              <a:buClrTx/>
              <a:buFont typeface="Arial" panose="020B0604020202020204" pitchFamily="34" charset="0"/>
              <a:buNone/>
            </a:pPr>
            <a:r>
              <a:rPr lang="pt-BR"/>
              <a:t>Surname or Role</a:t>
            </a:r>
          </a:p>
          <a:p>
            <a:pPr lvl="2"/>
            <a:r>
              <a:rPr lang="pt-BR"/>
              <a:t>Short bio</a:t>
            </a:r>
          </a:p>
          <a:p>
            <a:pPr lvl="3"/>
            <a:r>
              <a:rPr lang="pt-BR"/>
              <a:t>Bullet point</a:t>
            </a:r>
            <a:endParaRPr lang="pt-BR" dirty="0"/>
          </a:p>
        </p:txBody>
      </p:sp>
      <p:sp>
        <p:nvSpPr>
          <p:cNvPr id="7" name="Text Placeholder 4">
            <a:extLst>
              <a:ext uri="{FF2B5EF4-FFF2-40B4-BE49-F238E27FC236}">
                <a16:creationId xmlns:a16="http://schemas.microsoft.com/office/drawing/2014/main" id="{46CCAA45-3EAB-F22C-1634-630066DF8C20}"/>
              </a:ext>
            </a:extLst>
          </p:cNvPr>
          <p:cNvSpPr>
            <a:spLocks noGrp="1"/>
          </p:cNvSpPr>
          <p:nvPr>
            <p:ph type="body" sz="quarter" idx="33" hasCustomPrompt="1"/>
          </p:nvPr>
        </p:nvSpPr>
        <p:spPr>
          <a:xfrm>
            <a:off x="9579371" y="3331287"/>
            <a:ext cx="2047984" cy="2397859"/>
          </a:xfrm>
          <a:prstGeom prst="rect">
            <a:avLst/>
          </a:prstGeom>
        </p:spPr>
        <p:txBody>
          <a:bodyPr/>
          <a:lstStyle>
            <a:lvl1pPr marL="0" indent="0" rtl="0">
              <a:lnSpc>
                <a:spcPct val="80000"/>
              </a:lnSpc>
              <a:spcAft>
                <a:spcPts val="0"/>
              </a:spcAft>
              <a:buFont typeface="Graphik" panose="020B0604020202020204" pitchFamily="34" charset="0"/>
              <a:buNone/>
              <a:defRPr sz="1100" b="1" i="0">
                <a:solidFill>
                  <a:schemeClr val="bg2"/>
                </a:solidFill>
                <a:latin typeface="Graphik Semibold" panose="020B0503030202060203" pitchFamily="34" charset="77"/>
              </a:defRPr>
            </a:lvl1pPr>
            <a:lvl2pPr marL="0" indent="0" rtl="0">
              <a:spcAft>
                <a:spcPts val="800"/>
              </a:spcAft>
              <a:buNone/>
              <a:defRPr lang="en-US" sz="1100" b="1" i="0" kern="1200">
                <a:solidFill>
                  <a:schemeClr val="bg2"/>
                </a:solidFill>
                <a:latin typeface="Graphik Semibold" panose="020B0503030202060203" pitchFamily="34" charset="77"/>
                <a:ea typeface="+mn-ea"/>
                <a:cs typeface="+mn-cs"/>
              </a:defRPr>
            </a:lvl2pPr>
            <a:lvl3pPr marL="0" indent="0" rtl="0">
              <a:spcAft>
                <a:spcPts val="600"/>
              </a:spcAft>
              <a:buNone/>
              <a:defRPr sz="1100" b="0" i="0">
                <a:latin typeface="Graphik" panose="020B0503030202060203" pitchFamily="34" charset="77"/>
              </a:defRPr>
            </a:lvl3pPr>
            <a:lvl4pPr marL="182875" indent="-182875" rtl="0">
              <a:spcAft>
                <a:spcPts val="600"/>
              </a:spcAft>
              <a:buFont typeface="Graphik" panose="020B0604020202020204" pitchFamily="34" charset="0"/>
              <a:buChar char="•"/>
              <a:defRPr sz="1100" b="0" i="0">
                <a:latin typeface="Graphik" panose="020B0503030202060203" pitchFamily="34" charset="77"/>
              </a:defRPr>
            </a:lvl4pPr>
            <a:lvl5pPr>
              <a:spcAft>
                <a:spcPts val="600"/>
              </a:spcAft>
              <a:defRPr sz="1600"/>
            </a:lvl5pPr>
          </a:lstStyle>
          <a:p>
            <a:pPr lvl="0"/>
            <a:r>
              <a:rPr lang="pt-BR"/>
              <a:t>First name</a:t>
            </a:r>
          </a:p>
          <a:p>
            <a:pPr marL="0" lvl="1" indent="0" algn="l" defTabSz="228594" rtl="0" eaLnBrk="1" latinLnBrk="0" hangingPunct="1">
              <a:lnSpc>
                <a:spcPct val="100000"/>
              </a:lnSpc>
              <a:spcBef>
                <a:spcPts val="0"/>
              </a:spcBef>
              <a:spcAft>
                <a:spcPts val="800"/>
              </a:spcAft>
              <a:buClrTx/>
              <a:buFont typeface="Arial" panose="020B0604020202020204" pitchFamily="34" charset="0"/>
              <a:buNone/>
            </a:pPr>
            <a:r>
              <a:rPr lang="pt-BR"/>
              <a:t>Surname or Role</a:t>
            </a:r>
          </a:p>
          <a:p>
            <a:pPr lvl="2"/>
            <a:r>
              <a:rPr lang="pt-BR"/>
              <a:t>Short bio</a:t>
            </a:r>
          </a:p>
          <a:p>
            <a:pPr lvl="3"/>
            <a:r>
              <a:rPr lang="pt-BR"/>
              <a:t>Bullet point</a:t>
            </a:r>
            <a:endParaRPr lang="pt-BR" dirty="0"/>
          </a:p>
        </p:txBody>
      </p:sp>
      <p:sp>
        <p:nvSpPr>
          <p:cNvPr id="5" name="Text Placeholder 3">
            <a:extLst>
              <a:ext uri="{FF2B5EF4-FFF2-40B4-BE49-F238E27FC236}">
                <a16:creationId xmlns:a16="http://schemas.microsoft.com/office/drawing/2014/main" id="{61017757-DC7D-283B-40ED-71A3ADDFA6E7}"/>
              </a:ext>
            </a:extLst>
          </p:cNvPr>
          <p:cNvSpPr>
            <a:spLocks noGrp="1"/>
          </p:cNvSpPr>
          <p:nvPr>
            <p:ph type="body" sz="quarter" idx="26" hasCustomPrompt="1"/>
          </p:nvPr>
        </p:nvSpPr>
        <p:spPr>
          <a:xfrm>
            <a:off x="563412" y="1109663"/>
            <a:ext cx="11063944" cy="384048"/>
          </a:xfrm>
          <a:prstGeom prst="rect">
            <a:avLst/>
          </a:prstGeom>
        </p:spPr>
        <p:txBody>
          <a:bodyPr anchor="t"/>
          <a:lstStyle>
            <a:lvl1pPr marL="0" indent="0" rtl="0">
              <a:spcAft>
                <a:spcPts val="0"/>
              </a:spcAft>
              <a:buNone/>
              <a:defRPr sz="1800" b="0" i="0">
                <a:solidFill>
                  <a:schemeClr val="tx1"/>
                </a:solidFill>
                <a:latin typeface="Graphik" panose="020B0503030202060203" pitchFamily="34" charset="77"/>
              </a:defRPr>
            </a:lvl1pPr>
          </a:lstStyle>
          <a:p>
            <a:pPr lvl="0"/>
            <a:r>
              <a:rPr lang="pt-BR"/>
              <a:t>Place subtitle here in Graphik regular</a:t>
            </a:r>
            <a:endParaRPr lang="pt-BR" dirty="0"/>
          </a:p>
        </p:txBody>
      </p:sp>
      <p:sp>
        <p:nvSpPr>
          <p:cNvPr id="8" name="Title 2">
            <a:extLst>
              <a:ext uri="{FF2B5EF4-FFF2-40B4-BE49-F238E27FC236}">
                <a16:creationId xmlns:a16="http://schemas.microsoft.com/office/drawing/2014/main" id="{31352EF7-C8C2-5E64-698B-A2C388CB7F7C}"/>
              </a:ext>
            </a:extLst>
          </p:cNvPr>
          <p:cNvSpPr>
            <a:spLocks noGrp="1"/>
          </p:cNvSpPr>
          <p:nvPr>
            <p:ph type="title"/>
          </p:nvPr>
        </p:nvSpPr>
        <p:spPr>
          <a:xfrm>
            <a:off x="556466" y="572600"/>
            <a:ext cx="11070889" cy="393954"/>
          </a:xfrm>
        </p:spPr>
        <p:txBody>
          <a:bodyPr vert="horz"/>
          <a:lstStyle>
            <a:lvl1pPr rtl="0">
              <a:defRPr/>
            </a:lvl1pPr>
          </a:lstStyle>
          <a:p>
            <a:r>
              <a:rPr lang="pt-BR"/>
              <a:t>Click to edit Master title style</a:t>
            </a:r>
            <a:endParaRPr lang="pt-BR" dirty="0"/>
          </a:p>
        </p:txBody>
      </p:sp>
    </p:spTree>
    <p:extLst>
      <p:ext uri="{BB962C8B-B14F-4D97-AF65-F5344CB8AC3E}">
        <p14:creationId xmlns:p14="http://schemas.microsoft.com/office/powerpoint/2010/main" val="2209298965"/>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team 2 + light mo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097C173-A36A-98BE-9675-70DD094DCC65}"/>
              </a:ext>
            </a:extLst>
          </p:cNvPr>
          <p:cNvGraphicFramePr>
            <a:graphicFrameLocks noChangeAspect="1"/>
          </p:cNvGraphicFramePr>
          <p:nvPr userDrawn="1">
            <p:custDataLst>
              <p:tags r:id="rId1"/>
            </p:custDataLst>
            <p:extLst>
              <p:ext uri="{D42A27DB-BD31-4B8C-83A1-F6EECF244321}">
                <p14:modId xmlns:p14="http://schemas.microsoft.com/office/powerpoint/2010/main" val="6631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5" name="think-cell data - do not delete" hidden="1">
                        <a:extLst>
                          <a:ext uri="{FF2B5EF4-FFF2-40B4-BE49-F238E27FC236}">
                            <a16:creationId xmlns:a16="http://schemas.microsoft.com/office/drawing/2014/main" id="{4097C173-A36A-98BE-9675-70DD094DCC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BE8934D7-8F0E-DAC2-009E-72AA89D1034C}"/>
              </a:ext>
            </a:extLst>
          </p:cNvPr>
          <p:cNvSpPr>
            <a:spLocks noGrp="1" noChangeAspect="1"/>
          </p:cNvSpPr>
          <p:nvPr>
            <p:ph type="pic" sz="quarter" idx="14" hasCustomPrompt="1"/>
          </p:nvPr>
        </p:nvSpPr>
        <p:spPr>
          <a:xfrm>
            <a:off x="1420322" y="2629388"/>
            <a:ext cx="1180800" cy="1180800"/>
          </a:xfrm>
          <a:prstGeom prst="rect">
            <a:avLst/>
          </a:prstGeom>
          <a:solidFill>
            <a:schemeClr val="bg1">
              <a:lumMod val="95000"/>
            </a:schemeClr>
          </a:solidFill>
        </p:spPr>
        <p:txBody>
          <a:bodyPr lIns="91440" tIns="0" anchor="ctr"/>
          <a:lstStyle>
            <a:lvl1pPr marL="0" indent="0" algn="ctr" rtl="0">
              <a:buNone/>
              <a:defRPr sz="1400" b="0" i="0">
                <a:latin typeface="Graphik" panose="020B0503030202060203" pitchFamily="34" charset="77"/>
              </a:defRPr>
            </a:lvl1pPr>
          </a:lstStyle>
          <a:p>
            <a:r>
              <a:rPr lang="pt-BR"/>
              <a:t>Add profile photo</a:t>
            </a:r>
            <a:endParaRPr lang="pt-BR" dirty="0"/>
          </a:p>
        </p:txBody>
      </p:sp>
      <p:sp>
        <p:nvSpPr>
          <p:cNvPr id="4" name="Picture Placeholder 4">
            <a:extLst>
              <a:ext uri="{FF2B5EF4-FFF2-40B4-BE49-F238E27FC236}">
                <a16:creationId xmlns:a16="http://schemas.microsoft.com/office/drawing/2014/main" id="{66FFCC06-23AF-63BD-C570-7D17CA07D430}"/>
              </a:ext>
            </a:extLst>
          </p:cNvPr>
          <p:cNvSpPr>
            <a:spLocks noGrp="1" noChangeAspect="1"/>
          </p:cNvSpPr>
          <p:nvPr>
            <p:ph type="pic" sz="quarter" idx="15" hasCustomPrompt="1"/>
          </p:nvPr>
        </p:nvSpPr>
        <p:spPr>
          <a:xfrm>
            <a:off x="2980178" y="2629388"/>
            <a:ext cx="1180800" cy="1180800"/>
          </a:xfrm>
          <a:prstGeom prst="rect">
            <a:avLst/>
          </a:prstGeom>
          <a:solidFill>
            <a:schemeClr val="bg1">
              <a:lumMod val="95000"/>
            </a:schemeClr>
          </a:solidFill>
        </p:spPr>
        <p:txBody>
          <a:bodyPr vert="horz" lIns="91440" tIns="0" rIns="0" bIns="0" rtlCol="0" anchor="ctr">
            <a:noAutofit/>
          </a:bodyPr>
          <a:lstStyle>
            <a:lvl1pPr marL="0" indent="0" algn="ctr" rtl="0">
              <a:buNone/>
              <a:defRPr lang="en-US" sz="1400" b="0" i="0" dirty="0">
                <a:latin typeface="Graphik" panose="020B0503030202060203" pitchFamily="34" charset="77"/>
              </a:defRPr>
            </a:lvl1pPr>
          </a:lstStyle>
          <a:p>
            <a:pPr lvl="0"/>
            <a:r>
              <a:rPr lang="pt-BR"/>
              <a:t>Add profile photo</a:t>
            </a:r>
            <a:endParaRPr lang="pt-BR" dirty="0"/>
          </a:p>
        </p:txBody>
      </p:sp>
      <p:sp>
        <p:nvSpPr>
          <p:cNvPr id="6" name="Picture Placeholder 6">
            <a:extLst>
              <a:ext uri="{FF2B5EF4-FFF2-40B4-BE49-F238E27FC236}">
                <a16:creationId xmlns:a16="http://schemas.microsoft.com/office/drawing/2014/main" id="{12A42FC0-DC57-2DAF-9A2D-A7CC2A4D2438}"/>
              </a:ext>
            </a:extLst>
          </p:cNvPr>
          <p:cNvSpPr>
            <a:spLocks noGrp="1" noChangeAspect="1"/>
          </p:cNvSpPr>
          <p:nvPr>
            <p:ph type="pic" sz="quarter" idx="16" hasCustomPrompt="1"/>
          </p:nvPr>
        </p:nvSpPr>
        <p:spPr>
          <a:xfrm>
            <a:off x="4540034" y="2629388"/>
            <a:ext cx="1180800" cy="1180800"/>
          </a:xfrm>
          <a:prstGeom prst="rect">
            <a:avLst/>
          </a:prstGeom>
          <a:solidFill>
            <a:schemeClr val="bg1">
              <a:lumMod val="95000"/>
            </a:schemeClr>
          </a:solidFill>
        </p:spPr>
        <p:txBody>
          <a:bodyPr vert="horz" lIns="91440" tIns="0" rIns="0" bIns="0" rtlCol="0" anchor="ctr">
            <a:noAutofit/>
          </a:bodyPr>
          <a:lstStyle>
            <a:lvl1pPr marL="0" indent="0" algn="ctr" rtl="0">
              <a:buNone/>
              <a:defRPr lang="en-US" sz="1400" b="0" i="0" dirty="0">
                <a:latin typeface="Graphik" panose="020B0503030202060203" pitchFamily="34" charset="77"/>
              </a:defRPr>
            </a:lvl1pPr>
          </a:lstStyle>
          <a:p>
            <a:pPr lvl="0"/>
            <a:r>
              <a:rPr lang="pt-BR"/>
              <a:t>Add profile photo</a:t>
            </a:r>
            <a:endParaRPr lang="pt-BR" dirty="0"/>
          </a:p>
        </p:txBody>
      </p:sp>
      <p:sp>
        <p:nvSpPr>
          <p:cNvPr id="7" name="Picture Placeholder 8">
            <a:extLst>
              <a:ext uri="{FF2B5EF4-FFF2-40B4-BE49-F238E27FC236}">
                <a16:creationId xmlns:a16="http://schemas.microsoft.com/office/drawing/2014/main" id="{75D1459B-043F-093D-F414-47A4829412AC}"/>
              </a:ext>
            </a:extLst>
          </p:cNvPr>
          <p:cNvSpPr>
            <a:spLocks noGrp="1" noChangeAspect="1"/>
          </p:cNvSpPr>
          <p:nvPr>
            <p:ph type="pic" sz="quarter" idx="17" hasCustomPrompt="1"/>
          </p:nvPr>
        </p:nvSpPr>
        <p:spPr>
          <a:xfrm>
            <a:off x="6099890" y="2629388"/>
            <a:ext cx="1180800" cy="1180800"/>
          </a:xfrm>
          <a:prstGeom prst="rect">
            <a:avLst/>
          </a:prstGeom>
          <a:solidFill>
            <a:schemeClr val="bg1">
              <a:lumMod val="95000"/>
            </a:schemeClr>
          </a:solidFill>
        </p:spPr>
        <p:txBody>
          <a:bodyPr vert="horz" lIns="91440" tIns="0" rIns="0" bIns="0" rtlCol="0" anchor="ctr">
            <a:noAutofit/>
          </a:bodyPr>
          <a:lstStyle>
            <a:lvl1pPr marL="0" indent="0" algn="ctr" rtl="0">
              <a:buNone/>
              <a:defRPr lang="en-US" sz="1400" b="0" i="0" dirty="0">
                <a:latin typeface="Graphik" panose="020B0503030202060203" pitchFamily="34" charset="77"/>
              </a:defRPr>
            </a:lvl1pPr>
          </a:lstStyle>
          <a:p>
            <a:pPr lvl="0"/>
            <a:r>
              <a:rPr lang="pt-BR"/>
              <a:t>Add profile photo</a:t>
            </a:r>
            <a:endParaRPr lang="pt-BR" dirty="0"/>
          </a:p>
        </p:txBody>
      </p:sp>
      <p:sp>
        <p:nvSpPr>
          <p:cNvPr id="8" name="Picture Placeholder 10">
            <a:extLst>
              <a:ext uri="{FF2B5EF4-FFF2-40B4-BE49-F238E27FC236}">
                <a16:creationId xmlns:a16="http://schemas.microsoft.com/office/drawing/2014/main" id="{F83C65DB-7D3F-C47F-0688-6ED36B4BC359}"/>
              </a:ext>
            </a:extLst>
          </p:cNvPr>
          <p:cNvSpPr>
            <a:spLocks noGrp="1" noChangeAspect="1"/>
          </p:cNvSpPr>
          <p:nvPr>
            <p:ph type="pic" sz="quarter" idx="24" hasCustomPrompt="1"/>
          </p:nvPr>
        </p:nvSpPr>
        <p:spPr>
          <a:xfrm>
            <a:off x="7659746" y="2629388"/>
            <a:ext cx="1180800" cy="1180800"/>
          </a:xfrm>
          <a:prstGeom prst="rect">
            <a:avLst/>
          </a:prstGeom>
          <a:solidFill>
            <a:schemeClr val="bg1">
              <a:lumMod val="95000"/>
            </a:schemeClr>
          </a:solidFill>
        </p:spPr>
        <p:txBody>
          <a:bodyPr vert="horz" lIns="91440" tIns="0" rIns="0" bIns="0" rtlCol="0" anchor="ctr">
            <a:noAutofit/>
          </a:bodyPr>
          <a:lstStyle>
            <a:lvl1pPr marL="0" indent="0" algn="ctr" rtl="0">
              <a:buNone/>
              <a:defRPr lang="en-US" sz="1400" b="0" i="0" dirty="0">
                <a:latin typeface="Graphik" panose="020B0503030202060203" pitchFamily="34" charset="77"/>
              </a:defRPr>
            </a:lvl1pPr>
          </a:lstStyle>
          <a:p>
            <a:pPr lvl="0"/>
            <a:r>
              <a:rPr lang="pt-BR"/>
              <a:t>Add profile photo</a:t>
            </a:r>
            <a:endParaRPr lang="pt-BR" dirty="0"/>
          </a:p>
        </p:txBody>
      </p:sp>
      <p:sp>
        <p:nvSpPr>
          <p:cNvPr id="9" name="Picture Placeholder 12">
            <a:extLst>
              <a:ext uri="{FF2B5EF4-FFF2-40B4-BE49-F238E27FC236}">
                <a16:creationId xmlns:a16="http://schemas.microsoft.com/office/drawing/2014/main" id="{4C9ABC01-5EC3-7241-7C4A-88F421331E70}"/>
              </a:ext>
            </a:extLst>
          </p:cNvPr>
          <p:cNvSpPr>
            <a:spLocks noGrp="1" noChangeAspect="1"/>
          </p:cNvSpPr>
          <p:nvPr>
            <p:ph type="pic" sz="quarter" idx="18" hasCustomPrompt="1"/>
          </p:nvPr>
        </p:nvSpPr>
        <p:spPr>
          <a:xfrm>
            <a:off x="9219600" y="2629388"/>
            <a:ext cx="1180800" cy="1180800"/>
          </a:xfrm>
          <a:prstGeom prst="rect">
            <a:avLst/>
          </a:prstGeom>
          <a:solidFill>
            <a:schemeClr val="bg1">
              <a:lumMod val="95000"/>
            </a:schemeClr>
          </a:solidFill>
        </p:spPr>
        <p:txBody>
          <a:bodyPr vert="horz" lIns="91440" tIns="0" rIns="0" bIns="0" rtlCol="0" anchor="ctr">
            <a:noAutofit/>
          </a:bodyPr>
          <a:lstStyle>
            <a:lvl1pPr marL="0" indent="0" algn="ctr" rtl="0">
              <a:buNone/>
              <a:defRPr lang="en-US" sz="1400" b="0" i="0" dirty="0">
                <a:latin typeface="Graphik" panose="020B0503030202060203" pitchFamily="34" charset="77"/>
              </a:defRPr>
            </a:lvl1pPr>
          </a:lstStyle>
          <a:p>
            <a:pPr lvl="0"/>
            <a:r>
              <a:rPr lang="pt-BR"/>
              <a:t>Add profile photo</a:t>
            </a:r>
            <a:endParaRPr lang="pt-BR" dirty="0"/>
          </a:p>
        </p:txBody>
      </p:sp>
      <p:sp>
        <p:nvSpPr>
          <p:cNvPr id="28" name="Text Placeholder 3">
            <a:extLst>
              <a:ext uri="{FF2B5EF4-FFF2-40B4-BE49-F238E27FC236}">
                <a16:creationId xmlns:a16="http://schemas.microsoft.com/office/drawing/2014/main" id="{44690F9A-3FD8-58C2-C4B6-728AA0AC2DB6}"/>
              </a:ext>
            </a:extLst>
          </p:cNvPr>
          <p:cNvSpPr>
            <a:spLocks noGrp="1"/>
          </p:cNvSpPr>
          <p:nvPr>
            <p:ph type="body" sz="quarter" idx="38" hasCustomPrompt="1"/>
          </p:nvPr>
        </p:nvSpPr>
        <p:spPr>
          <a:xfrm>
            <a:off x="1420322" y="4101793"/>
            <a:ext cx="1296000" cy="1439375"/>
          </a:xfrm>
          <a:prstGeom prst="rect">
            <a:avLst/>
          </a:prstGeom>
        </p:spPr>
        <p:txBody>
          <a:bodyPr/>
          <a:lstStyle>
            <a:lvl1pPr marL="0" indent="0" rtl="0">
              <a:lnSpc>
                <a:spcPct val="80000"/>
              </a:lnSpc>
              <a:spcAft>
                <a:spcPts val="0"/>
              </a:spcAft>
              <a:buFont typeface="Graphik" panose="020B0604020202020204" pitchFamily="34" charset="0"/>
              <a:buNone/>
              <a:defRPr lang="en-US" sz="1000" b="1" i="0" kern="1200" dirty="0">
                <a:solidFill>
                  <a:schemeClr val="bg2"/>
                </a:solidFill>
                <a:latin typeface="Graphik Semibold" panose="020B0503030202060203" pitchFamily="34" charset="77"/>
                <a:ea typeface="+mn-ea"/>
                <a:cs typeface="+mn-cs"/>
              </a:defRPr>
            </a:lvl1pPr>
            <a:lvl2pPr marL="0" indent="0" rtl="0">
              <a:spcAft>
                <a:spcPts val="800"/>
              </a:spcAft>
              <a:buNone/>
              <a:defRPr sz="1000" b="1" i="0">
                <a:solidFill>
                  <a:schemeClr val="bg2"/>
                </a:solidFill>
                <a:latin typeface="Graphik Semibold" panose="020B0503030202060203" pitchFamily="34" charset="77"/>
              </a:defRPr>
            </a:lvl2pPr>
            <a:lvl3pPr marL="0" indent="0" rtl="0">
              <a:spcAft>
                <a:spcPts val="267"/>
              </a:spcAft>
              <a:buNone/>
              <a:defRPr sz="1000" b="0" i="0">
                <a:latin typeface="Graphik" panose="020B0503030202060203" pitchFamily="34" charset="77"/>
              </a:defRPr>
            </a:lvl3pPr>
            <a:lvl4pPr marL="182875" indent="-182875" rtl="0">
              <a:spcAft>
                <a:spcPts val="267"/>
              </a:spcAft>
              <a:buFont typeface="Graphik" panose="020B0604020202020204" pitchFamily="34" charset="0"/>
              <a:buChar char="•"/>
              <a:defRPr sz="1000" b="0" i="0">
                <a:latin typeface="Graphik" panose="020B0503030202060203" pitchFamily="34" charset="77"/>
              </a:defRPr>
            </a:lvl4pPr>
            <a:lvl5pPr>
              <a:spcAft>
                <a:spcPts val="600"/>
              </a:spcAft>
              <a:defRPr sz="1600"/>
            </a:lvl5pPr>
          </a:lstStyle>
          <a:p>
            <a:pPr lvl="0"/>
            <a:r>
              <a:rPr lang="pt-BR"/>
              <a:t>First name</a:t>
            </a:r>
          </a:p>
          <a:p>
            <a:pPr lvl="1"/>
            <a:r>
              <a:rPr lang="pt-BR"/>
              <a:t>Surname or Role</a:t>
            </a:r>
          </a:p>
          <a:p>
            <a:pPr lvl="2"/>
            <a:r>
              <a:rPr lang="pt-BR"/>
              <a:t>Short bio</a:t>
            </a:r>
          </a:p>
          <a:p>
            <a:pPr lvl="3"/>
            <a:r>
              <a:rPr lang="pt-BR"/>
              <a:t>Bullet point</a:t>
            </a:r>
            <a:endParaRPr lang="pt-BR" dirty="0"/>
          </a:p>
        </p:txBody>
      </p:sp>
      <p:sp>
        <p:nvSpPr>
          <p:cNvPr id="30" name="Text Placeholder 4">
            <a:extLst>
              <a:ext uri="{FF2B5EF4-FFF2-40B4-BE49-F238E27FC236}">
                <a16:creationId xmlns:a16="http://schemas.microsoft.com/office/drawing/2014/main" id="{8B4CF385-9FC6-70A9-2E90-C43EAE77F58C}"/>
              </a:ext>
            </a:extLst>
          </p:cNvPr>
          <p:cNvSpPr>
            <a:spLocks noGrp="1"/>
          </p:cNvSpPr>
          <p:nvPr>
            <p:ph type="body" sz="quarter" idx="39" hasCustomPrompt="1"/>
          </p:nvPr>
        </p:nvSpPr>
        <p:spPr>
          <a:xfrm>
            <a:off x="2980178" y="4101793"/>
            <a:ext cx="1296000" cy="1439375"/>
          </a:xfrm>
          <a:prstGeom prst="rect">
            <a:avLst/>
          </a:prstGeom>
        </p:spPr>
        <p:txBody>
          <a:bodyPr/>
          <a:lstStyle>
            <a:lvl1pPr marL="0" indent="0" rtl="0">
              <a:lnSpc>
                <a:spcPct val="80000"/>
              </a:lnSpc>
              <a:spcAft>
                <a:spcPts val="0"/>
              </a:spcAft>
              <a:buFont typeface="Graphik" panose="020B0604020202020204" pitchFamily="34" charset="0"/>
              <a:buNone/>
              <a:defRPr lang="en-US" sz="1000" b="1" i="0" kern="1200" dirty="0">
                <a:solidFill>
                  <a:schemeClr val="bg2"/>
                </a:solidFill>
                <a:latin typeface="Graphik Semibold" panose="020B0503030202060203" pitchFamily="34" charset="77"/>
                <a:ea typeface="+mn-ea"/>
                <a:cs typeface="+mn-cs"/>
              </a:defRPr>
            </a:lvl1pPr>
            <a:lvl2pPr marL="0" indent="0" rtl="0">
              <a:spcAft>
                <a:spcPts val="800"/>
              </a:spcAft>
              <a:buNone/>
              <a:defRPr lang="en-US" sz="1000" b="1" i="0" kern="1200">
                <a:solidFill>
                  <a:schemeClr val="bg2"/>
                </a:solidFill>
                <a:latin typeface="Graphik Semibold" panose="020B0503030202060203" pitchFamily="34" charset="77"/>
                <a:ea typeface="+mn-ea"/>
                <a:cs typeface="+mn-cs"/>
              </a:defRPr>
            </a:lvl2pPr>
            <a:lvl3pPr marL="0" indent="0" rtl="0">
              <a:spcAft>
                <a:spcPts val="267"/>
              </a:spcAft>
              <a:buNone/>
              <a:defRPr sz="1000" b="0" i="0">
                <a:latin typeface="Graphik" panose="020B0503030202060203" pitchFamily="34" charset="77"/>
              </a:defRPr>
            </a:lvl3pPr>
            <a:lvl4pPr marL="182875" indent="-182875" rtl="0">
              <a:spcAft>
                <a:spcPts val="267"/>
              </a:spcAft>
              <a:buFont typeface="Graphik" panose="020B0604020202020204" pitchFamily="34" charset="0"/>
              <a:buChar char="•"/>
              <a:defRPr sz="1000" b="0" i="0">
                <a:latin typeface="Graphik" panose="020B0503030202060203" pitchFamily="34" charset="77"/>
              </a:defRPr>
            </a:lvl4pPr>
            <a:lvl5pPr>
              <a:spcAft>
                <a:spcPts val="600"/>
              </a:spcAft>
              <a:defRPr sz="1600"/>
            </a:lvl5pPr>
          </a:lstStyle>
          <a:p>
            <a:pPr marL="0" lvl="0" indent="0" algn="l" defTabSz="228594" rtl="0" eaLnBrk="1" latinLnBrk="0" hangingPunct="1">
              <a:lnSpc>
                <a:spcPct val="80000"/>
              </a:lnSpc>
              <a:spcBef>
                <a:spcPts val="0"/>
              </a:spcBef>
              <a:spcAft>
                <a:spcPts val="0"/>
              </a:spcAft>
              <a:buFont typeface="Graphik" panose="020B0604020202020204" pitchFamily="34" charset="0"/>
              <a:buNone/>
            </a:pPr>
            <a:r>
              <a:rPr lang="pt-BR"/>
              <a:t>First name</a:t>
            </a:r>
          </a:p>
          <a:p>
            <a:pPr marL="0" lvl="1" indent="0" algn="l" defTabSz="228594" rtl="0" eaLnBrk="1" latinLnBrk="0" hangingPunct="1">
              <a:lnSpc>
                <a:spcPct val="100000"/>
              </a:lnSpc>
              <a:spcBef>
                <a:spcPts val="0"/>
              </a:spcBef>
              <a:spcAft>
                <a:spcPts val="800"/>
              </a:spcAft>
              <a:buClrTx/>
              <a:buFont typeface="Arial" panose="020B0604020202020204" pitchFamily="34" charset="0"/>
              <a:buNone/>
            </a:pPr>
            <a:r>
              <a:rPr lang="pt-BR"/>
              <a:t>Surname or Role</a:t>
            </a:r>
          </a:p>
          <a:p>
            <a:pPr lvl="2"/>
            <a:r>
              <a:rPr lang="pt-BR"/>
              <a:t>Short bio</a:t>
            </a:r>
          </a:p>
          <a:p>
            <a:pPr lvl="3"/>
            <a:r>
              <a:rPr lang="pt-BR"/>
              <a:t>Bullet point</a:t>
            </a:r>
            <a:endParaRPr lang="pt-BR" dirty="0"/>
          </a:p>
        </p:txBody>
      </p:sp>
      <p:sp>
        <p:nvSpPr>
          <p:cNvPr id="32" name="Text Placeholder 5">
            <a:extLst>
              <a:ext uri="{FF2B5EF4-FFF2-40B4-BE49-F238E27FC236}">
                <a16:creationId xmlns:a16="http://schemas.microsoft.com/office/drawing/2014/main" id="{A8CE1B5A-4E28-77C8-EB90-DDA864C98EE4}"/>
              </a:ext>
            </a:extLst>
          </p:cNvPr>
          <p:cNvSpPr>
            <a:spLocks noGrp="1"/>
          </p:cNvSpPr>
          <p:nvPr>
            <p:ph type="body" sz="quarter" idx="40" hasCustomPrompt="1"/>
          </p:nvPr>
        </p:nvSpPr>
        <p:spPr>
          <a:xfrm>
            <a:off x="4540034" y="4101793"/>
            <a:ext cx="1296000" cy="1439375"/>
          </a:xfrm>
          <a:prstGeom prst="rect">
            <a:avLst/>
          </a:prstGeom>
        </p:spPr>
        <p:txBody>
          <a:bodyPr/>
          <a:lstStyle>
            <a:lvl1pPr marL="0" indent="0" rtl="0">
              <a:lnSpc>
                <a:spcPct val="80000"/>
              </a:lnSpc>
              <a:spcAft>
                <a:spcPts val="0"/>
              </a:spcAft>
              <a:buFont typeface="Graphik" panose="020B0604020202020204" pitchFamily="34" charset="0"/>
              <a:buNone/>
              <a:defRPr lang="en-US" sz="1000" b="1" i="0" kern="1200" dirty="0">
                <a:solidFill>
                  <a:schemeClr val="bg2"/>
                </a:solidFill>
                <a:latin typeface="Graphik Semibold" panose="020B0503030202060203" pitchFamily="34" charset="77"/>
                <a:ea typeface="+mn-ea"/>
                <a:cs typeface="+mn-cs"/>
              </a:defRPr>
            </a:lvl1pPr>
            <a:lvl2pPr marL="0" indent="0" rtl="0">
              <a:spcAft>
                <a:spcPts val="800"/>
              </a:spcAft>
              <a:buNone/>
              <a:defRPr lang="en-US" sz="1000" b="1" i="0" kern="1200">
                <a:solidFill>
                  <a:schemeClr val="bg2"/>
                </a:solidFill>
                <a:latin typeface="Graphik Semibold" panose="020B0503030202060203" pitchFamily="34" charset="77"/>
                <a:ea typeface="+mn-ea"/>
                <a:cs typeface="+mn-cs"/>
              </a:defRPr>
            </a:lvl2pPr>
            <a:lvl3pPr marL="0" indent="0" rtl="0">
              <a:spcAft>
                <a:spcPts val="267"/>
              </a:spcAft>
              <a:buNone/>
              <a:defRPr sz="1000" b="0" i="0">
                <a:latin typeface="Graphik" panose="020B0503030202060203" pitchFamily="34" charset="77"/>
              </a:defRPr>
            </a:lvl3pPr>
            <a:lvl4pPr marL="182875" indent="-182875" rtl="0">
              <a:spcAft>
                <a:spcPts val="267"/>
              </a:spcAft>
              <a:buFont typeface="Graphik" panose="020B0604020202020204" pitchFamily="34" charset="0"/>
              <a:buChar char="•"/>
              <a:defRPr sz="1000" b="0" i="0">
                <a:latin typeface="Graphik" panose="020B0503030202060203" pitchFamily="34" charset="77"/>
              </a:defRPr>
            </a:lvl4pPr>
            <a:lvl5pPr>
              <a:spcAft>
                <a:spcPts val="600"/>
              </a:spcAft>
              <a:defRPr sz="1600"/>
            </a:lvl5pPr>
          </a:lstStyle>
          <a:p>
            <a:pPr marL="0" lvl="0" indent="0" algn="l" defTabSz="228594" rtl="0" eaLnBrk="1" latinLnBrk="0" hangingPunct="1">
              <a:lnSpc>
                <a:spcPct val="80000"/>
              </a:lnSpc>
              <a:spcBef>
                <a:spcPts val="0"/>
              </a:spcBef>
              <a:spcAft>
                <a:spcPts val="0"/>
              </a:spcAft>
              <a:buFont typeface="Graphik" panose="020B0604020202020204" pitchFamily="34" charset="0"/>
              <a:buNone/>
            </a:pPr>
            <a:r>
              <a:rPr lang="pt-BR"/>
              <a:t>First name</a:t>
            </a:r>
          </a:p>
          <a:p>
            <a:pPr marL="0" lvl="1" indent="0" algn="l" defTabSz="228594" rtl="0" eaLnBrk="1" latinLnBrk="0" hangingPunct="1">
              <a:lnSpc>
                <a:spcPct val="100000"/>
              </a:lnSpc>
              <a:spcBef>
                <a:spcPts val="0"/>
              </a:spcBef>
              <a:spcAft>
                <a:spcPts val="800"/>
              </a:spcAft>
              <a:buClrTx/>
              <a:buFont typeface="Arial" panose="020B0604020202020204" pitchFamily="34" charset="0"/>
              <a:buNone/>
            </a:pPr>
            <a:r>
              <a:rPr lang="pt-BR"/>
              <a:t>Surname or Role</a:t>
            </a:r>
          </a:p>
          <a:p>
            <a:pPr lvl="2"/>
            <a:r>
              <a:rPr lang="pt-BR"/>
              <a:t>Short bio</a:t>
            </a:r>
          </a:p>
          <a:p>
            <a:pPr lvl="3"/>
            <a:r>
              <a:rPr lang="pt-BR"/>
              <a:t>Bullet point</a:t>
            </a:r>
            <a:endParaRPr lang="pt-BR" dirty="0"/>
          </a:p>
        </p:txBody>
      </p:sp>
      <p:sp>
        <p:nvSpPr>
          <p:cNvPr id="33" name="Text Placeholder 6">
            <a:extLst>
              <a:ext uri="{FF2B5EF4-FFF2-40B4-BE49-F238E27FC236}">
                <a16:creationId xmlns:a16="http://schemas.microsoft.com/office/drawing/2014/main" id="{D17BC01F-7509-B7D1-2FF2-419E3035A67D}"/>
              </a:ext>
            </a:extLst>
          </p:cNvPr>
          <p:cNvSpPr>
            <a:spLocks noGrp="1"/>
          </p:cNvSpPr>
          <p:nvPr>
            <p:ph type="body" sz="quarter" idx="41" hasCustomPrompt="1"/>
          </p:nvPr>
        </p:nvSpPr>
        <p:spPr>
          <a:xfrm>
            <a:off x="6099890" y="4101793"/>
            <a:ext cx="1296000" cy="1439375"/>
          </a:xfrm>
          <a:prstGeom prst="rect">
            <a:avLst/>
          </a:prstGeom>
        </p:spPr>
        <p:txBody>
          <a:bodyPr/>
          <a:lstStyle>
            <a:lvl1pPr marL="0" indent="0" rtl="0">
              <a:lnSpc>
                <a:spcPct val="80000"/>
              </a:lnSpc>
              <a:spcAft>
                <a:spcPts val="0"/>
              </a:spcAft>
              <a:buFont typeface="Graphik" panose="020B0604020202020204" pitchFamily="34" charset="0"/>
              <a:buNone/>
              <a:defRPr lang="en-US" sz="1000" b="1" i="0" kern="1200" dirty="0">
                <a:solidFill>
                  <a:schemeClr val="bg2"/>
                </a:solidFill>
                <a:latin typeface="Graphik Semibold" panose="020B0503030202060203" pitchFamily="34" charset="77"/>
                <a:ea typeface="+mn-ea"/>
                <a:cs typeface="+mn-cs"/>
              </a:defRPr>
            </a:lvl1pPr>
            <a:lvl2pPr marL="0" indent="0" rtl="0">
              <a:spcAft>
                <a:spcPts val="800"/>
              </a:spcAft>
              <a:buNone/>
              <a:defRPr lang="en-US" sz="1000" b="1" i="0" kern="1200">
                <a:solidFill>
                  <a:schemeClr val="bg2"/>
                </a:solidFill>
                <a:latin typeface="Graphik Semibold" panose="020B0503030202060203" pitchFamily="34" charset="77"/>
                <a:ea typeface="+mn-ea"/>
                <a:cs typeface="+mn-cs"/>
              </a:defRPr>
            </a:lvl2pPr>
            <a:lvl3pPr marL="0" indent="0" rtl="0">
              <a:spcAft>
                <a:spcPts val="267"/>
              </a:spcAft>
              <a:buNone/>
              <a:defRPr sz="1000" b="0" i="0">
                <a:latin typeface="Graphik" panose="020B0503030202060203" pitchFamily="34" charset="77"/>
              </a:defRPr>
            </a:lvl3pPr>
            <a:lvl4pPr marL="182875" indent="-182875" rtl="0">
              <a:spcAft>
                <a:spcPts val="267"/>
              </a:spcAft>
              <a:buFont typeface="Graphik" panose="020B0604020202020204" pitchFamily="34" charset="0"/>
              <a:buChar char="•"/>
              <a:defRPr sz="1000" b="0" i="0">
                <a:latin typeface="Graphik" panose="020B0503030202060203" pitchFamily="34" charset="77"/>
              </a:defRPr>
            </a:lvl4pPr>
            <a:lvl5pPr>
              <a:spcAft>
                <a:spcPts val="600"/>
              </a:spcAft>
              <a:defRPr sz="1600"/>
            </a:lvl5pPr>
          </a:lstStyle>
          <a:p>
            <a:pPr marL="0" lvl="0" indent="0" algn="l" defTabSz="228594" rtl="0" eaLnBrk="1" latinLnBrk="0" hangingPunct="1">
              <a:lnSpc>
                <a:spcPct val="80000"/>
              </a:lnSpc>
              <a:spcBef>
                <a:spcPts val="0"/>
              </a:spcBef>
              <a:spcAft>
                <a:spcPts val="0"/>
              </a:spcAft>
              <a:buFont typeface="Graphik" panose="020B0604020202020204" pitchFamily="34" charset="0"/>
              <a:buNone/>
            </a:pPr>
            <a:r>
              <a:rPr lang="pt-BR"/>
              <a:t>First name</a:t>
            </a:r>
          </a:p>
          <a:p>
            <a:pPr marL="0" lvl="1" indent="0" algn="l" defTabSz="228594" rtl="0" eaLnBrk="1" latinLnBrk="0" hangingPunct="1">
              <a:lnSpc>
                <a:spcPct val="100000"/>
              </a:lnSpc>
              <a:spcBef>
                <a:spcPts val="0"/>
              </a:spcBef>
              <a:spcAft>
                <a:spcPts val="800"/>
              </a:spcAft>
              <a:buClrTx/>
              <a:buFont typeface="Arial" panose="020B0604020202020204" pitchFamily="34" charset="0"/>
              <a:buNone/>
            </a:pPr>
            <a:r>
              <a:rPr lang="pt-BR"/>
              <a:t>Surname or Role</a:t>
            </a:r>
          </a:p>
          <a:p>
            <a:pPr lvl="2"/>
            <a:r>
              <a:rPr lang="pt-BR"/>
              <a:t>Short bio</a:t>
            </a:r>
          </a:p>
          <a:p>
            <a:pPr lvl="3"/>
            <a:r>
              <a:rPr lang="pt-BR"/>
              <a:t>Bullet point</a:t>
            </a:r>
            <a:endParaRPr lang="pt-BR" dirty="0"/>
          </a:p>
        </p:txBody>
      </p:sp>
      <p:sp>
        <p:nvSpPr>
          <p:cNvPr id="34" name="Text Placeholder 7">
            <a:extLst>
              <a:ext uri="{FF2B5EF4-FFF2-40B4-BE49-F238E27FC236}">
                <a16:creationId xmlns:a16="http://schemas.microsoft.com/office/drawing/2014/main" id="{B5E87864-3492-16F6-7D53-F48ECFF71B6B}"/>
              </a:ext>
            </a:extLst>
          </p:cNvPr>
          <p:cNvSpPr>
            <a:spLocks noGrp="1"/>
          </p:cNvSpPr>
          <p:nvPr>
            <p:ph type="body" sz="quarter" idx="42" hasCustomPrompt="1"/>
          </p:nvPr>
        </p:nvSpPr>
        <p:spPr>
          <a:xfrm>
            <a:off x="7659746" y="4101793"/>
            <a:ext cx="1296000" cy="1439375"/>
          </a:xfrm>
          <a:prstGeom prst="rect">
            <a:avLst/>
          </a:prstGeom>
        </p:spPr>
        <p:txBody>
          <a:bodyPr/>
          <a:lstStyle>
            <a:lvl1pPr marL="0" indent="0" rtl="0">
              <a:lnSpc>
                <a:spcPct val="80000"/>
              </a:lnSpc>
              <a:spcAft>
                <a:spcPts val="0"/>
              </a:spcAft>
              <a:buFont typeface="Graphik" panose="020B0604020202020204" pitchFamily="34" charset="0"/>
              <a:buNone/>
              <a:defRPr lang="en-US" sz="1000" b="1" i="0" kern="1200" dirty="0">
                <a:solidFill>
                  <a:schemeClr val="bg2"/>
                </a:solidFill>
                <a:latin typeface="Graphik Semibold" panose="020B0503030202060203" pitchFamily="34" charset="77"/>
                <a:ea typeface="+mn-ea"/>
                <a:cs typeface="+mn-cs"/>
              </a:defRPr>
            </a:lvl1pPr>
            <a:lvl2pPr marL="0" indent="0" rtl="0">
              <a:spcAft>
                <a:spcPts val="800"/>
              </a:spcAft>
              <a:buNone/>
              <a:defRPr lang="en-US" sz="1000" b="1" i="0" kern="1200">
                <a:solidFill>
                  <a:schemeClr val="bg2"/>
                </a:solidFill>
                <a:latin typeface="Graphik Semibold" panose="020B0503030202060203" pitchFamily="34" charset="77"/>
                <a:ea typeface="+mn-ea"/>
                <a:cs typeface="+mn-cs"/>
              </a:defRPr>
            </a:lvl2pPr>
            <a:lvl3pPr marL="0" indent="0" rtl="0">
              <a:spcAft>
                <a:spcPts val="267"/>
              </a:spcAft>
              <a:buNone/>
              <a:defRPr sz="1000" b="0" i="0">
                <a:latin typeface="Graphik" panose="020B0503030202060203" pitchFamily="34" charset="77"/>
              </a:defRPr>
            </a:lvl3pPr>
            <a:lvl4pPr marL="182875" indent="-182875" rtl="0">
              <a:spcAft>
                <a:spcPts val="267"/>
              </a:spcAft>
              <a:buFont typeface="Graphik" panose="020B0604020202020204" pitchFamily="34" charset="0"/>
              <a:buChar char="•"/>
              <a:defRPr sz="1000" b="0" i="0">
                <a:latin typeface="Graphik" panose="020B0503030202060203" pitchFamily="34" charset="77"/>
              </a:defRPr>
            </a:lvl4pPr>
            <a:lvl5pPr>
              <a:spcAft>
                <a:spcPts val="600"/>
              </a:spcAft>
              <a:defRPr sz="1600"/>
            </a:lvl5pPr>
          </a:lstStyle>
          <a:p>
            <a:pPr marL="0" lvl="0" indent="0" algn="l" defTabSz="228594" rtl="0" eaLnBrk="1" latinLnBrk="0" hangingPunct="1">
              <a:lnSpc>
                <a:spcPct val="80000"/>
              </a:lnSpc>
              <a:spcBef>
                <a:spcPts val="0"/>
              </a:spcBef>
              <a:spcAft>
                <a:spcPts val="0"/>
              </a:spcAft>
              <a:buFont typeface="Graphik" panose="020B0604020202020204" pitchFamily="34" charset="0"/>
              <a:buNone/>
            </a:pPr>
            <a:r>
              <a:rPr lang="pt-BR"/>
              <a:t>First name</a:t>
            </a:r>
          </a:p>
          <a:p>
            <a:pPr marL="0" lvl="1" indent="0" algn="l" defTabSz="228594" rtl="0" eaLnBrk="1" latinLnBrk="0" hangingPunct="1">
              <a:lnSpc>
                <a:spcPct val="100000"/>
              </a:lnSpc>
              <a:spcBef>
                <a:spcPts val="0"/>
              </a:spcBef>
              <a:spcAft>
                <a:spcPts val="800"/>
              </a:spcAft>
              <a:buClrTx/>
              <a:buFont typeface="Arial" panose="020B0604020202020204" pitchFamily="34" charset="0"/>
              <a:buNone/>
            </a:pPr>
            <a:r>
              <a:rPr lang="pt-BR"/>
              <a:t>Surname or Role</a:t>
            </a:r>
          </a:p>
          <a:p>
            <a:pPr lvl="2"/>
            <a:r>
              <a:rPr lang="pt-BR"/>
              <a:t>Short bio</a:t>
            </a:r>
          </a:p>
          <a:p>
            <a:pPr lvl="3"/>
            <a:r>
              <a:rPr lang="pt-BR"/>
              <a:t>Bullet point</a:t>
            </a:r>
            <a:endParaRPr lang="pt-BR" dirty="0"/>
          </a:p>
        </p:txBody>
      </p:sp>
      <p:sp>
        <p:nvSpPr>
          <p:cNvPr id="35" name="Text Placeholder 8">
            <a:extLst>
              <a:ext uri="{FF2B5EF4-FFF2-40B4-BE49-F238E27FC236}">
                <a16:creationId xmlns:a16="http://schemas.microsoft.com/office/drawing/2014/main" id="{0882B210-0FE9-9013-3A4F-EBDFFF0F91F2}"/>
              </a:ext>
            </a:extLst>
          </p:cNvPr>
          <p:cNvSpPr>
            <a:spLocks noGrp="1"/>
          </p:cNvSpPr>
          <p:nvPr>
            <p:ph type="body" sz="quarter" idx="43" hasCustomPrompt="1"/>
          </p:nvPr>
        </p:nvSpPr>
        <p:spPr>
          <a:xfrm>
            <a:off x="9219600" y="4101793"/>
            <a:ext cx="1296000" cy="1439375"/>
          </a:xfrm>
          <a:prstGeom prst="rect">
            <a:avLst/>
          </a:prstGeom>
        </p:spPr>
        <p:txBody>
          <a:bodyPr/>
          <a:lstStyle>
            <a:lvl1pPr marL="0" indent="0" rtl="0">
              <a:lnSpc>
                <a:spcPct val="80000"/>
              </a:lnSpc>
              <a:spcAft>
                <a:spcPts val="0"/>
              </a:spcAft>
              <a:buFont typeface="Graphik" panose="020B0604020202020204" pitchFamily="34" charset="0"/>
              <a:buNone/>
              <a:defRPr lang="en-US" sz="1000" b="1" i="0" kern="1200" dirty="0">
                <a:solidFill>
                  <a:schemeClr val="bg2"/>
                </a:solidFill>
                <a:latin typeface="Graphik Semibold" panose="020B0503030202060203" pitchFamily="34" charset="77"/>
                <a:ea typeface="+mn-ea"/>
                <a:cs typeface="+mn-cs"/>
              </a:defRPr>
            </a:lvl1pPr>
            <a:lvl2pPr marL="0" indent="0" rtl="0">
              <a:spcAft>
                <a:spcPts val="800"/>
              </a:spcAft>
              <a:buNone/>
              <a:defRPr lang="en-US" sz="1000" b="1" i="0" kern="1200">
                <a:solidFill>
                  <a:schemeClr val="bg2"/>
                </a:solidFill>
                <a:latin typeface="Graphik Semibold" panose="020B0503030202060203" pitchFamily="34" charset="77"/>
                <a:ea typeface="+mn-ea"/>
                <a:cs typeface="+mn-cs"/>
              </a:defRPr>
            </a:lvl2pPr>
            <a:lvl3pPr marL="0" indent="0" rtl="0">
              <a:spcAft>
                <a:spcPts val="267"/>
              </a:spcAft>
              <a:buNone/>
              <a:defRPr sz="1000" b="0" i="0">
                <a:latin typeface="Graphik" panose="020B0503030202060203" pitchFamily="34" charset="77"/>
              </a:defRPr>
            </a:lvl3pPr>
            <a:lvl4pPr marL="182875" indent="-182875" rtl="0">
              <a:spcAft>
                <a:spcPts val="267"/>
              </a:spcAft>
              <a:buFont typeface="Graphik" panose="020B0604020202020204" pitchFamily="34" charset="0"/>
              <a:buChar char="•"/>
              <a:defRPr sz="1000" b="0" i="0">
                <a:latin typeface="Graphik" panose="020B0503030202060203" pitchFamily="34" charset="77"/>
              </a:defRPr>
            </a:lvl4pPr>
            <a:lvl5pPr>
              <a:spcAft>
                <a:spcPts val="600"/>
              </a:spcAft>
              <a:defRPr sz="1600"/>
            </a:lvl5pPr>
          </a:lstStyle>
          <a:p>
            <a:pPr marL="0" lvl="0" indent="0" algn="l" defTabSz="228594" rtl="0" eaLnBrk="1" latinLnBrk="0" hangingPunct="1">
              <a:lnSpc>
                <a:spcPct val="80000"/>
              </a:lnSpc>
              <a:spcBef>
                <a:spcPts val="0"/>
              </a:spcBef>
              <a:spcAft>
                <a:spcPts val="0"/>
              </a:spcAft>
              <a:buFont typeface="Graphik" panose="020B0604020202020204" pitchFamily="34" charset="0"/>
              <a:buNone/>
            </a:pPr>
            <a:r>
              <a:rPr lang="pt-BR"/>
              <a:t>First name</a:t>
            </a:r>
          </a:p>
          <a:p>
            <a:pPr marL="0" lvl="1" indent="0" algn="l" defTabSz="228594" rtl="0" eaLnBrk="1" latinLnBrk="0" hangingPunct="1">
              <a:lnSpc>
                <a:spcPct val="100000"/>
              </a:lnSpc>
              <a:spcBef>
                <a:spcPts val="0"/>
              </a:spcBef>
              <a:spcAft>
                <a:spcPts val="800"/>
              </a:spcAft>
              <a:buClrTx/>
              <a:buFont typeface="Arial" panose="020B0604020202020204" pitchFamily="34" charset="0"/>
              <a:buNone/>
            </a:pPr>
            <a:r>
              <a:rPr lang="pt-BR"/>
              <a:t>Surname or Role</a:t>
            </a:r>
          </a:p>
          <a:p>
            <a:pPr lvl="2"/>
            <a:r>
              <a:rPr lang="pt-BR"/>
              <a:t>Short bio</a:t>
            </a:r>
          </a:p>
          <a:p>
            <a:pPr lvl="3"/>
            <a:r>
              <a:rPr lang="pt-BR"/>
              <a:t>Bullet point</a:t>
            </a:r>
            <a:endParaRPr lang="pt-BR" dirty="0"/>
          </a:p>
        </p:txBody>
      </p:sp>
      <p:sp>
        <p:nvSpPr>
          <p:cNvPr id="11" name="Text Placeholder 3">
            <a:extLst>
              <a:ext uri="{FF2B5EF4-FFF2-40B4-BE49-F238E27FC236}">
                <a16:creationId xmlns:a16="http://schemas.microsoft.com/office/drawing/2014/main" id="{B67959CF-959A-6AC4-94D1-25F08AB1C4FC}"/>
              </a:ext>
            </a:extLst>
          </p:cNvPr>
          <p:cNvSpPr>
            <a:spLocks noGrp="1"/>
          </p:cNvSpPr>
          <p:nvPr>
            <p:ph type="body" sz="quarter" idx="26" hasCustomPrompt="1"/>
          </p:nvPr>
        </p:nvSpPr>
        <p:spPr>
          <a:xfrm>
            <a:off x="563411" y="1109663"/>
            <a:ext cx="11084671" cy="384048"/>
          </a:xfrm>
          <a:prstGeom prst="rect">
            <a:avLst/>
          </a:prstGeom>
        </p:spPr>
        <p:txBody>
          <a:bodyPr anchor="t"/>
          <a:lstStyle>
            <a:lvl1pPr marL="0" indent="0" rtl="0">
              <a:spcAft>
                <a:spcPts val="0"/>
              </a:spcAft>
              <a:buNone/>
              <a:defRPr sz="1800" b="0" i="0">
                <a:solidFill>
                  <a:schemeClr val="tx1"/>
                </a:solidFill>
                <a:latin typeface="Graphik" panose="020B0503030202060203" pitchFamily="34" charset="77"/>
              </a:defRPr>
            </a:lvl1pPr>
          </a:lstStyle>
          <a:p>
            <a:pPr lvl="0"/>
            <a:r>
              <a:rPr lang="pt-BR"/>
              <a:t>Place subtitle here in Graphik regular</a:t>
            </a:r>
            <a:endParaRPr lang="pt-BR" dirty="0"/>
          </a:p>
        </p:txBody>
      </p:sp>
      <p:sp>
        <p:nvSpPr>
          <p:cNvPr id="12" name="Title 2">
            <a:extLst>
              <a:ext uri="{FF2B5EF4-FFF2-40B4-BE49-F238E27FC236}">
                <a16:creationId xmlns:a16="http://schemas.microsoft.com/office/drawing/2014/main" id="{BC12817E-BFFB-996F-0414-D71850F8BB8D}"/>
              </a:ext>
            </a:extLst>
          </p:cNvPr>
          <p:cNvSpPr>
            <a:spLocks noGrp="1"/>
          </p:cNvSpPr>
          <p:nvPr>
            <p:ph type="title"/>
          </p:nvPr>
        </p:nvSpPr>
        <p:spPr>
          <a:xfrm>
            <a:off x="556467" y="572600"/>
            <a:ext cx="11084671" cy="393954"/>
          </a:xfrm>
        </p:spPr>
        <p:txBody>
          <a:bodyPr vert="horz"/>
          <a:lstStyle>
            <a:lvl1pPr rtl="0">
              <a:defRPr/>
            </a:lvl1pPr>
          </a:lstStyle>
          <a:p>
            <a:r>
              <a:rPr lang="pt-BR"/>
              <a:t>Click to edit Master title style</a:t>
            </a:r>
            <a:endParaRPr lang="pt-BR" dirty="0"/>
          </a:p>
        </p:txBody>
      </p:sp>
    </p:spTree>
    <p:extLst>
      <p:ext uri="{BB962C8B-B14F-4D97-AF65-F5344CB8AC3E}">
        <p14:creationId xmlns:p14="http://schemas.microsoft.com/office/powerpoint/2010/main" val="3070580610"/>
      </p:ext>
    </p:extLst>
  </p:cSld>
  <p:clrMapOvr>
    <a:masterClrMapping/>
  </p:clrMapOvr>
  <p:extLst>
    <p:ext uri="{DCECCB84-F9BA-43D5-87BE-67443E8EF086}">
      <p15:sldGuideLst xmlns:p15="http://schemas.microsoft.com/office/powerpoint/2012/main">
        <p15:guide id="1" orient="horz" pos="2777" userDrawn="1">
          <p15:clr>
            <a:srgbClr val="C35E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team 2 + purple">
    <p:bg>
      <p:bgPr>
        <a:solidFill>
          <a:schemeClr val="tx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D8ACE96-0D0C-458A-6BAC-48A6257EA58E}"/>
              </a:ext>
            </a:extLst>
          </p:cNvPr>
          <p:cNvGraphicFramePr>
            <a:graphicFrameLocks noChangeAspect="1"/>
          </p:cNvGraphicFramePr>
          <p:nvPr userDrawn="1">
            <p:custDataLst>
              <p:tags r:id="rId1"/>
            </p:custDataLst>
            <p:extLst>
              <p:ext uri="{D42A27DB-BD31-4B8C-83A1-F6EECF244321}">
                <p14:modId xmlns:p14="http://schemas.microsoft.com/office/powerpoint/2010/main" val="3058333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3" name="think-cell data - do not delete" hidden="1">
                        <a:extLst>
                          <a:ext uri="{FF2B5EF4-FFF2-40B4-BE49-F238E27FC236}">
                            <a16:creationId xmlns:a16="http://schemas.microsoft.com/office/drawing/2014/main" id="{5D8ACE96-0D0C-458A-6BAC-48A6257EA5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9" name="Text Placeholder 3">
            <a:extLst>
              <a:ext uri="{FF2B5EF4-FFF2-40B4-BE49-F238E27FC236}">
                <a16:creationId xmlns:a16="http://schemas.microsoft.com/office/drawing/2014/main" id="{C79C29FA-AFA2-CB0C-7716-CE3754DCAD25}"/>
              </a:ext>
            </a:extLst>
          </p:cNvPr>
          <p:cNvSpPr>
            <a:spLocks noGrp="1"/>
          </p:cNvSpPr>
          <p:nvPr>
            <p:ph type="body" sz="quarter" idx="26" hasCustomPrompt="1"/>
          </p:nvPr>
        </p:nvSpPr>
        <p:spPr>
          <a:xfrm>
            <a:off x="563412" y="1109663"/>
            <a:ext cx="11084672" cy="384048"/>
          </a:xfrm>
          <a:prstGeom prst="rect">
            <a:avLst/>
          </a:prstGeom>
        </p:spPr>
        <p:txBody>
          <a:bodyPr anchor="t"/>
          <a:lstStyle>
            <a:lvl1pPr marL="0" indent="0" rtl="0">
              <a:spcAft>
                <a:spcPts val="0"/>
              </a:spcAft>
              <a:buNone/>
              <a:defRPr sz="1800" b="0" i="0">
                <a:solidFill>
                  <a:schemeClr val="tx1"/>
                </a:solidFill>
                <a:latin typeface="Graphik" panose="020B0503030202060203" pitchFamily="34" charset="77"/>
              </a:defRPr>
            </a:lvl1pPr>
          </a:lstStyle>
          <a:p>
            <a:pPr lvl="0"/>
            <a:r>
              <a:rPr lang="pt-BR"/>
              <a:t>Place subtitle here in Graphik regular</a:t>
            </a:r>
            <a:endParaRPr lang="pt-BR" dirty="0"/>
          </a:p>
        </p:txBody>
      </p:sp>
      <p:sp>
        <p:nvSpPr>
          <p:cNvPr id="50" name="Title 2">
            <a:extLst>
              <a:ext uri="{FF2B5EF4-FFF2-40B4-BE49-F238E27FC236}">
                <a16:creationId xmlns:a16="http://schemas.microsoft.com/office/drawing/2014/main" id="{D9DE4A47-B387-28A0-0CCF-3D113159BC44}"/>
              </a:ext>
            </a:extLst>
          </p:cNvPr>
          <p:cNvSpPr>
            <a:spLocks noGrp="1"/>
          </p:cNvSpPr>
          <p:nvPr>
            <p:ph type="title"/>
          </p:nvPr>
        </p:nvSpPr>
        <p:spPr>
          <a:xfrm>
            <a:off x="556467" y="572600"/>
            <a:ext cx="11084672" cy="393954"/>
          </a:xfrm>
        </p:spPr>
        <p:txBody>
          <a:bodyPr vert="horz"/>
          <a:lstStyle>
            <a:lvl1pPr rtl="0">
              <a:defRPr/>
            </a:lvl1pPr>
          </a:lstStyle>
          <a:p>
            <a:r>
              <a:rPr lang="pt-BR"/>
              <a:t>Click to edit Master title style</a:t>
            </a:r>
            <a:endParaRPr lang="pt-BR" dirty="0"/>
          </a:p>
        </p:txBody>
      </p:sp>
      <p:sp>
        <p:nvSpPr>
          <p:cNvPr id="63" name="Picture Placeholder 2">
            <a:extLst>
              <a:ext uri="{FF2B5EF4-FFF2-40B4-BE49-F238E27FC236}">
                <a16:creationId xmlns:a16="http://schemas.microsoft.com/office/drawing/2014/main" id="{B6B30F3E-6876-0883-BD26-A4FC5D74BFEB}"/>
              </a:ext>
            </a:extLst>
          </p:cNvPr>
          <p:cNvSpPr>
            <a:spLocks noGrp="1" noChangeAspect="1"/>
          </p:cNvSpPr>
          <p:nvPr>
            <p:ph type="pic" sz="quarter" idx="14" hasCustomPrompt="1"/>
          </p:nvPr>
        </p:nvSpPr>
        <p:spPr>
          <a:xfrm>
            <a:off x="1420322" y="2629388"/>
            <a:ext cx="1180800" cy="1180800"/>
          </a:xfrm>
          <a:prstGeom prst="rect">
            <a:avLst/>
          </a:prstGeom>
          <a:solidFill>
            <a:schemeClr val="tx1">
              <a:lumMod val="95000"/>
            </a:schemeClr>
          </a:solidFill>
        </p:spPr>
        <p:txBody>
          <a:bodyPr lIns="91440" tIns="0" anchor="ctr"/>
          <a:lstStyle>
            <a:lvl1pPr marL="0" indent="0" algn="ctr" rtl="0">
              <a:buNone/>
              <a:defRPr sz="1400" b="0" i="0">
                <a:solidFill>
                  <a:schemeClr val="bg1"/>
                </a:solidFill>
                <a:latin typeface="Graphik" panose="020B0503030202060203" pitchFamily="34" charset="77"/>
              </a:defRPr>
            </a:lvl1pPr>
          </a:lstStyle>
          <a:p>
            <a:r>
              <a:rPr lang="pt-BR"/>
              <a:t>Add profile photo</a:t>
            </a:r>
            <a:endParaRPr lang="pt-BR" dirty="0"/>
          </a:p>
        </p:txBody>
      </p:sp>
      <p:sp>
        <p:nvSpPr>
          <p:cNvPr id="64" name="Picture Placeholder 4">
            <a:extLst>
              <a:ext uri="{FF2B5EF4-FFF2-40B4-BE49-F238E27FC236}">
                <a16:creationId xmlns:a16="http://schemas.microsoft.com/office/drawing/2014/main" id="{68CBCB53-EDC2-430A-6091-471E4A3C0E69}"/>
              </a:ext>
            </a:extLst>
          </p:cNvPr>
          <p:cNvSpPr>
            <a:spLocks noGrp="1" noChangeAspect="1"/>
          </p:cNvSpPr>
          <p:nvPr>
            <p:ph type="pic" sz="quarter" idx="15" hasCustomPrompt="1"/>
          </p:nvPr>
        </p:nvSpPr>
        <p:spPr>
          <a:xfrm>
            <a:off x="2980178" y="2629388"/>
            <a:ext cx="1180800" cy="1180800"/>
          </a:xfrm>
          <a:prstGeom prst="rect">
            <a:avLst/>
          </a:prstGeom>
          <a:solidFill>
            <a:schemeClr val="tx1">
              <a:lumMod val="95000"/>
            </a:schemeClr>
          </a:solidFill>
        </p:spPr>
        <p:txBody>
          <a:bodyPr vert="horz" lIns="91440" tIns="0" rIns="0" bIns="0" rtlCol="0" anchor="ctr">
            <a:noAutofit/>
          </a:bodyPr>
          <a:lstStyle>
            <a:lvl1pPr marL="0" indent="0" algn="ctr" rtl="0">
              <a:buNone/>
              <a:defRPr lang="en-US" sz="1400" b="0" i="0" dirty="0">
                <a:solidFill>
                  <a:schemeClr val="bg1"/>
                </a:solidFill>
                <a:latin typeface="Graphik" panose="020B0503030202060203" pitchFamily="34" charset="77"/>
              </a:defRPr>
            </a:lvl1pPr>
          </a:lstStyle>
          <a:p>
            <a:pPr lvl="0"/>
            <a:r>
              <a:rPr lang="pt-BR"/>
              <a:t>Add profile photo</a:t>
            </a:r>
            <a:endParaRPr lang="pt-BR" dirty="0"/>
          </a:p>
        </p:txBody>
      </p:sp>
      <p:sp>
        <p:nvSpPr>
          <p:cNvPr id="65" name="Picture Placeholder 6">
            <a:extLst>
              <a:ext uri="{FF2B5EF4-FFF2-40B4-BE49-F238E27FC236}">
                <a16:creationId xmlns:a16="http://schemas.microsoft.com/office/drawing/2014/main" id="{637BE686-D971-81F4-FECC-526CEF4F381E}"/>
              </a:ext>
            </a:extLst>
          </p:cNvPr>
          <p:cNvSpPr>
            <a:spLocks noGrp="1" noChangeAspect="1"/>
          </p:cNvSpPr>
          <p:nvPr>
            <p:ph type="pic" sz="quarter" idx="16" hasCustomPrompt="1"/>
          </p:nvPr>
        </p:nvSpPr>
        <p:spPr>
          <a:xfrm>
            <a:off x="4540034" y="2629388"/>
            <a:ext cx="1180800" cy="1180800"/>
          </a:xfrm>
          <a:prstGeom prst="rect">
            <a:avLst/>
          </a:prstGeom>
          <a:solidFill>
            <a:schemeClr val="tx1">
              <a:lumMod val="95000"/>
            </a:schemeClr>
          </a:solidFill>
        </p:spPr>
        <p:txBody>
          <a:bodyPr vert="horz" lIns="91440" tIns="0" rIns="0" bIns="0" rtlCol="0" anchor="ctr">
            <a:noAutofit/>
          </a:bodyPr>
          <a:lstStyle>
            <a:lvl1pPr marL="0" indent="0" algn="ctr" rtl="0">
              <a:buNone/>
              <a:defRPr lang="en-US" sz="1400" b="0" i="0" dirty="0">
                <a:solidFill>
                  <a:schemeClr val="bg1"/>
                </a:solidFill>
                <a:latin typeface="Graphik" panose="020B0503030202060203" pitchFamily="34" charset="77"/>
              </a:defRPr>
            </a:lvl1pPr>
          </a:lstStyle>
          <a:p>
            <a:pPr lvl="0"/>
            <a:r>
              <a:rPr lang="pt-BR"/>
              <a:t>Add profile photo</a:t>
            </a:r>
            <a:endParaRPr lang="pt-BR" dirty="0"/>
          </a:p>
        </p:txBody>
      </p:sp>
      <p:sp>
        <p:nvSpPr>
          <p:cNvPr id="66" name="Picture Placeholder 8">
            <a:extLst>
              <a:ext uri="{FF2B5EF4-FFF2-40B4-BE49-F238E27FC236}">
                <a16:creationId xmlns:a16="http://schemas.microsoft.com/office/drawing/2014/main" id="{BA07AFEE-DC74-E7A8-BDBA-BFFE9BF24CD9}"/>
              </a:ext>
            </a:extLst>
          </p:cNvPr>
          <p:cNvSpPr>
            <a:spLocks noGrp="1" noChangeAspect="1"/>
          </p:cNvSpPr>
          <p:nvPr>
            <p:ph type="pic" sz="quarter" idx="17" hasCustomPrompt="1"/>
          </p:nvPr>
        </p:nvSpPr>
        <p:spPr>
          <a:xfrm>
            <a:off x="6099890" y="2629388"/>
            <a:ext cx="1180800" cy="1180800"/>
          </a:xfrm>
          <a:prstGeom prst="rect">
            <a:avLst/>
          </a:prstGeom>
          <a:solidFill>
            <a:schemeClr val="tx1">
              <a:lumMod val="95000"/>
            </a:schemeClr>
          </a:solidFill>
        </p:spPr>
        <p:txBody>
          <a:bodyPr vert="horz" lIns="91440" tIns="0" rIns="0" bIns="0" rtlCol="0" anchor="ctr">
            <a:noAutofit/>
          </a:bodyPr>
          <a:lstStyle>
            <a:lvl1pPr marL="0" indent="0" algn="ctr" rtl="0">
              <a:buNone/>
              <a:defRPr lang="en-US" sz="1400" b="0" i="0" dirty="0">
                <a:solidFill>
                  <a:schemeClr val="bg1"/>
                </a:solidFill>
                <a:latin typeface="Graphik" panose="020B0503030202060203" pitchFamily="34" charset="77"/>
              </a:defRPr>
            </a:lvl1pPr>
          </a:lstStyle>
          <a:p>
            <a:pPr lvl="0"/>
            <a:r>
              <a:rPr lang="pt-BR"/>
              <a:t>Add profile photo</a:t>
            </a:r>
            <a:endParaRPr lang="pt-BR" dirty="0"/>
          </a:p>
        </p:txBody>
      </p:sp>
      <p:sp>
        <p:nvSpPr>
          <p:cNvPr id="67" name="Picture Placeholder 10">
            <a:extLst>
              <a:ext uri="{FF2B5EF4-FFF2-40B4-BE49-F238E27FC236}">
                <a16:creationId xmlns:a16="http://schemas.microsoft.com/office/drawing/2014/main" id="{90E75D7F-D480-7A96-4F8E-3631E15DA2AD}"/>
              </a:ext>
            </a:extLst>
          </p:cNvPr>
          <p:cNvSpPr>
            <a:spLocks noGrp="1" noChangeAspect="1"/>
          </p:cNvSpPr>
          <p:nvPr>
            <p:ph type="pic" sz="quarter" idx="24" hasCustomPrompt="1"/>
          </p:nvPr>
        </p:nvSpPr>
        <p:spPr>
          <a:xfrm>
            <a:off x="7659746" y="2629388"/>
            <a:ext cx="1180800" cy="1180800"/>
          </a:xfrm>
          <a:prstGeom prst="rect">
            <a:avLst/>
          </a:prstGeom>
          <a:solidFill>
            <a:schemeClr val="tx1">
              <a:lumMod val="95000"/>
            </a:schemeClr>
          </a:solidFill>
        </p:spPr>
        <p:txBody>
          <a:bodyPr vert="horz" lIns="91440" tIns="0" rIns="0" bIns="0" rtlCol="0" anchor="ctr">
            <a:noAutofit/>
          </a:bodyPr>
          <a:lstStyle>
            <a:lvl1pPr marL="0" indent="0" algn="ctr" rtl="0">
              <a:buNone/>
              <a:defRPr lang="en-US" sz="1400" b="0" i="0" dirty="0">
                <a:solidFill>
                  <a:schemeClr val="bg1"/>
                </a:solidFill>
                <a:latin typeface="Graphik" panose="020B0503030202060203" pitchFamily="34" charset="77"/>
              </a:defRPr>
            </a:lvl1pPr>
          </a:lstStyle>
          <a:p>
            <a:pPr lvl="0"/>
            <a:r>
              <a:rPr lang="pt-BR"/>
              <a:t>Add profile photo</a:t>
            </a:r>
            <a:endParaRPr lang="pt-BR" dirty="0"/>
          </a:p>
        </p:txBody>
      </p:sp>
      <p:sp>
        <p:nvSpPr>
          <p:cNvPr id="68" name="Picture Placeholder 12">
            <a:extLst>
              <a:ext uri="{FF2B5EF4-FFF2-40B4-BE49-F238E27FC236}">
                <a16:creationId xmlns:a16="http://schemas.microsoft.com/office/drawing/2014/main" id="{183F93F6-A09B-A2EF-64C2-4902846E2410}"/>
              </a:ext>
            </a:extLst>
          </p:cNvPr>
          <p:cNvSpPr>
            <a:spLocks noGrp="1" noChangeAspect="1"/>
          </p:cNvSpPr>
          <p:nvPr>
            <p:ph type="pic" sz="quarter" idx="18" hasCustomPrompt="1"/>
          </p:nvPr>
        </p:nvSpPr>
        <p:spPr>
          <a:xfrm>
            <a:off x="9219600" y="2629388"/>
            <a:ext cx="1180800" cy="1180800"/>
          </a:xfrm>
          <a:prstGeom prst="rect">
            <a:avLst/>
          </a:prstGeom>
          <a:solidFill>
            <a:schemeClr val="tx1">
              <a:lumMod val="95000"/>
            </a:schemeClr>
          </a:solidFill>
        </p:spPr>
        <p:txBody>
          <a:bodyPr vert="horz" lIns="91440" tIns="0" rIns="0" bIns="0" rtlCol="0" anchor="ctr">
            <a:noAutofit/>
          </a:bodyPr>
          <a:lstStyle>
            <a:lvl1pPr marL="0" indent="0" algn="ctr" rtl="0">
              <a:buNone/>
              <a:defRPr lang="en-US" sz="1400" b="0" i="0" dirty="0">
                <a:solidFill>
                  <a:schemeClr val="bg1"/>
                </a:solidFill>
                <a:latin typeface="Graphik" panose="020B0503030202060203" pitchFamily="34" charset="77"/>
              </a:defRPr>
            </a:lvl1pPr>
          </a:lstStyle>
          <a:p>
            <a:pPr lvl="0"/>
            <a:r>
              <a:rPr lang="pt-BR"/>
              <a:t>Add profile photo</a:t>
            </a:r>
            <a:endParaRPr lang="pt-BR" dirty="0"/>
          </a:p>
        </p:txBody>
      </p:sp>
      <p:sp>
        <p:nvSpPr>
          <p:cNvPr id="69" name="Text Placeholder 3">
            <a:extLst>
              <a:ext uri="{FF2B5EF4-FFF2-40B4-BE49-F238E27FC236}">
                <a16:creationId xmlns:a16="http://schemas.microsoft.com/office/drawing/2014/main" id="{678182CD-97A5-B632-A606-E290F2E8F003}"/>
              </a:ext>
            </a:extLst>
          </p:cNvPr>
          <p:cNvSpPr>
            <a:spLocks noGrp="1"/>
          </p:cNvSpPr>
          <p:nvPr>
            <p:ph type="body" sz="quarter" idx="38" hasCustomPrompt="1"/>
          </p:nvPr>
        </p:nvSpPr>
        <p:spPr>
          <a:xfrm>
            <a:off x="1420322" y="4101793"/>
            <a:ext cx="1296000" cy="1439375"/>
          </a:xfrm>
          <a:prstGeom prst="rect">
            <a:avLst/>
          </a:prstGeom>
        </p:spPr>
        <p:txBody>
          <a:bodyPr/>
          <a:lstStyle>
            <a:lvl1pPr marL="0" indent="0" rtl="0">
              <a:lnSpc>
                <a:spcPct val="80000"/>
              </a:lnSpc>
              <a:spcAft>
                <a:spcPts val="0"/>
              </a:spcAft>
              <a:buFont typeface="Graphik" panose="020B0604020202020204" pitchFamily="34" charset="0"/>
              <a:buNone/>
              <a:defRPr lang="en-US" sz="1000" b="1" i="0" kern="1200" dirty="0">
                <a:solidFill>
                  <a:schemeClr val="tx1"/>
                </a:solidFill>
                <a:latin typeface="Graphik Semibold" panose="020B0503030202060203" pitchFamily="34" charset="77"/>
                <a:ea typeface="+mn-ea"/>
                <a:cs typeface="+mn-cs"/>
              </a:defRPr>
            </a:lvl1pPr>
            <a:lvl2pPr marL="0" indent="0" rtl="0">
              <a:spcAft>
                <a:spcPts val="800"/>
              </a:spcAft>
              <a:buNone/>
              <a:defRPr sz="1000" b="1" i="0">
                <a:solidFill>
                  <a:schemeClr val="tx1"/>
                </a:solidFill>
                <a:latin typeface="Graphik Semibold" panose="020B0503030202060203" pitchFamily="34" charset="77"/>
              </a:defRPr>
            </a:lvl2pPr>
            <a:lvl3pPr marL="0" indent="0" rtl="0">
              <a:spcAft>
                <a:spcPts val="267"/>
              </a:spcAft>
              <a:buNone/>
              <a:defRPr sz="1000" b="0" i="0">
                <a:solidFill>
                  <a:schemeClr val="tx1"/>
                </a:solidFill>
                <a:latin typeface="Graphik" panose="020B0503030202060203" pitchFamily="34" charset="77"/>
              </a:defRPr>
            </a:lvl3pPr>
            <a:lvl4pPr marL="182875" indent="-182875" rtl="0">
              <a:spcAft>
                <a:spcPts val="267"/>
              </a:spcAft>
              <a:buFont typeface="Graphik" panose="020B0604020202020204" pitchFamily="34" charset="0"/>
              <a:buChar char="•"/>
              <a:defRPr sz="1000" b="0" i="0">
                <a:solidFill>
                  <a:schemeClr val="tx1"/>
                </a:solidFill>
                <a:latin typeface="Graphik" panose="020B0503030202060203" pitchFamily="34" charset="77"/>
              </a:defRPr>
            </a:lvl4pPr>
            <a:lvl5pPr>
              <a:spcAft>
                <a:spcPts val="600"/>
              </a:spcAft>
              <a:defRPr sz="1600"/>
            </a:lvl5pPr>
          </a:lstStyle>
          <a:p>
            <a:pPr lvl="0"/>
            <a:r>
              <a:rPr lang="pt-BR"/>
              <a:t>First name</a:t>
            </a:r>
          </a:p>
          <a:p>
            <a:pPr lvl="1"/>
            <a:r>
              <a:rPr lang="pt-BR"/>
              <a:t>Surname or Role</a:t>
            </a:r>
          </a:p>
          <a:p>
            <a:pPr lvl="2"/>
            <a:r>
              <a:rPr lang="pt-BR"/>
              <a:t>Short bio</a:t>
            </a:r>
          </a:p>
          <a:p>
            <a:pPr lvl="3"/>
            <a:r>
              <a:rPr lang="pt-BR"/>
              <a:t>Bullet point</a:t>
            </a:r>
            <a:endParaRPr lang="pt-BR" dirty="0"/>
          </a:p>
        </p:txBody>
      </p:sp>
      <p:sp>
        <p:nvSpPr>
          <p:cNvPr id="70" name="Text Placeholder 4">
            <a:extLst>
              <a:ext uri="{FF2B5EF4-FFF2-40B4-BE49-F238E27FC236}">
                <a16:creationId xmlns:a16="http://schemas.microsoft.com/office/drawing/2014/main" id="{BC20362B-D8E4-FBCA-BA42-83663531AA4B}"/>
              </a:ext>
            </a:extLst>
          </p:cNvPr>
          <p:cNvSpPr>
            <a:spLocks noGrp="1"/>
          </p:cNvSpPr>
          <p:nvPr>
            <p:ph type="body" sz="quarter" idx="39" hasCustomPrompt="1"/>
          </p:nvPr>
        </p:nvSpPr>
        <p:spPr>
          <a:xfrm>
            <a:off x="2980178" y="4101793"/>
            <a:ext cx="1296000" cy="1439375"/>
          </a:xfrm>
          <a:prstGeom prst="rect">
            <a:avLst/>
          </a:prstGeom>
        </p:spPr>
        <p:txBody>
          <a:bodyPr/>
          <a:lstStyle>
            <a:lvl1pPr marL="0" indent="0" rtl="0">
              <a:lnSpc>
                <a:spcPct val="80000"/>
              </a:lnSpc>
              <a:spcAft>
                <a:spcPts val="0"/>
              </a:spcAft>
              <a:buFont typeface="Graphik" panose="020B0604020202020204" pitchFamily="34" charset="0"/>
              <a:buNone/>
              <a:defRPr lang="en-US" sz="1000" b="1" i="0" kern="1200" dirty="0">
                <a:solidFill>
                  <a:schemeClr val="tx1"/>
                </a:solidFill>
                <a:latin typeface="Graphik Semibold" panose="020B0503030202060203" pitchFamily="34" charset="77"/>
                <a:ea typeface="+mn-ea"/>
                <a:cs typeface="+mn-cs"/>
              </a:defRPr>
            </a:lvl1pPr>
            <a:lvl2pPr marL="0" indent="0" rtl="0">
              <a:spcAft>
                <a:spcPts val="800"/>
              </a:spcAft>
              <a:buNone/>
              <a:defRPr lang="en-US" sz="1000" b="1" i="0" kern="1200">
                <a:solidFill>
                  <a:schemeClr val="tx1"/>
                </a:solidFill>
                <a:latin typeface="Graphik Semibold" panose="020B0503030202060203" pitchFamily="34" charset="77"/>
                <a:ea typeface="+mn-ea"/>
                <a:cs typeface="+mn-cs"/>
              </a:defRPr>
            </a:lvl2pPr>
            <a:lvl3pPr marL="0" indent="0" rtl="0">
              <a:spcAft>
                <a:spcPts val="267"/>
              </a:spcAft>
              <a:buNone/>
              <a:defRPr sz="1000" b="0" i="0">
                <a:solidFill>
                  <a:schemeClr val="tx1"/>
                </a:solidFill>
                <a:latin typeface="Graphik" panose="020B0503030202060203" pitchFamily="34" charset="77"/>
              </a:defRPr>
            </a:lvl3pPr>
            <a:lvl4pPr marL="182875" indent="-182875" rtl="0">
              <a:spcAft>
                <a:spcPts val="267"/>
              </a:spcAft>
              <a:buFont typeface="Graphik" panose="020B0604020202020204" pitchFamily="34" charset="0"/>
              <a:buChar char="•"/>
              <a:defRPr sz="1000" b="0" i="0">
                <a:solidFill>
                  <a:schemeClr val="tx1"/>
                </a:solidFill>
                <a:latin typeface="Graphik" panose="020B0503030202060203" pitchFamily="34" charset="77"/>
              </a:defRPr>
            </a:lvl4pPr>
            <a:lvl5pPr>
              <a:spcAft>
                <a:spcPts val="600"/>
              </a:spcAft>
              <a:defRPr sz="1600"/>
            </a:lvl5pPr>
          </a:lstStyle>
          <a:p>
            <a:pPr marL="0" lvl="0" indent="0" algn="l" defTabSz="228594" rtl="0" eaLnBrk="1" latinLnBrk="0" hangingPunct="1">
              <a:lnSpc>
                <a:spcPct val="80000"/>
              </a:lnSpc>
              <a:spcBef>
                <a:spcPts val="0"/>
              </a:spcBef>
              <a:spcAft>
                <a:spcPts val="0"/>
              </a:spcAft>
              <a:buFont typeface="Graphik" panose="020B0604020202020204" pitchFamily="34" charset="0"/>
              <a:buNone/>
            </a:pPr>
            <a:r>
              <a:rPr lang="pt-BR"/>
              <a:t>First name</a:t>
            </a:r>
          </a:p>
          <a:p>
            <a:pPr marL="0" lvl="1" indent="0" algn="l" defTabSz="228594" rtl="0" eaLnBrk="1" latinLnBrk="0" hangingPunct="1">
              <a:lnSpc>
                <a:spcPct val="100000"/>
              </a:lnSpc>
              <a:spcBef>
                <a:spcPts val="0"/>
              </a:spcBef>
              <a:spcAft>
                <a:spcPts val="800"/>
              </a:spcAft>
              <a:buClrTx/>
              <a:buFont typeface="Arial" panose="020B0604020202020204" pitchFamily="34" charset="0"/>
              <a:buNone/>
            </a:pPr>
            <a:r>
              <a:rPr lang="pt-BR"/>
              <a:t>Surname or Role</a:t>
            </a:r>
          </a:p>
          <a:p>
            <a:pPr lvl="2"/>
            <a:r>
              <a:rPr lang="pt-BR"/>
              <a:t>Short bio</a:t>
            </a:r>
          </a:p>
          <a:p>
            <a:pPr lvl="3"/>
            <a:r>
              <a:rPr lang="pt-BR"/>
              <a:t>Bullet point</a:t>
            </a:r>
            <a:endParaRPr lang="pt-BR" dirty="0"/>
          </a:p>
        </p:txBody>
      </p:sp>
      <p:sp>
        <p:nvSpPr>
          <p:cNvPr id="71" name="Text Placeholder 5">
            <a:extLst>
              <a:ext uri="{FF2B5EF4-FFF2-40B4-BE49-F238E27FC236}">
                <a16:creationId xmlns:a16="http://schemas.microsoft.com/office/drawing/2014/main" id="{27B74B01-5E96-C593-2AE8-1AC067D6CF5C}"/>
              </a:ext>
            </a:extLst>
          </p:cNvPr>
          <p:cNvSpPr>
            <a:spLocks noGrp="1"/>
          </p:cNvSpPr>
          <p:nvPr>
            <p:ph type="body" sz="quarter" idx="40" hasCustomPrompt="1"/>
          </p:nvPr>
        </p:nvSpPr>
        <p:spPr>
          <a:xfrm>
            <a:off x="4540034" y="4101793"/>
            <a:ext cx="1296000" cy="1439375"/>
          </a:xfrm>
          <a:prstGeom prst="rect">
            <a:avLst/>
          </a:prstGeom>
        </p:spPr>
        <p:txBody>
          <a:bodyPr/>
          <a:lstStyle>
            <a:lvl1pPr marL="0" indent="0" rtl="0">
              <a:lnSpc>
                <a:spcPct val="80000"/>
              </a:lnSpc>
              <a:spcAft>
                <a:spcPts val="0"/>
              </a:spcAft>
              <a:buFont typeface="Graphik" panose="020B0604020202020204" pitchFamily="34" charset="0"/>
              <a:buNone/>
              <a:defRPr lang="en-US" sz="1000" b="1" i="0" kern="1200" dirty="0">
                <a:solidFill>
                  <a:schemeClr val="tx1"/>
                </a:solidFill>
                <a:latin typeface="Graphik Semibold" panose="020B0503030202060203" pitchFamily="34" charset="77"/>
                <a:ea typeface="+mn-ea"/>
                <a:cs typeface="+mn-cs"/>
              </a:defRPr>
            </a:lvl1pPr>
            <a:lvl2pPr marL="0" indent="0" rtl="0">
              <a:spcAft>
                <a:spcPts val="800"/>
              </a:spcAft>
              <a:buNone/>
              <a:defRPr lang="en-US" sz="1000" b="1" i="0" kern="1200">
                <a:solidFill>
                  <a:schemeClr val="tx1"/>
                </a:solidFill>
                <a:latin typeface="Graphik Semibold" panose="020B0503030202060203" pitchFamily="34" charset="77"/>
                <a:ea typeface="+mn-ea"/>
                <a:cs typeface="+mn-cs"/>
              </a:defRPr>
            </a:lvl2pPr>
            <a:lvl3pPr marL="0" indent="0" rtl="0">
              <a:spcAft>
                <a:spcPts val="267"/>
              </a:spcAft>
              <a:buNone/>
              <a:defRPr sz="1000" b="0" i="0">
                <a:solidFill>
                  <a:schemeClr val="tx1"/>
                </a:solidFill>
                <a:latin typeface="Graphik" panose="020B0503030202060203" pitchFamily="34" charset="77"/>
              </a:defRPr>
            </a:lvl3pPr>
            <a:lvl4pPr marL="182875" indent="-182875" rtl="0">
              <a:spcAft>
                <a:spcPts val="267"/>
              </a:spcAft>
              <a:buFont typeface="Graphik" panose="020B0604020202020204" pitchFamily="34" charset="0"/>
              <a:buChar char="•"/>
              <a:defRPr sz="1000" b="0" i="0">
                <a:solidFill>
                  <a:schemeClr val="tx1"/>
                </a:solidFill>
                <a:latin typeface="Graphik" panose="020B0503030202060203" pitchFamily="34" charset="77"/>
              </a:defRPr>
            </a:lvl4pPr>
            <a:lvl5pPr>
              <a:spcAft>
                <a:spcPts val="600"/>
              </a:spcAft>
              <a:defRPr sz="1600"/>
            </a:lvl5pPr>
          </a:lstStyle>
          <a:p>
            <a:pPr marL="0" lvl="0" indent="0" algn="l" defTabSz="228594" rtl="0" eaLnBrk="1" latinLnBrk="0" hangingPunct="1">
              <a:lnSpc>
                <a:spcPct val="80000"/>
              </a:lnSpc>
              <a:spcBef>
                <a:spcPts val="0"/>
              </a:spcBef>
              <a:spcAft>
                <a:spcPts val="0"/>
              </a:spcAft>
              <a:buFont typeface="Graphik" panose="020B0604020202020204" pitchFamily="34" charset="0"/>
              <a:buNone/>
            </a:pPr>
            <a:r>
              <a:rPr lang="pt-BR"/>
              <a:t>First name</a:t>
            </a:r>
          </a:p>
          <a:p>
            <a:pPr marL="0" lvl="1" indent="0" algn="l" defTabSz="228594" rtl="0" eaLnBrk="1" latinLnBrk="0" hangingPunct="1">
              <a:lnSpc>
                <a:spcPct val="100000"/>
              </a:lnSpc>
              <a:spcBef>
                <a:spcPts val="0"/>
              </a:spcBef>
              <a:spcAft>
                <a:spcPts val="800"/>
              </a:spcAft>
              <a:buClrTx/>
              <a:buFont typeface="Arial" panose="020B0604020202020204" pitchFamily="34" charset="0"/>
              <a:buNone/>
            </a:pPr>
            <a:r>
              <a:rPr lang="pt-BR"/>
              <a:t>Surname or Role</a:t>
            </a:r>
          </a:p>
          <a:p>
            <a:pPr lvl="2"/>
            <a:r>
              <a:rPr lang="pt-BR"/>
              <a:t>Short bio</a:t>
            </a:r>
          </a:p>
          <a:p>
            <a:pPr lvl="3"/>
            <a:r>
              <a:rPr lang="pt-BR"/>
              <a:t>Bullet point</a:t>
            </a:r>
            <a:endParaRPr lang="pt-BR" dirty="0"/>
          </a:p>
        </p:txBody>
      </p:sp>
      <p:sp>
        <p:nvSpPr>
          <p:cNvPr id="72" name="Text Placeholder 6">
            <a:extLst>
              <a:ext uri="{FF2B5EF4-FFF2-40B4-BE49-F238E27FC236}">
                <a16:creationId xmlns:a16="http://schemas.microsoft.com/office/drawing/2014/main" id="{77DA96FA-342F-3709-1656-B7FC6C905DFA}"/>
              </a:ext>
            </a:extLst>
          </p:cNvPr>
          <p:cNvSpPr>
            <a:spLocks noGrp="1"/>
          </p:cNvSpPr>
          <p:nvPr>
            <p:ph type="body" sz="quarter" idx="41" hasCustomPrompt="1"/>
          </p:nvPr>
        </p:nvSpPr>
        <p:spPr>
          <a:xfrm>
            <a:off x="6099890" y="4101793"/>
            <a:ext cx="1296000" cy="1439375"/>
          </a:xfrm>
          <a:prstGeom prst="rect">
            <a:avLst/>
          </a:prstGeom>
        </p:spPr>
        <p:txBody>
          <a:bodyPr/>
          <a:lstStyle>
            <a:lvl1pPr marL="0" indent="0" rtl="0">
              <a:lnSpc>
                <a:spcPct val="80000"/>
              </a:lnSpc>
              <a:spcAft>
                <a:spcPts val="0"/>
              </a:spcAft>
              <a:buFont typeface="Graphik" panose="020B0604020202020204" pitchFamily="34" charset="0"/>
              <a:buNone/>
              <a:defRPr lang="en-US" sz="1000" b="1" i="0" kern="1200" dirty="0">
                <a:solidFill>
                  <a:schemeClr val="tx1"/>
                </a:solidFill>
                <a:latin typeface="Graphik Semibold" panose="020B0503030202060203" pitchFamily="34" charset="77"/>
                <a:ea typeface="+mn-ea"/>
                <a:cs typeface="+mn-cs"/>
              </a:defRPr>
            </a:lvl1pPr>
            <a:lvl2pPr marL="0" indent="0" rtl="0">
              <a:spcAft>
                <a:spcPts val="800"/>
              </a:spcAft>
              <a:buNone/>
              <a:defRPr lang="en-US" sz="1000" b="1" i="0" kern="1200">
                <a:solidFill>
                  <a:schemeClr val="tx1"/>
                </a:solidFill>
                <a:latin typeface="Graphik Semibold" panose="020B0503030202060203" pitchFamily="34" charset="77"/>
                <a:ea typeface="+mn-ea"/>
                <a:cs typeface="+mn-cs"/>
              </a:defRPr>
            </a:lvl2pPr>
            <a:lvl3pPr marL="0" indent="0" rtl="0">
              <a:spcAft>
                <a:spcPts val="267"/>
              </a:spcAft>
              <a:buNone/>
              <a:defRPr sz="1000" b="0" i="0">
                <a:solidFill>
                  <a:schemeClr val="tx1"/>
                </a:solidFill>
                <a:latin typeface="Graphik" panose="020B0503030202060203" pitchFamily="34" charset="77"/>
              </a:defRPr>
            </a:lvl3pPr>
            <a:lvl4pPr marL="182875" indent="-182875" rtl="0">
              <a:spcAft>
                <a:spcPts val="267"/>
              </a:spcAft>
              <a:buFont typeface="Graphik" panose="020B0604020202020204" pitchFamily="34" charset="0"/>
              <a:buChar char="•"/>
              <a:defRPr sz="1000" b="0" i="0">
                <a:solidFill>
                  <a:schemeClr val="tx1"/>
                </a:solidFill>
                <a:latin typeface="Graphik" panose="020B0503030202060203" pitchFamily="34" charset="77"/>
              </a:defRPr>
            </a:lvl4pPr>
            <a:lvl5pPr>
              <a:spcAft>
                <a:spcPts val="600"/>
              </a:spcAft>
              <a:defRPr sz="1600"/>
            </a:lvl5pPr>
          </a:lstStyle>
          <a:p>
            <a:pPr marL="0" lvl="0" indent="0" algn="l" defTabSz="228594" rtl="0" eaLnBrk="1" latinLnBrk="0" hangingPunct="1">
              <a:lnSpc>
                <a:spcPct val="80000"/>
              </a:lnSpc>
              <a:spcBef>
                <a:spcPts val="0"/>
              </a:spcBef>
              <a:spcAft>
                <a:spcPts val="0"/>
              </a:spcAft>
              <a:buFont typeface="Graphik" panose="020B0604020202020204" pitchFamily="34" charset="0"/>
              <a:buNone/>
            </a:pPr>
            <a:r>
              <a:rPr lang="pt-BR"/>
              <a:t>First name</a:t>
            </a:r>
          </a:p>
          <a:p>
            <a:pPr marL="0" lvl="1" indent="0" algn="l" defTabSz="228594" rtl="0" eaLnBrk="1" latinLnBrk="0" hangingPunct="1">
              <a:lnSpc>
                <a:spcPct val="100000"/>
              </a:lnSpc>
              <a:spcBef>
                <a:spcPts val="0"/>
              </a:spcBef>
              <a:spcAft>
                <a:spcPts val="800"/>
              </a:spcAft>
              <a:buClrTx/>
              <a:buFont typeface="Arial" panose="020B0604020202020204" pitchFamily="34" charset="0"/>
              <a:buNone/>
            </a:pPr>
            <a:r>
              <a:rPr lang="pt-BR"/>
              <a:t>Surname or Role</a:t>
            </a:r>
          </a:p>
          <a:p>
            <a:pPr lvl="2"/>
            <a:r>
              <a:rPr lang="pt-BR"/>
              <a:t>Short bio</a:t>
            </a:r>
          </a:p>
          <a:p>
            <a:pPr lvl="3"/>
            <a:r>
              <a:rPr lang="pt-BR"/>
              <a:t>Bullet point</a:t>
            </a:r>
            <a:endParaRPr lang="pt-BR" dirty="0"/>
          </a:p>
        </p:txBody>
      </p:sp>
      <p:sp>
        <p:nvSpPr>
          <p:cNvPr id="73" name="Text Placeholder 7">
            <a:extLst>
              <a:ext uri="{FF2B5EF4-FFF2-40B4-BE49-F238E27FC236}">
                <a16:creationId xmlns:a16="http://schemas.microsoft.com/office/drawing/2014/main" id="{DED6B8B6-1CF0-A57B-C39A-E87D9D3570EB}"/>
              </a:ext>
            </a:extLst>
          </p:cNvPr>
          <p:cNvSpPr>
            <a:spLocks noGrp="1"/>
          </p:cNvSpPr>
          <p:nvPr>
            <p:ph type="body" sz="quarter" idx="42" hasCustomPrompt="1"/>
          </p:nvPr>
        </p:nvSpPr>
        <p:spPr>
          <a:xfrm>
            <a:off x="7659746" y="4101793"/>
            <a:ext cx="1296000" cy="1439375"/>
          </a:xfrm>
          <a:prstGeom prst="rect">
            <a:avLst/>
          </a:prstGeom>
        </p:spPr>
        <p:txBody>
          <a:bodyPr/>
          <a:lstStyle>
            <a:lvl1pPr marL="0" indent="0" rtl="0">
              <a:lnSpc>
                <a:spcPct val="80000"/>
              </a:lnSpc>
              <a:spcAft>
                <a:spcPts val="0"/>
              </a:spcAft>
              <a:buFont typeface="Graphik" panose="020B0604020202020204" pitchFamily="34" charset="0"/>
              <a:buNone/>
              <a:defRPr lang="en-US" sz="1000" b="1" i="0" kern="1200" dirty="0">
                <a:solidFill>
                  <a:schemeClr val="tx1"/>
                </a:solidFill>
                <a:latin typeface="Graphik Semibold" panose="020B0503030202060203" pitchFamily="34" charset="77"/>
                <a:ea typeface="+mn-ea"/>
                <a:cs typeface="+mn-cs"/>
              </a:defRPr>
            </a:lvl1pPr>
            <a:lvl2pPr marL="0" indent="0" rtl="0">
              <a:spcAft>
                <a:spcPts val="800"/>
              </a:spcAft>
              <a:buNone/>
              <a:defRPr lang="en-US" sz="1000" b="1" i="0" kern="1200">
                <a:solidFill>
                  <a:schemeClr val="tx1"/>
                </a:solidFill>
                <a:latin typeface="Graphik Semibold" panose="020B0503030202060203" pitchFamily="34" charset="77"/>
                <a:ea typeface="+mn-ea"/>
                <a:cs typeface="+mn-cs"/>
              </a:defRPr>
            </a:lvl2pPr>
            <a:lvl3pPr marL="0" indent="0" rtl="0">
              <a:spcAft>
                <a:spcPts val="267"/>
              </a:spcAft>
              <a:buNone/>
              <a:defRPr sz="1000" b="0" i="0">
                <a:solidFill>
                  <a:schemeClr val="tx1"/>
                </a:solidFill>
                <a:latin typeface="Graphik" panose="020B0503030202060203" pitchFamily="34" charset="77"/>
              </a:defRPr>
            </a:lvl3pPr>
            <a:lvl4pPr marL="182875" indent="-182875" rtl="0">
              <a:spcAft>
                <a:spcPts val="267"/>
              </a:spcAft>
              <a:buFont typeface="Graphik" panose="020B0604020202020204" pitchFamily="34" charset="0"/>
              <a:buChar char="•"/>
              <a:defRPr sz="1000" b="0" i="0">
                <a:solidFill>
                  <a:schemeClr val="tx1"/>
                </a:solidFill>
                <a:latin typeface="Graphik" panose="020B0503030202060203" pitchFamily="34" charset="77"/>
              </a:defRPr>
            </a:lvl4pPr>
            <a:lvl5pPr>
              <a:spcAft>
                <a:spcPts val="600"/>
              </a:spcAft>
              <a:defRPr sz="1600"/>
            </a:lvl5pPr>
          </a:lstStyle>
          <a:p>
            <a:pPr marL="0" lvl="0" indent="0" algn="l" defTabSz="228594" rtl="0" eaLnBrk="1" latinLnBrk="0" hangingPunct="1">
              <a:lnSpc>
                <a:spcPct val="80000"/>
              </a:lnSpc>
              <a:spcBef>
                <a:spcPts val="0"/>
              </a:spcBef>
              <a:spcAft>
                <a:spcPts val="0"/>
              </a:spcAft>
              <a:buFont typeface="Graphik" panose="020B0604020202020204" pitchFamily="34" charset="0"/>
              <a:buNone/>
            </a:pPr>
            <a:r>
              <a:rPr lang="pt-BR"/>
              <a:t>First name</a:t>
            </a:r>
          </a:p>
          <a:p>
            <a:pPr marL="0" lvl="1" indent="0" algn="l" defTabSz="228594" rtl="0" eaLnBrk="1" latinLnBrk="0" hangingPunct="1">
              <a:lnSpc>
                <a:spcPct val="100000"/>
              </a:lnSpc>
              <a:spcBef>
                <a:spcPts val="0"/>
              </a:spcBef>
              <a:spcAft>
                <a:spcPts val="800"/>
              </a:spcAft>
              <a:buClrTx/>
              <a:buFont typeface="Arial" panose="020B0604020202020204" pitchFamily="34" charset="0"/>
              <a:buNone/>
            </a:pPr>
            <a:r>
              <a:rPr lang="pt-BR"/>
              <a:t>Surname or Role</a:t>
            </a:r>
          </a:p>
          <a:p>
            <a:pPr lvl="2"/>
            <a:r>
              <a:rPr lang="pt-BR"/>
              <a:t>Short bio</a:t>
            </a:r>
          </a:p>
          <a:p>
            <a:pPr lvl="3"/>
            <a:r>
              <a:rPr lang="pt-BR"/>
              <a:t>Bullet point</a:t>
            </a:r>
            <a:endParaRPr lang="pt-BR" dirty="0"/>
          </a:p>
        </p:txBody>
      </p:sp>
      <p:sp>
        <p:nvSpPr>
          <p:cNvPr id="74" name="Text Placeholder 8">
            <a:extLst>
              <a:ext uri="{FF2B5EF4-FFF2-40B4-BE49-F238E27FC236}">
                <a16:creationId xmlns:a16="http://schemas.microsoft.com/office/drawing/2014/main" id="{0A4ACC4B-F1AD-98A5-3F4F-0528E81C50E6}"/>
              </a:ext>
            </a:extLst>
          </p:cNvPr>
          <p:cNvSpPr>
            <a:spLocks noGrp="1"/>
          </p:cNvSpPr>
          <p:nvPr>
            <p:ph type="body" sz="quarter" idx="43" hasCustomPrompt="1"/>
          </p:nvPr>
        </p:nvSpPr>
        <p:spPr>
          <a:xfrm>
            <a:off x="9219600" y="4101793"/>
            <a:ext cx="1296000" cy="1439375"/>
          </a:xfrm>
          <a:prstGeom prst="rect">
            <a:avLst/>
          </a:prstGeom>
        </p:spPr>
        <p:txBody>
          <a:bodyPr/>
          <a:lstStyle>
            <a:lvl1pPr marL="0" indent="0" rtl="0">
              <a:lnSpc>
                <a:spcPct val="80000"/>
              </a:lnSpc>
              <a:spcAft>
                <a:spcPts val="0"/>
              </a:spcAft>
              <a:buFont typeface="Graphik" panose="020B0604020202020204" pitchFamily="34" charset="0"/>
              <a:buNone/>
              <a:defRPr lang="en-US" sz="1000" b="1" i="0" kern="1200" dirty="0">
                <a:solidFill>
                  <a:schemeClr val="tx1"/>
                </a:solidFill>
                <a:latin typeface="Graphik Semibold" panose="020B0503030202060203" pitchFamily="34" charset="77"/>
                <a:ea typeface="+mn-ea"/>
                <a:cs typeface="+mn-cs"/>
              </a:defRPr>
            </a:lvl1pPr>
            <a:lvl2pPr marL="0" indent="0" rtl="0">
              <a:spcAft>
                <a:spcPts val="800"/>
              </a:spcAft>
              <a:buNone/>
              <a:defRPr lang="en-US" sz="1000" b="1" i="0" kern="1200">
                <a:solidFill>
                  <a:schemeClr val="tx1"/>
                </a:solidFill>
                <a:latin typeface="Graphik Semibold" panose="020B0503030202060203" pitchFamily="34" charset="77"/>
                <a:ea typeface="+mn-ea"/>
                <a:cs typeface="+mn-cs"/>
              </a:defRPr>
            </a:lvl2pPr>
            <a:lvl3pPr marL="0" indent="0" rtl="0">
              <a:spcAft>
                <a:spcPts val="267"/>
              </a:spcAft>
              <a:buNone/>
              <a:defRPr sz="1000" b="0" i="0">
                <a:solidFill>
                  <a:schemeClr val="tx1"/>
                </a:solidFill>
                <a:latin typeface="Graphik" panose="020B0503030202060203" pitchFamily="34" charset="77"/>
              </a:defRPr>
            </a:lvl3pPr>
            <a:lvl4pPr marL="182875" indent="-182875" rtl="0">
              <a:spcAft>
                <a:spcPts val="267"/>
              </a:spcAft>
              <a:buFont typeface="Graphik" panose="020B0604020202020204" pitchFamily="34" charset="0"/>
              <a:buChar char="•"/>
              <a:defRPr sz="1000" b="0" i="0">
                <a:solidFill>
                  <a:schemeClr val="tx1"/>
                </a:solidFill>
                <a:latin typeface="Graphik" panose="020B0503030202060203" pitchFamily="34" charset="77"/>
              </a:defRPr>
            </a:lvl4pPr>
            <a:lvl5pPr>
              <a:spcAft>
                <a:spcPts val="600"/>
              </a:spcAft>
              <a:defRPr sz="1600"/>
            </a:lvl5pPr>
          </a:lstStyle>
          <a:p>
            <a:pPr marL="0" lvl="0" indent="0" algn="l" defTabSz="228594" rtl="0" eaLnBrk="1" latinLnBrk="0" hangingPunct="1">
              <a:lnSpc>
                <a:spcPct val="80000"/>
              </a:lnSpc>
              <a:spcBef>
                <a:spcPts val="0"/>
              </a:spcBef>
              <a:spcAft>
                <a:spcPts val="0"/>
              </a:spcAft>
              <a:buFont typeface="Graphik" panose="020B0604020202020204" pitchFamily="34" charset="0"/>
              <a:buNone/>
            </a:pPr>
            <a:r>
              <a:rPr lang="pt-BR"/>
              <a:t>First name</a:t>
            </a:r>
          </a:p>
          <a:p>
            <a:pPr marL="0" lvl="1" indent="0" algn="l" defTabSz="228594" rtl="0" eaLnBrk="1" latinLnBrk="0" hangingPunct="1">
              <a:lnSpc>
                <a:spcPct val="100000"/>
              </a:lnSpc>
              <a:spcBef>
                <a:spcPts val="0"/>
              </a:spcBef>
              <a:spcAft>
                <a:spcPts val="800"/>
              </a:spcAft>
              <a:buClrTx/>
              <a:buFont typeface="Arial" panose="020B0604020202020204" pitchFamily="34" charset="0"/>
              <a:buNone/>
            </a:pPr>
            <a:r>
              <a:rPr lang="pt-BR"/>
              <a:t>Surname or Role</a:t>
            </a:r>
          </a:p>
          <a:p>
            <a:pPr lvl="2"/>
            <a:r>
              <a:rPr lang="pt-BR"/>
              <a:t>Short bio</a:t>
            </a:r>
          </a:p>
          <a:p>
            <a:pPr lvl="3"/>
            <a:r>
              <a:rPr lang="pt-BR"/>
              <a:t>Bullet point</a:t>
            </a:r>
            <a:endParaRPr lang="pt-BR" dirty="0"/>
          </a:p>
        </p:txBody>
      </p:sp>
    </p:spTree>
    <p:extLst>
      <p:ext uri="{BB962C8B-B14F-4D97-AF65-F5344CB8AC3E}">
        <p14:creationId xmlns:p14="http://schemas.microsoft.com/office/powerpoint/2010/main" val="32398687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777" userDrawn="1">
          <p15:clr>
            <a:srgbClr val="C35E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team 2 + dark mode">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5DDFBE4-9A84-B4C9-CB0A-FF8244083A73}"/>
              </a:ext>
            </a:extLst>
          </p:cNvPr>
          <p:cNvGraphicFramePr>
            <a:graphicFrameLocks noChangeAspect="1"/>
          </p:cNvGraphicFramePr>
          <p:nvPr userDrawn="1">
            <p:custDataLst>
              <p:tags r:id="rId1"/>
            </p:custDataLst>
            <p:extLst>
              <p:ext uri="{D42A27DB-BD31-4B8C-83A1-F6EECF244321}">
                <p14:modId xmlns:p14="http://schemas.microsoft.com/office/powerpoint/2010/main" val="2239626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3" name="think-cell data - do not delete" hidden="1">
                        <a:extLst>
                          <a:ext uri="{FF2B5EF4-FFF2-40B4-BE49-F238E27FC236}">
                            <a16:creationId xmlns:a16="http://schemas.microsoft.com/office/drawing/2014/main" id="{C5DDFBE4-9A84-B4C9-CB0A-FF8244083A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8" name="Title 2">
            <a:extLst>
              <a:ext uri="{FF2B5EF4-FFF2-40B4-BE49-F238E27FC236}">
                <a16:creationId xmlns:a16="http://schemas.microsoft.com/office/drawing/2014/main" id="{EE96B902-DA40-F453-88BF-C5A865B07A86}"/>
              </a:ext>
            </a:extLst>
          </p:cNvPr>
          <p:cNvSpPr>
            <a:spLocks noGrp="1"/>
          </p:cNvSpPr>
          <p:nvPr>
            <p:ph type="title"/>
          </p:nvPr>
        </p:nvSpPr>
        <p:spPr>
          <a:xfrm>
            <a:off x="556467" y="572600"/>
            <a:ext cx="11084672" cy="393954"/>
          </a:xfrm>
        </p:spPr>
        <p:txBody>
          <a:bodyPr vert="horz"/>
          <a:lstStyle>
            <a:lvl1pPr rtl="0">
              <a:defRPr/>
            </a:lvl1pPr>
          </a:lstStyle>
          <a:p>
            <a:r>
              <a:rPr lang="pt-BR"/>
              <a:t>Click to edit Master title style</a:t>
            </a:r>
            <a:endParaRPr lang="pt-BR" dirty="0"/>
          </a:p>
        </p:txBody>
      </p:sp>
      <p:sp>
        <p:nvSpPr>
          <p:cNvPr id="47" name="Text Placeholder 3">
            <a:extLst>
              <a:ext uri="{FF2B5EF4-FFF2-40B4-BE49-F238E27FC236}">
                <a16:creationId xmlns:a16="http://schemas.microsoft.com/office/drawing/2014/main" id="{BAE735C4-1315-5604-E715-00812A74737C}"/>
              </a:ext>
            </a:extLst>
          </p:cNvPr>
          <p:cNvSpPr>
            <a:spLocks noGrp="1"/>
          </p:cNvSpPr>
          <p:nvPr>
            <p:ph type="body" sz="quarter" idx="26" hasCustomPrompt="1"/>
          </p:nvPr>
        </p:nvSpPr>
        <p:spPr>
          <a:xfrm>
            <a:off x="563411" y="1109663"/>
            <a:ext cx="11084673" cy="384048"/>
          </a:xfrm>
          <a:prstGeom prst="rect">
            <a:avLst/>
          </a:prstGeom>
        </p:spPr>
        <p:txBody>
          <a:bodyPr anchor="t"/>
          <a:lstStyle>
            <a:lvl1pPr marL="0" indent="0" rtl="0">
              <a:spcAft>
                <a:spcPts val="0"/>
              </a:spcAft>
              <a:buNone/>
              <a:defRPr sz="1800" b="0" i="0">
                <a:solidFill>
                  <a:schemeClr val="tx1"/>
                </a:solidFill>
                <a:latin typeface="Graphik" panose="020B0503030202060203" pitchFamily="34" charset="77"/>
              </a:defRPr>
            </a:lvl1pPr>
          </a:lstStyle>
          <a:p>
            <a:pPr lvl="0"/>
            <a:r>
              <a:rPr lang="pt-BR"/>
              <a:t>Place subtitle here in Graphik regular</a:t>
            </a:r>
            <a:endParaRPr lang="pt-BR" dirty="0"/>
          </a:p>
        </p:txBody>
      </p:sp>
      <p:sp>
        <p:nvSpPr>
          <p:cNvPr id="61" name="Picture Placeholder 2">
            <a:extLst>
              <a:ext uri="{FF2B5EF4-FFF2-40B4-BE49-F238E27FC236}">
                <a16:creationId xmlns:a16="http://schemas.microsoft.com/office/drawing/2014/main" id="{F0E9B0EE-00BA-77AC-391E-0B1F0E1E8A9C}"/>
              </a:ext>
            </a:extLst>
          </p:cNvPr>
          <p:cNvSpPr>
            <a:spLocks noGrp="1" noChangeAspect="1"/>
          </p:cNvSpPr>
          <p:nvPr>
            <p:ph type="pic" sz="quarter" idx="14" hasCustomPrompt="1"/>
          </p:nvPr>
        </p:nvSpPr>
        <p:spPr>
          <a:xfrm>
            <a:off x="1420322" y="2629388"/>
            <a:ext cx="1180800" cy="1180800"/>
          </a:xfrm>
          <a:prstGeom prst="rect">
            <a:avLst/>
          </a:prstGeom>
          <a:solidFill>
            <a:schemeClr val="tx1">
              <a:lumMod val="95000"/>
            </a:schemeClr>
          </a:solidFill>
        </p:spPr>
        <p:txBody>
          <a:bodyPr lIns="91440" tIns="0" anchor="ctr"/>
          <a:lstStyle>
            <a:lvl1pPr marL="0" indent="0" algn="ctr" rtl="0">
              <a:buNone/>
              <a:defRPr sz="1400" b="0" i="0">
                <a:solidFill>
                  <a:schemeClr val="bg1"/>
                </a:solidFill>
                <a:latin typeface="Graphik" panose="020B0503030202060203" pitchFamily="34" charset="77"/>
              </a:defRPr>
            </a:lvl1pPr>
          </a:lstStyle>
          <a:p>
            <a:r>
              <a:rPr lang="pt-BR"/>
              <a:t>Add profile photo</a:t>
            </a:r>
            <a:endParaRPr lang="pt-BR" dirty="0"/>
          </a:p>
        </p:txBody>
      </p:sp>
      <p:sp>
        <p:nvSpPr>
          <p:cNvPr id="62" name="Picture Placeholder 4">
            <a:extLst>
              <a:ext uri="{FF2B5EF4-FFF2-40B4-BE49-F238E27FC236}">
                <a16:creationId xmlns:a16="http://schemas.microsoft.com/office/drawing/2014/main" id="{8A6DE4FC-AD43-5522-F3DC-8CCFCDC5C1AC}"/>
              </a:ext>
            </a:extLst>
          </p:cNvPr>
          <p:cNvSpPr>
            <a:spLocks noGrp="1" noChangeAspect="1"/>
          </p:cNvSpPr>
          <p:nvPr>
            <p:ph type="pic" sz="quarter" idx="15" hasCustomPrompt="1"/>
          </p:nvPr>
        </p:nvSpPr>
        <p:spPr>
          <a:xfrm>
            <a:off x="2980178" y="2629388"/>
            <a:ext cx="1180800" cy="1180800"/>
          </a:xfrm>
          <a:prstGeom prst="rect">
            <a:avLst/>
          </a:prstGeom>
          <a:solidFill>
            <a:schemeClr val="tx1">
              <a:lumMod val="95000"/>
            </a:schemeClr>
          </a:solidFill>
        </p:spPr>
        <p:txBody>
          <a:bodyPr vert="horz" lIns="91440" tIns="0" rIns="0" bIns="0" rtlCol="0" anchor="ctr">
            <a:noAutofit/>
          </a:bodyPr>
          <a:lstStyle>
            <a:lvl1pPr marL="0" indent="0" algn="ctr" rtl="0">
              <a:buNone/>
              <a:defRPr lang="en-US" sz="1400" b="0" i="0" dirty="0">
                <a:solidFill>
                  <a:schemeClr val="bg1"/>
                </a:solidFill>
                <a:latin typeface="Graphik" panose="020B0503030202060203" pitchFamily="34" charset="77"/>
              </a:defRPr>
            </a:lvl1pPr>
          </a:lstStyle>
          <a:p>
            <a:pPr lvl="0"/>
            <a:r>
              <a:rPr lang="pt-BR"/>
              <a:t>Add profile photo</a:t>
            </a:r>
            <a:endParaRPr lang="pt-BR" dirty="0"/>
          </a:p>
        </p:txBody>
      </p:sp>
      <p:sp>
        <p:nvSpPr>
          <p:cNvPr id="63" name="Picture Placeholder 6">
            <a:extLst>
              <a:ext uri="{FF2B5EF4-FFF2-40B4-BE49-F238E27FC236}">
                <a16:creationId xmlns:a16="http://schemas.microsoft.com/office/drawing/2014/main" id="{1BD069D5-BE5E-6066-FCA3-0DF229CA234F}"/>
              </a:ext>
            </a:extLst>
          </p:cNvPr>
          <p:cNvSpPr>
            <a:spLocks noGrp="1" noChangeAspect="1"/>
          </p:cNvSpPr>
          <p:nvPr>
            <p:ph type="pic" sz="quarter" idx="16" hasCustomPrompt="1"/>
          </p:nvPr>
        </p:nvSpPr>
        <p:spPr>
          <a:xfrm>
            <a:off x="4540034" y="2629388"/>
            <a:ext cx="1180800" cy="1180800"/>
          </a:xfrm>
          <a:prstGeom prst="rect">
            <a:avLst/>
          </a:prstGeom>
          <a:solidFill>
            <a:schemeClr val="tx1">
              <a:lumMod val="95000"/>
            </a:schemeClr>
          </a:solidFill>
        </p:spPr>
        <p:txBody>
          <a:bodyPr vert="horz" lIns="91440" tIns="0" rIns="0" bIns="0" rtlCol="0" anchor="ctr">
            <a:noAutofit/>
          </a:bodyPr>
          <a:lstStyle>
            <a:lvl1pPr marL="0" indent="0" algn="ctr" rtl="0">
              <a:buNone/>
              <a:defRPr lang="en-US" sz="1400" b="0" i="0" dirty="0">
                <a:solidFill>
                  <a:schemeClr val="bg1"/>
                </a:solidFill>
                <a:latin typeface="Graphik" panose="020B0503030202060203" pitchFamily="34" charset="77"/>
              </a:defRPr>
            </a:lvl1pPr>
          </a:lstStyle>
          <a:p>
            <a:pPr lvl="0"/>
            <a:r>
              <a:rPr lang="pt-BR"/>
              <a:t>Add profile photo</a:t>
            </a:r>
            <a:endParaRPr lang="pt-BR" dirty="0"/>
          </a:p>
        </p:txBody>
      </p:sp>
      <p:sp>
        <p:nvSpPr>
          <p:cNvPr id="64" name="Picture Placeholder 8">
            <a:extLst>
              <a:ext uri="{FF2B5EF4-FFF2-40B4-BE49-F238E27FC236}">
                <a16:creationId xmlns:a16="http://schemas.microsoft.com/office/drawing/2014/main" id="{9411D50B-1629-1008-57E7-75FEA9042E4C}"/>
              </a:ext>
            </a:extLst>
          </p:cNvPr>
          <p:cNvSpPr>
            <a:spLocks noGrp="1" noChangeAspect="1"/>
          </p:cNvSpPr>
          <p:nvPr>
            <p:ph type="pic" sz="quarter" idx="17" hasCustomPrompt="1"/>
          </p:nvPr>
        </p:nvSpPr>
        <p:spPr>
          <a:xfrm>
            <a:off x="6099890" y="2629388"/>
            <a:ext cx="1180800" cy="1180800"/>
          </a:xfrm>
          <a:prstGeom prst="rect">
            <a:avLst/>
          </a:prstGeom>
          <a:solidFill>
            <a:schemeClr val="tx1">
              <a:lumMod val="95000"/>
            </a:schemeClr>
          </a:solidFill>
        </p:spPr>
        <p:txBody>
          <a:bodyPr vert="horz" lIns="91440" tIns="0" rIns="0" bIns="0" rtlCol="0" anchor="ctr">
            <a:noAutofit/>
          </a:bodyPr>
          <a:lstStyle>
            <a:lvl1pPr marL="0" indent="0" algn="ctr" rtl="0">
              <a:buNone/>
              <a:defRPr lang="en-US" sz="1400" b="0" i="0" dirty="0">
                <a:solidFill>
                  <a:schemeClr val="bg1"/>
                </a:solidFill>
                <a:latin typeface="Graphik" panose="020B0503030202060203" pitchFamily="34" charset="77"/>
              </a:defRPr>
            </a:lvl1pPr>
          </a:lstStyle>
          <a:p>
            <a:pPr lvl="0"/>
            <a:r>
              <a:rPr lang="pt-BR"/>
              <a:t>Add profile photo</a:t>
            </a:r>
            <a:endParaRPr lang="pt-BR" dirty="0"/>
          </a:p>
        </p:txBody>
      </p:sp>
      <p:sp>
        <p:nvSpPr>
          <p:cNvPr id="65" name="Picture Placeholder 10">
            <a:extLst>
              <a:ext uri="{FF2B5EF4-FFF2-40B4-BE49-F238E27FC236}">
                <a16:creationId xmlns:a16="http://schemas.microsoft.com/office/drawing/2014/main" id="{ADF38582-16D1-8220-29AD-F720575DB7C5}"/>
              </a:ext>
            </a:extLst>
          </p:cNvPr>
          <p:cNvSpPr>
            <a:spLocks noGrp="1" noChangeAspect="1"/>
          </p:cNvSpPr>
          <p:nvPr>
            <p:ph type="pic" sz="quarter" idx="24" hasCustomPrompt="1"/>
          </p:nvPr>
        </p:nvSpPr>
        <p:spPr>
          <a:xfrm>
            <a:off x="7659746" y="2629388"/>
            <a:ext cx="1180800" cy="1180800"/>
          </a:xfrm>
          <a:prstGeom prst="rect">
            <a:avLst/>
          </a:prstGeom>
          <a:solidFill>
            <a:schemeClr val="tx1">
              <a:lumMod val="95000"/>
            </a:schemeClr>
          </a:solidFill>
        </p:spPr>
        <p:txBody>
          <a:bodyPr vert="horz" lIns="91440" tIns="0" rIns="0" bIns="0" rtlCol="0" anchor="ctr">
            <a:noAutofit/>
          </a:bodyPr>
          <a:lstStyle>
            <a:lvl1pPr marL="0" indent="0" algn="ctr" rtl="0">
              <a:buNone/>
              <a:defRPr lang="en-US" sz="1400" b="0" i="0" dirty="0">
                <a:solidFill>
                  <a:schemeClr val="bg1"/>
                </a:solidFill>
                <a:latin typeface="Graphik" panose="020B0503030202060203" pitchFamily="34" charset="77"/>
              </a:defRPr>
            </a:lvl1pPr>
          </a:lstStyle>
          <a:p>
            <a:pPr lvl="0"/>
            <a:r>
              <a:rPr lang="pt-BR"/>
              <a:t>Add profile photo</a:t>
            </a:r>
            <a:endParaRPr lang="pt-BR" dirty="0"/>
          </a:p>
        </p:txBody>
      </p:sp>
      <p:sp>
        <p:nvSpPr>
          <p:cNvPr id="66" name="Picture Placeholder 12">
            <a:extLst>
              <a:ext uri="{FF2B5EF4-FFF2-40B4-BE49-F238E27FC236}">
                <a16:creationId xmlns:a16="http://schemas.microsoft.com/office/drawing/2014/main" id="{97C37837-0060-AD69-31D2-1F8111CE8665}"/>
              </a:ext>
            </a:extLst>
          </p:cNvPr>
          <p:cNvSpPr>
            <a:spLocks noGrp="1" noChangeAspect="1"/>
          </p:cNvSpPr>
          <p:nvPr>
            <p:ph type="pic" sz="quarter" idx="18" hasCustomPrompt="1"/>
          </p:nvPr>
        </p:nvSpPr>
        <p:spPr>
          <a:xfrm>
            <a:off x="9219600" y="2629388"/>
            <a:ext cx="1180800" cy="1180800"/>
          </a:xfrm>
          <a:prstGeom prst="rect">
            <a:avLst/>
          </a:prstGeom>
          <a:solidFill>
            <a:schemeClr val="tx1">
              <a:lumMod val="95000"/>
            </a:schemeClr>
          </a:solidFill>
        </p:spPr>
        <p:txBody>
          <a:bodyPr vert="horz" lIns="91440" tIns="0" rIns="0" bIns="0" rtlCol="0" anchor="ctr">
            <a:noAutofit/>
          </a:bodyPr>
          <a:lstStyle>
            <a:lvl1pPr marL="0" indent="0" algn="ctr" rtl="0">
              <a:buNone/>
              <a:defRPr lang="en-US" sz="1400" b="0" i="0" dirty="0">
                <a:solidFill>
                  <a:schemeClr val="bg1"/>
                </a:solidFill>
                <a:latin typeface="Graphik" panose="020B0503030202060203" pitchFamily="34" charset="77"/>
              </a:defRPr>
            </a:lvl1pPr>
          </a:lstStyle>
          <a:p>
            <a:pPr lvl="0"/>
            <a:r>
              <a:rPr lang="pt-BR"/>
              <a:t>Add profile photo</a:t>
            </a:r>
            <a:endParaRPr lang="pt-BR" dirty="0"/>
          </a:p>
        </p:txBody>
      </p:sp>
      <p:sp>
        <p:nvSpPr>
          <p:cNvPr id="67" name="Text Placeholder 3">
            <a:extLst>
              <a:ext uri="{FF2B5EF4-FFF2-40B4-BE49-F238E27FC236}">
                <a16:creationId xmlns:a16="http://schemas.microsoft.com/office/drawing/2014/main" id="{E38C952C-69EF-B109-2D9A-0E1226273D9A}"/>
              </a:ext>
            </a:extLst>
          </p:cNvPr>
          <p:cNvSpPr>
            <a:spLocks noGrp="1"/>
          </p:cNvSpPr>
          <p:nvPr>
            <p:ph type="body" sz="quarter" idx="38" hasCustomPrompt="1"/>
          </p:nvPr>
        </p:nvSpPr>
        <p:spPr>
          <a:xfrm>
            <a:off x="1420322" y="4101793"/>
            <a:ext cx="1296000" cy="1439375"/>
          </a:xfrm>
          <a:prstGeom prst="rect">
            <a:avLst/>
          </a:prstGeom>
        </p:spPr>
        <p:txBody>
          <a:bodyPr/>
          <a:lstStyle>
            <a:lvl1pPr marL="0" indent="0" rtl="0">
              <a:lnSpc>
                <a:spcPct val="80000"/>
              </a:lnSpc>
              <a:spcAft>
                <a:spcPts val="0"/>
              </a:spcAft>
              <a:buFont typeface="Graphik" panose="020B0604020202020204" pitchFamily="34" charset="0"/>
              <a:buNone/>
              <a:defRPr lang="en-US" sz="1000" b="1" i="0" kern="1200" dirty="0">
                <a:solidFill>
                  <a:schemeClr val="accent2"/>
                </a:solidFill>
                <a:latin typeface="Graphik Semibold" panose="020B0503030202060203" pitchFamily="34" charset="77"/>
                <a:ea typeface="+mn-ea"/>
                <a:cs typeface="+mn-cs"/>
              </a:defRPr>
            </a:lvl1pPr>
            <a:lvl2pPr marL="0" indent="0" rtl="0">
              <a:spcAft>
                <a:spcPts val="800"/>
              </a:spcAft>
              <a:buNone/>
              <a:defRPr sz="1000" b="1" i="0">
                <a:solidFill>
                  <a:schemeClr val="accent2"/>
                </a:solidFill>
                <a:latin typeface="Graphik Semibold" panose="020B0503030202060203" pitchFamily="34" charset="77"/>
              </a:defRPr>
            </a:lvl2pPr>
            <a:lvl3pPr marL="0" indent="0" rtl="0">
              <a:spcAft>
                <a:spcPts val="267"/>
              </a:spcAft>
              <a:buNone/>
              <a:defRPr sz="1000" b="0" i="0">
                <a:solidFill>
                  <a:schemeClr val="tx1"/>
                </a:solidFill>
                <a:latin typeface="Graphik" panose="020B0503030202060203" pitchFamily="34" charset="77"/>
              </a:defRPr>
            </a:lvl3pPr>
            <a:lvl4pPr marL="182875" indent="-182875" rtl="0">
              <a:spcAft>
                <a:spcPts val="267"/>
              </a:spcAft>
              <a:buFont typeface="Graphik" panose="020B0604020202020204" pitchFamily="34" charset="0"/>
              <a:buChar char="•"/>
              <a:defRPr sz="1000" b="0" i="0">
                <a:solidFill>
                  <a:schemeClr val="tx1"/>
                </a:solidFill>
                <a:latin typeface="Graphik" panose="020B0503030202060203" pitchFamily="34" charset="77"/>
              </a:defRPr>
            </a:lvl4pPr>
            <a:lvl5pPr>
              <a:spcAft>
                <a:spcPts val="600"/>
              </a:spcAft>
              <a:defRPr sz="1600"/>
            </a:lvl5pPr>
          </a:lstStyle>
          <a:p>
            <a:pPr lvl="0"/>
            <a:r>
              <a:rPr lang="pt-BR"/>
              <a:t>First name</a:t>
            </a:r>
          </a:p>
          <a:p>
            <a:pPr lvl="1"/>
            <a:r>
              <a:rPr lang="pt-BR"/>
              <a:t>Surname or Role</a:t>
            </a:r>
          </a:p>
          <a:p>
            <a:pPr lvl="2"/>
            <a:r>
              <a:rPr lang="pt-BR"/>
              <a:t>Short bio</a:t>
            </a:r>
          </a:p>
          <a:p>
            <a:pPr lvl="3"/>
            <a:r>
              <a:rPr lang="pt-BR"/>
              <a:t>Bullet point</a:t>
            </a:r>
            <a:endParaRPr lang="pt-BR" dirty="0"/>
          </a:p>
        </p:txBody>
      </p:sp>
      <p:sp>
        <p:nvSpPr>
          <p:cNvPr id="68" name="Text Placeholder 4">
            <a:extLst>
              <a:ext uri="{FF2B5EF4-FFF2-40B4-BE49-F238E27FC236}">
                <a16:creationId xmlns:a16="http://schemas.microsoft.com/office/drawing/2014/main" id="{DE8A2EE3-FD03-89B1-82A0-A678E022E3DD}"/>
              </a:ext>
            </a:extLst>
          </p:cNvPr>
          <p:cNvSpPr>
            <a:spLocks noGrp="1"/>
          </p:cNvSpPr>
          <p:nvPr>
            <p:ph type="body" sz="quarter" idx="39" hasCustomPrompt="1"/>
          </p:nvPr>
        </p:nvSpPr>
        <p:spPr>
          <a:xfrm>
            <a:off x="2980178" y="4101793"/>
            <a:ext cx="1296000" cy="1439375"/>
          </a:xfrm>
          <a:prstGeom prst="rect">
            <a:avLst/>
          </a:prstGeom>
        </p:spPr>
        <p:txBody>
          <a:bodyPr/>
          <a:lstStyle>
            <a:lvl1pPr marL="0" indent="0" rtl="0">
              <a:lnSpc>
                <a:spcPct val="80000"/>
              </a:lnSpc>
              <a:spcAft>
                <a:spcPts val="0"/>
              </a:spcAft>
              <a:buFont typeface="Graphik" panose="020B0604020202020204" pitchFamily="34" charset="0"/>
              <a:buNone/>
              <a:defRPr lang="en-US" sz="1000" b="1" i="0" kern="1200" dirty="0">
                <a:solidFill>
                  <a:schemeClr val="accent2"/>
                </a:solidFill>
                <a:latin typeface="Graphik Semibold" panose="020B0503030202060203" pitchFamily="34" charset="77"/>
                <a:ea typeface="+mn-ea"/>
                <a:cs typeface="+mn-cs"/>
              </a:defRPr>
            </a:lvl1pPr>
            <a:lvl2pPr marL="0" indent="0" rtl="0">
              <a:spcAft>
                <a:spcPts val="800"/>
              </a:spcAft>
              <a:buNone/>
              <a:defRPr lang="en-US" sz="1000" b="1" i="0" kern="1200">
                <a:solidFill>
                  <a:schemeClr val="accent2"/>
                </a:solidFill>
                <a:latin typeface="Graphik Semibold" panose="020B0503030202060203" pitchFamily="34" charset="77"/>
                <a:ea typeface="+mn-ea"/>
                <a:cs typeface="+mn-cs"/>
              </a:defRPr>
            </a:lvl2pPr>
            <a:lvl3pPr marL="0" indent="0" rtl="0">
              <a:spcAft>
                <a:spcPts val="267"/>
              </a:spcAft>
              <a:buNone/>
              <a:defRPr sz="1000" b="0" i="0">
                <a:solidFill>
                  <a:schemeClr val="tx1"/>
                </a:solidFill>
                <a:latin typeface="Graphik" panose="020B0503030202060203" pitchFamily="34" charset="77"/>
              </a:defRPr>
            </a:lvl3pPr>
            <a:lvl4pPr marL="182875" indent="-182875" rtl="0">
              <a:spcAft>
                <a:spcPts val="267"/>
              </a:spcAft>
              <a:buFont typeface="Graphik" panose="020B0604020202020204" pitchFamily="34" charset="0"/>
              <a:buChar char="•"/>
              <a:defRPr sz="1000" b="0" i="0">
                <a:solidFill>
                  <a:schemeClr val="tx1"/>
                </a:solidFill>
                <a:latin typeface="Graphik" panose="020B0503030202060203" pitchFamily="34" charset="77"/>
              </a:defRPr>
            </a:lvl4pPr>
            <a:lvl5pPr>
              <a:spcAft>
                <a:spcPts val="600"/>
              </a:spcAft>
              <a:defRPr sz="1600"/>
            </a:lvl5pPr>
          </a:lstStyle>
          <a:p>
            <a:pPr marL="0" lvl="0" indent="0" algn="l" defTabSz="228594" rtl="0" eaLnBrk="1" latinLnBrk="0" hangingPunct="1">
              <a:lnSpc>
                <a:spcPct val="80000"/>
              </a:lnSpc>
              <a:spcBef>
                <a:spcPts val="0"/>
              </a:spcBef>
              <a:spcAft>
                <a:spcPts val="0"/>
              </a:spcAft>
              <a:buFont typeface="Graphik" panose="020B0604020202020204" pitchFamily="34" charset="0"/>
              <a:buNone/>
            </a:pPr>
            <a:r>
              <a:rPr lang="pt-BR"/>
              <a:t>First name</a:t>
            </a:r>
          </a:p>
          <a:p>
            <a:pPr marL="0" lvl="1" indent="0" algn="l" defTabSz="228594" rtl="0" eaLnBrk="1" latinLnBrk="0" hangingPunct="1">
              <a:lnSpc>
                <a:spcPct val="100000"/>
              </a:lnSpc>
              <a:spcBef>
                <a:spcPts val="0"/>
              </a:spcBef>
              <a:spcAft>
                <a:spcPts val="800"/>
              </a:spcAft>
              <a:buClrTx/>
              <a:buFont typeface="Arial" panose="020B0604020202020204" pitchFamily="34" charset="0"/>
              <a:buNone/>
            </a:pPr>
            <a:r>
              <a:rPr lang="pt-BR"/>
              <a:t>Surname or Role</a:t>
            </a:r>
          </a:p>
          <a:p>
            <a:pPr lvl="2"/>
            <a:r>
              <a:rPr lang="pt-BR"/>
              <a:t>Short bio</a:t>
            </a:r>
          </a:p>
          <a:p>
            <a:pPr lvl="3"/>
            <a:r>
              <a:rPr lang="pt-BR"/>
              <a:t>Bullet point</a:t>
            </a:r>
            <a:endParaRPr lang="pt-BR" dirty="0"/>
          </a:p>
        </p:txBody>
      </p:sp>
      <p:sp>
        <p:nvSpPr>
          <p:cNvPr id="69" name="Text Placeholder 5">
            <a:extLst>
              <a:ext uri="{FF2B5EF4-FFF2-40B4-BE49-F238E27FC236}">
                <a16:creationId xmlns:a16="http://schemas.microsoft.com/office/drawing/2014/main" id="{F179A0E0-1EF9-E854-A005-C3FFC783DADA}"/>
              </a:ext>
            </a:extLst>
          </p:cNvPr>
          <p:cNvSpPr>
            <a:spLocks noGrp="1"/>
          </p:cNvSpPr>
          <p:nvPr>
            <p:ph type="body" sz="quarter" idx="40" hasCustomPrompt="1"/>
          </p:nvPr>
        </p:nvSpPr>
        <p:spPr>
          <a:xfrm>
            <a:off x="4540034" y="4101793"/>
            <a:ext cx="1296000" cy="1439375"/>
          </a:xfrm>
          <a:prstGeom prst="rect">
            <a:avLst/>
          </a:prstGeom>
        </p:spPr>
        <p:txBody>
          <a:bodyPr/>
          <a:lstStyle>
            <a:lvl1pPr marL="0" indent="0" rtl="0">
              <a:lnSpc>
                <a:spcPct val="80000"/>
              </a:lnSpc>
              <a:spcAft>
                <a:spcPts val="0"/>
              </a:spcAft>
              <a:buFont typeface="Graphik" panose="020B0604020202020204" pitchFamily="34" charset="0"/>
              <a:buNone/>
              <a:defRPr lang="en-US" sz="1000" b="1" i="0" kern="1200" dirty="0">
                <a:solidFill>
                  <a:schemeClr val="accent2"/>
                </a:solidFill>
                <a:latin typeface="Graphik Semibold" panose="020B0503030202060203" pitchFamily="34" charset="77"/>
                <a:ea typeface="+mn-ea"/>
                <a:cs typeface="+mn-cs"/>
              </a:defRPr>
            </a:lvl1pPr>
            <a:lvl2pPr marL="0" indent="0" rtl="0">
              <a:spcAft>
                <a:spcPts val="800"/>
              </a:spcAft>
              <a:buNone/>
              <a:defRPr lang="en-US" sz="1000" b="1" i="0" kern="1200">
                <a:solidFill>
                  <a:schemeClr val="accent2"/>
                </a:solidFill>
                <a:latin typeface="Graphik Semibold" panose="020B0503030202060203" pitchFamily="34" charset="77"/>
                <a:ea typeface="+mn-ea"/>
                <a:cs typeface="+mn-cs"/>
              </a:defRPr>
            </a:lvl2pPr>
            <a:lvl3pPr marL="0" indent="0" rtl="0">
              <a:spcAft>
                <a:spcPts val="267"/>
              </a:spcAft>
              <a:buNone/>
              <a:defRPr sz="1000" b="0" i="0">
                <a:solidFill>
                  <a:schemeClr val="tx1"/>
                </a:solidFill>
                <a:latin typeface="Graphik" panose="020B0503030202060203" pitchFamily="34" charset="77"/>
              </a:defRPr>
            </a:lvl3pPr>
            <a:lvl4pPr marL="182875" indent="-182875" rtl="0">
              <a:spcAft>
                <a:spcPts val="267"/>
              </a:spcAft>
              <a:buFont typeface="Graphik" panose="020B0604020202020204" pitchFamily="34" charset="0"/>
              <a:buChar char="•"/>
              <a:defRPr sz="1000" b="0" i="0">
                <a:solidFill>
                  <a:schemeClr val="tx1"/>
                </a:solidFill>
                <a:latin typeface="Graphik" panose="020B0503030202060203" pitchFamily="34" charset="77"/>
              </a:defRPr>
            </a:lvl4pPr>
            <a:lvl5pPr>
              <a:spcAft>
                <a:spcPts val="600"/>
              </a:spcAft>
              <a:defRPr sz="1600"/>
            </a:lvl5pPr>
          </a:lstStyle>
          <a:p>
            <a:pPr marL="0" lvl="0" indent="0" algn="l" defTabSz="228594" rtl="0" eaLnBrk="1" latinLnBrk="0" hangingPunct="1">
              <a:lnSpc>
                <a:spcPct val="80000"/>
              </a:lnSpc>
              <a:spcBef>
                <a:spcPts val="0"/>
              </a:spcBef>
              <a:spcAft>
                <a:spcPts val="0"/>
              </a:spcAft>
              <a:buFont typeface="Graphik" panose="020B0604020202020204" pitchFamily="34" charset="0"/>
              <a:buNone/>
            </a:pPr>
            <a:r>
              <a:rPr lang="pt-BR"/>
              <a:t>First name</a:t>
            </a:r>
          </a:p>
          <a:p>
            <a:pPr marL="0" lvl="1" indent="0" algn="l" defTabSz="228594" rtl="0" eaLnBrk="1" latinLnBrk="0" hangingPunct="1">
              <a:lnSpc>
                <a:spcPct val="100000"/>
              </a:lnSpc>
              <a:spcBef>
                <a:spcPts val="0"/>
              </a:spcBef>
              <a:spcAft>
                <a:spcPts val="800"/>
              </a:spcAft>
              <a:buClrTx/>
              <a:buFont typeface="Arial" panose="020B0604020202020204" pitchFamily="34" charset="0"/>
              <a:buNone/>
            </a:pPr>
            <a:r>
              <a:rPr lang="pt-BR"/>
              <a:t>Surname or Role</a:t>
            </a:r>
          </a:p>
          <a:p>
            <a:pPr lvl="2"/>
            <a:r>
              <a:rPr lang="pt-BR"/>
              <a:t>Short bio</a:t>
            </a:r>
          </a:p>
          <a:p>
            <a:pPr lvl="3"/>
            <a:r>
              <a:rPr lang="pt-BR"/>
              <a:t>Bullet point</a:t>
            </a:r>
            <a:endParaRPr lang="pt-BR" dirty="0"/>
          </a:p>
        </p:txBody>
      </p:sp>
      <p:sp>
        <p:nvSpPr>
          <p:cNvPr id="70" name="Text Placeholder 6">
            <a:extLst>
              <a:ext uri="{FF2B5EF4-FFF2-40B4-BE49-F238E27FC236}">
                <a16:creationId xmlns:a16="http://schemas.microsoft.com/office/drawing/2014/main" id="{98575771-F64F-E2C2-0963-4F7DA15F5336}"/>
              </a:ext>
            </a:extLst>
          </p:cNvPr>
          <p:cNvSpPr>
            <a:spLocks noGrp="1"/>
          </p:cNvSpPr>
          <p:nvPr>
            <p:ph type="body" sz="quarter" idx="41" hasCustomPrompt="1"/>
          </p:nvPr>
        </p:nvSpPr>
        <p:spPr>
          <a:xfrm>
            <a:off x="6099890" y="4101793"/>
            <a:ext cx="1296000" cy="1439375"/>
          </a:xfrm>
          <a:prstGeom prst="rect">
            <a:avLst/>
          </a:prstGeom>
        </p:spPr>
        <p:txBody>
          <a:bodyPr/>
          <a:lstStyle>
            <a:lvl1pPr marL="0" indent="0" rtl="0">
              <a:lnSpc>
                <a:spcPct val="80000"/>
              </a:lnSpc>
              <a:spcAft>
                <a:spcPts val="0"/>
              </a:spcAft>
              <a:buFont typeface="Graphik" panose="020B0604020202020204" pitchFamily="34" charset="0"/>
              <a:buNone/>
              <a:defRPr lang="en-US" sz="1000" b="1" i="0" kern="1200" dirty="0">
                <a:solidFill>
                  <a:schemeClr val="accent2"/>
                </a:solidFill>
                <a:latin typeface="Graphik Semibold" panose="020B0503030202060203" pitchFamily="34" charset="77"/>
                <a:ea typeface="+mn-ea"/>
                <a:cs typeface="+mn-cs"/>
              </a:defRPr>
            </a:lvl1pPr>
            <a:lvl2pPr marL="0" indent="0" rtl="0">
              <a:spcAft>
                <a:spcPts val="800"/>
              </a:spcAft>
              <a:buNone/>
              <a:defRPr lang="en-US" sz="1000" b="1" i="0" kern="1200">
                <a:solidFill>
                  <a:schemeClr val="accent2"/>
                </a:solidFill>
                <a:latin typeface="Graphik Semibold" panose="020B0503030202060203" pitchFamily="34" charset="77"/>
                <a:ea typeface="+mn-ea"/>
                <a:cs typeface="+mn-cs"/>
              </a:defRPr>
            </a:lvl2pPr>
            <a:lvl3pPr marL="0" indent="0" rtl="0">
              <a:spcAft>
                <a:spcPts val="267"/>
              </a:spcAft>
              <a:buNone/>
              <a:defRPr sz="1000" b="0" i="0">
                <a:solidFill>
                  <a:schemeClr val="tx1"/>
                </a:solidFill>
                <a:latin typeface="Graphik" panose="020B0503030202060203" pitchFamily="34" charset="77"/>
              </a:defRPr>
            </a:lvl3pPr>
            <a:lvl4pPr marL="182875" indent="-182875" rtl="0">
              <a:spcAft>
                <a:spcPts val="267"/>
              </a:spcAft>
              <a:buFont typeface="Graphik" panose="020B0604020202020204" pitchFamily="34" charset="0"/>
              <a:buChar char="•"/>
              <a:defRPr sz="1000" b="0" i="0">
                <a:solidFill>
                  <a:schemeClr val="tx1"/>
                </a:solidFill>
                <a:latin typeface="Graphik" panose="020B0503030202060203" pitchFamily="34" charset="77"/>
              </a:defRPr>
            </a:lvl4pPr>
            <a:lvl5pPr>
              <a:spcAft>
                <a:spcPts val="600"/>
              </a:spcAft>
              <a:defRPr sz="1600"/>
            </a:lvl5pPr>
          </a:lstStyle>
          <a:p>
            <a:pPr marL="0" lvl="0" indent="0" algn="l" defTabSz="228594" rtl="0" eaLnBrk="1" latinLnBrk="0" hangingPunct="1">
              <a:lnSpc>
                <a:spcPct val="80000"/>
              </a:lnSpc>
              <a:spcBef>
                <a:spcPts val="0"/>
              </a:spcBef>
              <a:spcAft>
                <a:spcPts val="0"/>
              </a:spcAft>
              <a:buFont typeface="Graphik" panose="020B0604020202020204" pitchFamily="34" charset="0"/>
              <a:buNone/>
            </a:pPr>
            <a:r>
              <a:rPr lang="pt-BR"/>
              <a:t>First name</a:t>
            </a:r>
          </a:p>
          <a:p>
            <a:pPr marL="0" lvl="1" indent="0" algn="l" defTabSz="228594" rtl="0" eaLnBrk="1" latinLnBrk="0" hangingPunct="1">
              <a:lnSpc>
                <a:spcPct val="100000"/>
              </a:lnSpc>
              <a:spcBef>
                <a:spcPts val="0"/>
              </a:spcBef>
              <a:spcAft>
                <a:spcPts val="800"/>
              </a:spcAft>
              <a:buClrTx/>
              <a:buFont typeface="Arial" panose="020B0604020202020204" pitchFamily="34" charset="0"/>
              <a:buNone/>
            </a:pPr>
            <a:r>
              <a:rPr lang="pt-BR"/>
              <a:t>Surname or Role</a:t>
            </a:r>
          </a:p>
          <a:p>
            <a:pPr lvl="2"/>
            <a:r>
              <a:rPr lang="pt-BR"/>
              <a:t>Short bio</a:t>
            </a:r>
          </a:p>
          <a:p>
            <a:pPr lvl="3"/>
            <a:r>
              <a:rPr lang="pt-BR"/>
              <a:t>Bullet point</a:t>
            </a:r>
            <a:endParaRPr lang="pt-BR" dirty="0"/>
          </a:p>
        </p:txBody>
      </p:sp>
      <p:sp>
        <p:nvSpPr>
          <p:cNvPr id="71" name="Text Placeholder 7">
            <a:extLst>
              <a:ext uri="{FF2B5EF4-FFF2-40B4-BE49-F238E27FC236}">
                <a16:creationId xmlns:a16="http://schemas.microsoft.com/office/drawing/2014/main" id="{6067F82A-448D-AF56-DCF9-8FC95A5EA87D}"/>
              </a:ext>
            </a:extLst>
          </p:cNvPr>
          <p:cNvSpPr>
            <a:spLocks noGrp="1"/>
          </p:cNvSpPr>
          <p:nvPr>
            <p:ph type="body" sz="quarter" idx="42" hasCustomPrompt="1"/>
          </p:nvPr>
        </p:nvSpPr>
        <p:spPr>
          <a:xfrm>
            <a:off x="7659746" y="4101793"/>
            <a:ext cx="1296000" cy="1439375"/>
          </a:xfrm>
          <a:prstGeom prst="rect">
            <a:avLst/>
          </a:prstGeom>
        </p:spPr>
        <p:txBody>
          <a:bodyPr/>
          <a:lstStyle>
            <a:lvl1pPr marL="0" indent="0" rtl="0">
              <a:lnSpc>
                <a:spcPct val="80000"/>
              </a:lnSpc>
              <a:spcAft>
                <a:spcPts val="0"/>
              </a:spcAft>
              <a:buFont typeface="Graphik" panose="020B0604020202020204" pitchFamily="34" charset="0"/>
              <a:buNone/>
              <a:defRPr lang="en-US" sz="1000" b="1" i="0" kern="1200" dirty="0">
                <a:solidFill>
                  <a:schemeClr val="accent2"/>
                </a:solidFill>
                <a:latin typeface="Graphik Semibold" panose="020B0503030202060203" pitchFamily="34" charset="77"/>
                <a:ea typeface="+mn-ea"/>
                <a:cs typeface="+mn-cs"/>
              </a:defRPr>
            </a:lvl1pPr>
            <a:lvl2pPr marL="0" indent="0" rtl="0">
              <a:spcAft>
                <a:spcPts val="800"/>
              </a:spcAft>
              <a:buNone/>
              <a:defRPr lang="en-US" sz="1000" b="1" i="0" kern="1200">
                <a:solidFill>
                  <a:schemeClr val="accent2"/>
                </a:solidFill>
                <a:latin typeface="Graphik Semibold" panose="020B0503030202060203" pitchFamily="34" charset="77"/>
                <a:ea typeface="+mn-ea"/>
                <a:cs typeface="+mn-cs"/>
              </a:defRPr>
            </a:lvl2pPr>
            <a:lvl3pPr marL="0" indent="0" rtl="0">
              <a:spcAft>
                <a:spcPts val="267"/>
              </a:spcAft>
              <a:buNone/>
              <a:defRPr sz="1000" b="0" i="0">
                <a:solidFill>
                  <a:schemeClr val="tx1"/>
                </a:solidFill>
                <a:latin typeface="Graphik" panose="020B0503030202060203" pitchFamily="34" charset="77"/>
              </a:defRPr>
            </a:lvl3pPr>
            <a:lvl4pPr marL="182875" indent="-182875" rtl="0">
              <a:spcAft>
                <a:spcPts val="267"/>
              </a:spcAft>
              <a:buFont typeface="Graphik" panose="020B0604020202020204" pitchFamily="34" charset="0"/>
              <a:buChar char="•"/>
              <a:defRPr sz="1000" b="0" i="0">
                <a:solidFill>
                  <a:schemeClr val="tx1"/>
                </a:solidFill>
                <a:latin typeface="Graphik" panose="020B0503030202060203" pitchFamily="34" charset="77"/>
              </a:defRPr>
            </a:lvl4pPr>
            <a:lvl5pPr>
              <a:spcAft>
                <a:spcPts val="600"/>
              </a:spcAft>
              <a:defRPr sz="1600"/>
            </a:lvl5pPr>
          </a:lstStyle>
          <a:p>
            <a:pPr marL="0" lvl="0" indent="0" algn="l" defTabSz="228594" rtl="0" eaLnBrk="1" latinLnBrk="0" hangingPunct="1">
              <a:lnSpc>
                <a:spcPct val="80000"/>
              </a:lnSpc>
              <a:spcBef>
                <a:spcPts val="0"/>
              </a:spcBef>
              <a:spcAft>
                <a:spcPts val="0"/>
              </a:spcAft>
              <a:buFont typeface="Graphik" panose="020B0604020202020204" pitchFamily="34" charset="0"/>
              <a:buNone/>
            </a:pPr>
            <a:r>
              <a:rPr lang="pt-BR"/>
              <a:t>First name</a:t>
            </a:r>
          </a:p>
          <a:p>
            <a:pPr marL="0" lvl="1" indent="0" algn="l" defTabSz="228594" rtl="0" eaLnBrk="1" latinLnBrk="0" hangingPunct="1">
              <a:lnSpc>
                <a:spcPct val="100000"/>
              </a:lnSpc>
              <a:spcBef>
                <a:spcPts val="0"/>
              </a:spcBef>
              <a:spcAft>
                <a:spcPts val="800"/>
              </a:spcAft>
              <a:buClrTx/>
              <a:buFont typeface="Arial" panose="020B0604020202020204" pitchFamily="34" charset="0"/>
              <a:buNone/>
            </a:pPr>
            <a:r>
              <a:rPr lang="pt-BR"/>
              <a:t>Surname or Role</a:t>
            </a:r>
          </a:p>
          <a:p>
            <a:pPr lvl="2"/>
            <a:r>
              <a:rPr lang="pt-BR"/>
              <a:t>Short bio</a:t>
            </a:r>
          </a:p>
          <a:p>
            <a:pPr lvl="3"/>
            <a:r>
              <a:rPr lang="pt-BR"/>
              <a:t>Bullet point</a:t>
            </a:r>
            <a:endParaRPr lang="pt-BR" dirty="0"/>
          </a:p>
        </p:txBody>
      </p:sp>
      <p:sp>
        <p:nvSpPr>
          <p:cNvPr id="72" name="Text Placeholder 8">
            <a:extLst>
              <a:ext uri="{FF2B5EF4-FFF2-40B4-BE49-F238E27FC236}">
                <a16:creationId xmlns:a16="http://schemas.microsoft.com/office/drawing/2014/main" id="{C90D0832-8997-2CF3-4C1C-76EC7DBBE377}"/>
              </a:ext>
            </a:extLst>
          </p:cNvPr>
          <p:cNvSpPr>
            <a:spLocks noGrp="1"/>
          </p:cNvSpPr>
          <p:nvPr>
            <p:ph type="body" sz="quarter" idx="43" hasCustomPrompt="1"/>
          </p:nvPr>
        </p:nvSpPr>
        <p:spPr>
          <a:xfrm>
            <a:off x="9219600" y="4101793"/>
            <a:ext cx="1296000" cy="1439375"/>
          </a:xfrm>
          <a:prstGeom prst="rect">
            <a:avLst/>
          </a:prstGeom>
        </p:spPr>
        <p:txBody>
          <a:bodyPr/>
          <a:lstStyle>
            <a:lvl1pPr marL="0" indent="0" rtl="0">
              <a:lnSpc>
                <a:spcPct val="80000"/>
              </a:lnSpc>
              <a:spcAft>
                <a:spcPts val="0"/>
              </a:spcAft>
              <a:buFont typeface="Graphik" panose="020B0604020202020204" pitchFamily="34" charset="0"/>
              <a:buNone/>
              <a:defRPr lang="en-US" sz="1000" b="1" i="0" kern="1200" dirty="0">
                <a:solidFill>
                  <a:schemeClr val="accent2"/>
                </a:solidFill>
                <a:latin typeface="Graphik Semibold" panose="020B0503030202060203" pitchFamily="34" charset="77"/>
                <a:ea typeface="+mn-ea"/>
                <a:cs typeface="+mn-cs"/>
              </a:defRPr>
            </a:lvl1pPr>
            <a:lvl2pPr marL="0" indent="0" rtl="0">
              <a:spcAft>
                <a:spcPts val="800"/>
              </a:spcAft>
              <a:buNone/>
              <a:defRPr lang="en-US" sz="1000" b="1" i="0" kern="1200">
                <a:solidFill>
                  <a:schemeClr val="accent2"/>
                </a:solidFill>
                <a:latin typeface="Graphik Semibold" panose="020B0503030202060203" pitchFamily="34" charset="77"/>
                <a:ea typeface="+mn-ea"/>
                <a:cs typeface="+mn-cs"/>
              </a:defRPr>
            </a:lvl2pPr>
            <a:lvl3pPr marL="0" indent="0" rtl="0">
              <a:spcAft>
                <a:spcPts val="267"/>
              </a:spcAft>
              <a:buNone/>
              <a:defRPr sz="1000" b="0" i="0">
                <a:solidFill>
                  <a:schemeClr val="tx1"/>
                </a:solidFill>
                <a:latin typeface="Graphik" panose="020B0503030202060203" pitchFamily="34" charset="77"/>
              </a:defRPr>
            </a:lvl3pPr>
            <a:lvl4pPr marL="182875" indent="-182875" rtl="0">
              <a:spcAft>
                <a:spcPts val="267"/>
              </a:spcAft>
              <a:buFont typeface="Graphik" panose="020B0604020202020204" pitchFamily="34" charset="0"/>
              <a:buChar char="•"/>
              <a:defRPr sz="1000" b="0" i="0">
                <a:solidFill>
                  <a:schemeClr val="tx1"/>
                </a:solidFill>
                <a:latin typeface="Graphik" panose="020B0503030202060203" pitchFamily="34" charset="77"/>
              </a:defRPr>
            </a:lvl4pPr>
            <a:lvl5pPr>
              <a:spcAft>
                <a:spcPts val="600"/>
              </a:spcAft>
              <a:defRPr sz="1600"/>
            </a:lvl5pPr>
          </a:lstStyle>
          <a:p>
            <a:pPr marL="0" lvl="0" indent="0" algn="l" defTabSz="228594" rtl="0" eaLnBrk="1" latinLnBrk="0" hangingPunct="1">
              <a:lnSpc>
                <a:spcPct val="80000"/>
              </a:lnSpc>
              <a:spcBef>
                <a:spcPts val="0"/>
              </a:spcBef>
              <a:spcAft>
                <a:spcPts val="0"/>
              </a:spcAft>
              <a:buFont typeface="Graphik" panose="020B0604020202020204" pitchFamily="34" charset="0"/>
              <a:buNone/>
            </a:pPr>
            <a:r>
              <a:rPr lang="pt-BR"/>
              <a:t>First name</a:t>
            </a:r>
          </a:p>
          <a:p>
            <a:pPr marL="0" lvl="1" indent="0" algn="l" defTabSz="228594" rtl="0" eaLnBrk="1" latinLnBrk="0" hangingPunct="1">
              <a:lnSpc>
                <a:spcPct val="100000"/>
              </a:lnSpc>
              <a:spcBef>
                <a:spcPts val="0"/>
              </a:spcBef>
              <a:spcAft>
                <a:spcPts val="800"/>
              </a:spcAft>
              <a:buClrTx/>
              <a:buFont typeface="Arial" panose="020B0604020202020204" pitchFamily="34" charset="0"/>
              <a:buNone/>
            </a:pPr>
            <a:r>
              <a:rPr lang="pt-BR"/>
              <a:t>Surname or Role</a:t>
            </a:r>
          </a:p>
          <a:p>
            <a:pPr lvl="2"/>
            <a:r>
              <a:rPr lang="pt-BR"/>
              <a:t>Short bio</a:t>
            </a:r>
          </a:p>
          <a:p>
            <a:pPr lvl="3"/>
            <a:r>
              <a:rPr lang="pt-BR"/>
              <a:t>Bullet point</a:t>
            </a:r>
            <a:endParaRPr lang="pt-BR" dirty="0"/>
          </a:p>
        </p:txBody>
      </p:sp>
    </p:spTree>
    <p:extLst>
      <p:ext uri="{BB962C8B-B14F-4D97-AF65-F5344CB8AC3E}">
        <p14:creationId xmlns:p14="http://schemas.microsoft.com/office/powerpoint/2010/main" val="296678318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777" userDrawn="1">
          <p15:clr>
            <a:srgbClr val="C35E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team + column dark mode">
    <p:bg>
      <p:bgRef idx="1001">
        <a:schemeClr val="bg1"/>
      </p:bgRef>
    </p:bg>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C8A322-0DC5-4F98-CFEB-6CCCC5D99F33}"/>
              </a:ext>
            </a:extLst>
          </p:cNvPr>
          <p:cNvGraphicFramePr>
            <a:graphicFrameLocks noChangeAspect="1"/>
          </p:cNvGraphicFramePr>
          <p:nvPr userDrawn="1">
            <p:custDataLst>
              <p:tags r:id="rId1"/>
            </p:custDataLst>
            <p:extLst>
              <p:ext uri="{D42A27DB-BD31-4B8C-83A1-F6EECF244321}">
                <p14:modId xmlns:p14="http://schemas.microsoft.com/office/powerpoint/2010/main" val="2655778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13" name="think-cell data - do not delete" hidden="1">
                        <a:extLst>
                          <a:ext uri="{FF2B5EF4-FFF2-40B4-BE49-F238E27FC236}">
                            <a16:creationId xmlns:a16="http://schemas.microsoft.com/office/drawing/2014/main" id="{DEC8A322-0DC5-4F98-CFEB-6CCCC5D99F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8" name="Title 2">
            <a:extLst>
              <a:ext uri="{FF2B5EF4-FFF2-40B4-BE49-F238E27FC236}">
                <a16:creationId xmlns:a16="http://schemas.microsoft.com/office/drawing/2014/main" id="{AF158A12-E108-974D-4A28-D2DDBC9F2451}"/>
              </a:ext>
            </a:extLst>
          </p:cNvPr>
          <p:cNvSpPr>
            <a:spLocks noGrp="1"/>
          </p:cNvSpPr>
          <p:nvPr>
            <p:ph type="title"/>
          </p:nvPr>
        </p:nvSpPr>
        <p:spPr>
          <a:xfrm>
            <a:off x="556467" y="572600"/>
            <a:ext cx="11084672" cy="393954"/>
          </a:xfrm>
        </p:spPr>
        <p:txBody>
          <a:bodyPr vert="horz"/>
          <a:lstStyle>
            <a:lvl1pPr rtl="0">
              <a:defRPr/>
            </a:lvl1pPr>
          </a:lstStyle>
          <a:p>
            <a:r>
              <a:rPr lang="pt-BR"/>
              <a:t>Click to edit Master title style</a:t>
            </a:r>
            <a:endParaRPr lang="pt-BR" dirty="0"/>
          </a:p>
        </p:txBody>
      </p:sp>
      <p:sp>
        <p:nvSpPr>
          <p:cNvPr id="10" name="Text Placeholder 2">
            <a:extLst>
              <a:ext uri="{FF2B5EF4-FFF2-40B4-BE49-F238E27FC236}">
                <a16:creationId xmlns:a16="http://schemas.microsoft.com/office/drawing/2014/main" id="{2A02CBC2-D34A-FE3B-A3F7-4E4A194F2668}"/>
              </a:ext>
            </a:extLst>
          </p:cNvPr>
          <p:cNvSpPr>
            <a:spLocks noGrp="1"/>
          </p:cNvSpPr>
          <p:nvPr>
            <p:ph type="body" sz="quarter" idx="42" hasCustomPrompt="1"/>
          </p:nvPr>
        </p:nvSpPr>
        <p:spPr>
          <a:xfrm>
            <a:off x="563409" y="1355292"/>
            <a:ext cx="3540355" cy="4757969"/>
          </a:xfrm>
          <a:prstGeom prst="rect">
            <a:avLst/>
          </a:prstGeom>
        </p:spPr>
        <p:txBody>
          <a:bodyPr/>
          <a:lstStyle>
            <a:lvl1pPr marL="0" indent="0" rtl="0">
              <a:buNone/>
              <a:defRPr sz="2000" b="0" i="0">
                <a:latin typeface="Graphik" panose="020B0503030202060203" pitchFamily="34" charset="77"/>
              </a:defRPr>
            </a:lvl1pPr>
            <a:lvl2pPr rtl="0">
              <a:defRPr sz="1600" b="0" i="0">
                <a:latin typeface="Graphik" panose="020B0503030202060203" pitchFamily="34" charset="77"/>
              </a:defRPr>
            </a:lvl2pPr>
            <a:lvl3pPr rtl="0">
              <a:defRPr sz="1600" b="0" i="0">
                <a:latin typeface="Graphik" panose="020B0503030202060203" pitchFamily="34" charset="77"/>
              </a:defRPr>
            </a:lvl3pPr>
            <a:lvl4pPr rtl="0">
              <a:defRPr sz="1400" b="0" i="0">
                <a:latin typeface="Graphik" panose="020B0503030202060203" pitchFamily="34" charset="77"/>
              </a:defRPr>
            </a:lvl4pPr>
            <a:lvl5pPr rtl="0">
              <a:defRPr sz="1400" b="0" i="0">
                <a:latin typeface="Graphik" panose="020B0503030202060203" pitchFamily="34" charset="77"/>
              </a:defRPr>
            </a:lvl5pPr>
          </a:lstStyle>
          <a:p>
            <a:pPr lvl="0"/>
            <a:r>
              <a:rPr lang="pt-BR"/>
              <a:t>Place sub-headline here in Graphik, indent for other levels</a:t>
            </a:r>
          </a:p>
          <a:p>
            <a:pPr lvl="1"/>
            <a:r>
              <a:rPr lang="pt-BR"/>
              <a:t>Second level</a:t>
            </a:r>
          </a:p>
          <a:p>
            <a:pPr lvl="2"/>
            <a:r>
              <a:rPr lang="pt-BR"/>
              <a:t>Third level bullet</a:t>
            </a:r>
          </a:p>
          <a:p>
            <a:pPr lvl="3"/>
            <a:r>
              <a:rPr lang="pt-BR"/>
              <a:t>Fourth level bullet</a:t>
            </a:r>
          </a:p>
          <a:p>
            <a:pPr lvl="4"/>
            <a:r>
              <a:rPr lang="pt-BR"/>
              <a:t>Fifth level bullet</a:t>
            </a:r>
            <a:endParaRPr lang="pt-BR" dirty="0"/>
          </a:p>
        </p:txBody>
      </p:sp>
      <p:sp>
        <p:nvSpPr>
          <p:cNvPr id="59" name="Picture Placeholder 6">
            <a:extLst>
              <a:ext uri="{FF2B5EF4-FFF2-40B4-BE49-F238E27FC236}">
                <a16:creationId xmlns:a16="http://schemas.microsoft.com/office/drawing/2014/main" id="{D9BDCE52-89A2-2B74-090A-1C2EF4190943}"/>
              </a:ext>
            </a:extLst>
          </p:cNvPr>
          <p:cNvSpPr>
            <a:spLocks noGrp="1" noChangeAspect="1"/>
          </p:cNvSpPr>
          <p:nvPr>
            <p:ph type="pic" sz="quarter" idx="16" hasCustomPrompt="1"/>
          </p:nvPr>
        </p:nvSpPr>
        <p:spPr>
          <a:xfrm>
            <a:off x="4750100" y="1355292"/>
            <a:ext cx="1180800" cy="1180800"/>
          </a:xfrm>
          <a:prstGeom prst="rect">
            <a:avLst/>
          </a:prstGeom>
          <a:solidFill>
            <a:schemeClr val="tx1">
              <a:lumMod val="95000"/>
            </a:schemeClr>
          </a:solidFill>
        </p:spPr>
        <p:txBody>
          <a:bodyPr vert="horz" lIns="0" tIns="0" rIns="0" bIns="0" rtlCol="0" anchor="ctr">
            <a:noAutofit/>
          </a:bodyPr>
          <a:lstStyle>
            <a:lvl1pPr marL="0" indent="0" algn="ctr" rtl="0">
              <a:buNone/>
              <a:defRPr lang="en-US" sz="1400" b="0" i="0" dirty="0">
                <a:solidFill>
                  <a:schemeClr val="bg1"/>
                </a:solidFill>
                <a:latin typeface="Graphik" panose="020B0503030202060203" pitchFamily="34" charset="77"/>
              </a:defRPr>
            </a:lvl1pPr>
          </a:lstStyle>
          <a:p>
            <a:pPr lvl="0"/>
            <a:r>
              <a:rPr lang="pt-BR"/>
              <a:t>Add profile photo</a:t>
            </a:r>
            <a:endParaRPr lang="pt-BR" dirty="0"/>
          </a:p>
        </p:txBody>
      </p:sp>
      <p:sp>
        <p:nvSpPr>
          <p:cNvPr id="60" name="Picture Placeholder 8">
            <a:extLst>
              <a:ext uri="{FF2B5EF4-FFF2-40B4-BE49-F238E27FC236}">
                <a16:creationId xmlns:a16="http://schemas.microsoft.com/office/drawing/2014/main" id="{719A3D27-6186-F931-9BF2-812767B56DF4}"/>
              </a:ext>
            </a:extLst>
          </p:cNvPr>
          <p:cNvSpPr>
            <a:spLocks noGrp="1" noChangeAspect="1"/>
          </p:cNvSpPr>
          <p:nvPr>
            <p:ph type="pic" sz="quarter" idx="17" hasCustomPrompt="1"/>
          </p:nvPr>
        </p:nvSpPr>
        <p:spPr>
          <a:xfrm>
            <a:off x="6532027" y="1355292"/>
            <a:ext cx="1180800" cy="1180800"/>
          </a:xfrm>
          <a:prstGeom prst="rect">
            <a:avLst/>
          </a:prstGeom>
          <a:solidFill>
            <a:schemeClr val="tx1">
              <a:lumMod val="95000"/>
            </a:schemeClr>
          </a:solidFill>
        </p:spPr>
        <p:txBody>
          <a:bodyPr vert="horz" lIns="0" tIns="0" rIns="0" bIns="0" rtlCol="0" anchor="ctr">
            <a:noAutofit/>
          </a:bodyPr>
          <a:lstStyle>
            <a:lvl1pPr marL="0" indent="0" algn="ctr" rtl="0">
              <a:buNone/>
              <a:defRPr lang="en-US" sz="1400" b="0" i="0" dirty="0">
                <a:solidFill>
                  <a:schemeClr val="bg1"/>
                </a:solidFill>
                <a:latin typeface="Graphik" panose="020B0503030202060203" pitchFamily="34" charset="77"/>
              </a:defRPr>
            </a:lvl1pPr>
          </a:lstStyle>
          <a:p>
            <a:pPr lvl="0"/>
            <a:r>
              <a:rPr lang="pt-BR"/>
              <a:t>Add profile photo</a:t>
            </a:r>
            <a:endParaRPr lang="pt-BR" dirty="0"/>
          </a:p>
        </p:txBody>
      </p:sp>
      <p:sp>
        <p:nvSpPr>
          <p:cNvPr id="61" name="Picture Placeholder 10">
            <a:extLst>
              <a:ext uri="{FF2B5EF4-FFF2-40B4-BE49-F238E27FC236}">
                <a16:creationId xmlns:a16="http://schemas.microsoft.com/office/drawing/2014/main" id="{221FD96F-56ED-3F4E-D5EC-ECE899136886}"/>
              </a:ext>
            </a:extLst>
          </p:cNvPr>
          <p:cNvSpPr>
            <a:spLocks noGrp="1" noChangeAspect="1"/>
          </p:cNvSpPr>
          <p:nvPr>
            <p:ph type="pic" sz="quarter" idx="24" hasCustomPrompt="1"/>
          </p:nvPr>
        </p:nvSpPr>
        <p:spPr>
          <a:xfrm>
            <a:off x="8313954" y="1355292"/>
            <a:ext cx="1180800" cy="1180800"/>
          </a:xfrm>
          <a:prstGeom prst="rect">
            <a:avLst/>
          </a:prstGeom>
          <a:solidFill>
            <a:schemeClr val="tx1">
              <a:lumMod val="95000"/>
            </a:schemeClr>
          </a:solidFill>
        </p:spPr>
        <p:txBody>
          <a:bodyPr vert="horz" lIns="0" tIns="0" rIns="0" bIns="0" rtlCol="0" anchor="ctr">
            <a:noAutofit/>
          </a:bodyPr>
          <a:lstStyle>
            <a:lvl1pPr marL="0" indent="0" algn="ctr" rtl="0">
              <a:buNone/>
              <a:defRPr lang="en-US" sz="1400" b="0" i="0" dirty="0">
                <a:solidFill>
                  <a:schemeClr val="bg1"/>
                </a:solidFill>
                <a:latin typeface="Graphik" panose="020B0503030202060203" pitchFamily="34" charset="77"/>
              </a:defRPr>
            </a:lvl1pPr>
          </a:lstStyle>
          <a:p>
            <a:pPr lvl="0"/>
            <a:r>
              <a:rPr lang="pt-BR"/>
              <a:t>Add profile photo</a:t>
            </a:r>
            <a:endParaRPr lang="pt-BR" dirty="0"/>
          </a:p>
        </p:txBody>
      </p:sp>
      <p:sp>
        <p:nvSpPr>
          <p:cNvPr id="62" name="Picture Placeholder 12">
            <a:extLst>
              <a:ext uri="{FF2B5EF4-FFF2-40B4-BE49-F238E27FC236}">
                <a16:creationId xmlns:a16="http://schemas.microsoft.com/office/drawing/2014/main" id="{BE2DD9EE-FBA3-C33C-873A-4515866F5D79}"/>
              </a:ext>
            </a:extLst>
          </p:cNvPr>
          <p:cNvSpPr>
            <a:spLocks noGrp="1" noChangeAspect="1"/>
          </p:cNvSpPr>
          <p:nvPr>
            <p:ph type="pic" sz="quarter" idx="18" hasCustomPrompt="1"/>
          </p:nvPr>
        </p:nvSpPr>
        <p:spPr>
          <a:xfrm>
            <a:off x="10095882" y="1355292"/>
            <a:ext cx="1180800" cy="1180800"/>
          </a:xfrm>
          <a:prstGeom prst="rect">
            <a:avLst/>
          </a:prstGeom>
          <a:solidFill>
            <a:schemeClr val="tx1">
              <a:lumMod val="95000"/>
            </a:schemeClr>
          </a:solidFill>
        </p:spPr>
        <p:txBody>
          <a:bodyPr vert="horz" lIns="0" tIns="0" rIns="0" bIns="0" rtlCol="0" anchor="ctr">
            <a:noAutofit/>
          </a:bodyPr>
          <a:lstStyle>
            <a:lvl1pPr marL="0" indent="0" algn="ctr" rtl="0">
              <a:buNone/>
              <a:defRPr lang="en-US" sz="1400" b="0" i="0" dirty="0">
                <a:solidFill>
                  <a:schemeClr val="bg1"/>
                </a:solidFill>
                <a:latin typeface="Graphik" panose="020B0503030202060203" pitchFamily="34" charset="77"/>
              </a:defRPr>
            </a:lvl1pPr>
          </a:lstStyle>
          <a:p>
            <a:pPr lvl="0"/>
            <a:r>
              <a:rPr lang="pt-BR"/>
              <a:t>Add profile photo</a:t>
            </a:r>
            <a:endParaRPr lang="pt-BR" dirty="0"/>
          </a:p>
        </p:txBody>
      </p:sp>
      <p:sp>
        <p:nvSpPr>
          <p:cNvPr id="67" name="Picture Placeholder 6">
            <a:extLst>
              <a:ext uri="{FF2B5EF4-FFF2-40B4-BE49-F238E27FC236}">
                <a16:creationId xmlns:a16="http://schemas.microsoft.com/office/drawing/2014/main" id="{B77582B8-1D1F-CACA-D550-1CD5A949EEA4}"/>
              </a:ext>
            </a:extLst>
          </p:cNvPr>
          <p:cNvSpPr>
            <a:spLocks noGrp="1" noChangeAspect="1"/>
          </p:cNvSpPr>
          <p:nvPr>
            <p:ph type="pic" sz="quarter" idx="53" hasCustomPrompt="1"/>
          </p:nvPr>
        </p:nvSpPr>
        <p:spPr>
          <a:xfrm>
            <a:off x="4750100" y="3828822"/>
            <a:ext cx="1180800" cy="1180800"/>
          </a:xfrm>
          <a:prstGeom prst="rect">
            <a:avLst/>
          </a:prstGeom>
          <a:solidFill>
            <a:schemeClr val="tx1">
              <a:lumMod val="95000"/>
            </a:schemeClr>
          </a:solidFill>
        </p:spPr>
        <p:txBody>
          <a:bodyPr vert="horz" lIns="0" tIns="0" rIns="0" bIns="0" rtlCol="0" anchor="ctr">
            <a:noAutofit/>
          </a:bodyPr>
          <a:lstStyle>
            <a:lvl1pPr marL="0" indent="0" algn="ctr" rtl="0">
              <a:buNone/>
              <a:defRPr lang="en-US" sz="1400" b="0" i="0" dirty="0">
                <a:solidFill>
                  <a:schemeClr val="bg1"/>
                </a:solidFill>
                <a:latin typeface="Graphik" panose="020B0503030202060203" pitchFamily="34" charset="77"/>
              </a:defRPr>
            </a:lvl1pPr>
          </a:lstStyle>
          <a:p>
            <a:pPr lvl="0"/>
            <a:r>
              <a:rPr lang="pt-BR"/>
              <a:t>Add profile photo</a:t>
            </a:r>
            <a:endParaRPr lang="pt-BR" dirty="0"/>
          </a:p>
        </p:txBody>
      </p:sp>
      <p:sp>
        <p:nvSpPr>
          <p:cNvPr id="68" name="Picture Placeholder 8">
            <a:extLst>
              <a:ext uri="{FF2B5EF4-FFF2-40B4-BE49-F238E27FC236}">
                <a16:creationId xmlns:a16="http://schemas.microsoft.com/office/drawing/2014/main" id="{17E0A0A0-43CE-5971-7C1E-E8F5AFA224E0}"/>
              </a:ext>
            </a:extLst>
          </p:cNvPr>
          <p:cNvSpPr>
            <a:spLocks noGrp="1" noChangeAspect="1"/>
          </p:cNvSpPr>
          <p:nvPr>
            <p:ph type="pic" sz="quarter" idx="54" hasCustomPrompt="1"/>
          </p:nvPr>
        </p:nvSpPr>
        <p:spPr>
          <a:xfrm>
            <a:off x="6532027" y="3828822"/>
            <a:ext cx="1180800" cy="1180800"/>
          </a:xfrm>
          <a:prstGeom prst="rect">
            <a:avLst/>
          </a:prstGeom>
          <a:solidFill>
            <a:schemeClr val="tx1">
              <a:lumMod val="95000"/>
            </a:schemeClr>
          </a:solidFill>
        </p:spPr>
        <p:txBody>
          <a:bodyPr vert="horz" lIns="0" tIns="0" rIns="0" bIns="0" rtlCol="0" anchor="ctr">
            <a:noAutofit/>
          </a:bodyPr>
          <a:lstStyle>
            <a:lvl1pPr marL="0" indent="0" algn="ctr" rtl="0">
              <a:buNone/>
              <a:defRPr lang="en-US" sz="1400" b="0" i="0" dirty="0">
                <a:solidFill>
                  <a:schemeClr val="bg1"/>
                </a:solidFill>
                <a:latin typeface="Graphik" panose="020B0503030202060203" pitchFamily="34" charset="77"/>
              </a:defRPr>
            </a:lvl1pPr>
          </a:lstStyle>
          <a:p>
            <a:pPr lvl="0"/>
            <a:r>
              <a:rPr lang="pt-BR"/>
              <a:t>Add profile photo</a:t>
            </a:r>
            <a:endParaRPr lang="pt-BR" dirty="0"/>
          </a:p>
        </p:txBody>
      </p:sp>
      <p:sp>
        <p:nvSpPr>
          <p:cNvPr id="69" name="Picture Placeholder 10">
            <a:extLst>
              <a:ext uri="{FF2B5EF4-FFF2-40B4-BE49-F238E27FC236}">
                <a16:creationId xmlns:a16="http://schemas.microsoft.com/office/drawing/2014/main" id="{40572D3B-08EC-27FB-6A1E-C67DB00074BA}"/>
              </a:ext>
            </a:extLst>
          </p:cNvPr>
          <p:cNvSpPr>
            <a:spLocks noGrp="1" noChangeAspect="1"/>
          </p:cNvSpPr>
          <p:nvPr>
            <p:ph type="pic" sz="quarter" idx="55" hasCustomPrompt="1"/>
          </p:nvPr>
        </p:nvSpPr>
        <p:spPr>
          <a:xfrm>
            <a:off x="8313954" y="3828822"/>
            <a:ext cx="1180800" cy="1180800"/>
          </a:xfrm>
          <a:prstGeom prst="rect">
            <a:avLst/>
          </a:prstGeom>
          <a:solidFill>
            <a:schemeClr val="tx1">
              <a:lumMod val="95000"/>
            </a:schemeClr>
          </a:solidFill>
        </p:spPr>
        <p:txBody>
          <a:bodyPr vert="horz" lIns="0" tIns="0" rIns="0" bIns="0" rtlCol="0" anchor="ctr">
            <a:noAutofit/>
          </a:bodyPr>
          <a:lstStyle>
            <a:lvl1pPr marL="0" indent="0" algn="ctr" rtl="0">
              <a:buNone/>
              <a:defRPr lang="en-US" sz="1400" b="0" i="0" dirty="0">
                <a:solidFill>
                  <a:schemeClr val="bg1"/>
                </a:solidFill>
                <a:latin typeface="Graphik" panose="020B0503030202060203" pitchFamily="34" charset="77"/>
              </a:defRPr>
            </a:lvl1pPr>
          </a:lstStyle>
          <a:p>
            <a:pPr lvl="0"/>
            <a:r>
              <a:rPr lang="pt-BR"/>
              <a:t>Add profile photo</a:t>
            </a:r>
            <a:endParaRPr lang="pt-BR" dirty="0"/>
          </a:p>
        </p:txBody>
      </p:sp>
      <p:sp>
        <p:nvSpPr>
          <p:cNvPr id="70" name="Picture Placeholder 12">
            <a:extLst>
              <a:ext uri="{FF2B5EF4-FFF2-40B4-BE49-F238E27FC236}">
                <a16:creationId xmlns:a16="http://schemas.microsoft.com/office/drawing/2014/main" id="{D5EF76A9-F22D-ED1F-C0F0-815EF85BAB71}"/>
              </a:ext>
            </a:extLst>
          </p:cNvPr>
          <p:cNvSpPr>
            <a:spLocks noGrp="1" noChangeAspect="1"/>
          </p:cNvSpPr>
          <p:nvPr>
            <p:ph type="pic" sz="quarter" idx="56" hasCustomPrompt="1"/>
          </p:nvPr>
        </p:nvSpPr>
        <p:spPr>
          <a:xfrm>
            <a:off x="10095882" y="3828822"/>
            <a:ext cx="1180800" cy="1180800"/>
          </a:xfrm>
          <a:prstGeom prst="rect">
            <a:avLst/>
          </a:prstGeom>
          <a:solidFill>
            <a:schemeClr val="tx1">
              <a:lumMod val="95000"/>
            </a:schemeClr>
          </a:solidFill>
        </p:spPr>
        <p:txBody>
          <a:bodyPr vert="horz" lIns="0" tIns="0" rIns="0" bIns="0" rtlCol="0" anchor="ctr">
            <a:noAutofit/>
          </a:bodyPr>
          <a:lstStyle>
            <a:lvl1pPr marL="0" indent="0" algn="ctr" rtl="0">
              <a:buNone/>
              <a:defRPr lang="en-US" sz="1400" b="0" i="0" dirty="0">
                <a:solidFill>
                  <a:schemeClr val="bg1"/>
                </a:solidFill>
                <a:latin typeface="Graphik" panose="020B0503030202060203" pitchFamily="34" charset="77"/>
              </a:defRPr>
            </a:lvl1pPr>
          </a:lstStyle>
          <a:p>
            <a:pPr lvl="0"/>
            <a:r>
              <a:rPr lang="pt-BR"/>
              <a:t>Add profile photo</a:t>
            </a:r>
            <a:endParaRPr lang="pt-BR" dirty="0"/>
          </a:p>
        </p:txBody>
      </p:sp>
      <p:sp>
        <p:nvSpPr>
          <p:cNvPr id="2" name="Text Placeholder 5">
            <a:extLst>
              <a:ext uri="{FF2B5EF4-FFF2-40B4-BE49-F238E27FC236}">
                <a16:creationId xmlns:a16="http://schemas.microsoft.com/office/drawing/2014/main" id="{CEDE1E1C-A17A-6673-F251-3E95D2B9A949}"/>
              </a:ext>
            </a:extLst>
          </p:cNvPr>
          <p:cNvSpPr>
            <a:spLocks noGrp="1"/>
          </p:cNvSpPr>
          <p:nvPr>
            <p:ph type="body" sz="quarter" idx="40" hasCustomPrompt="1"/>
          </p:nvPr>
        </p:nvSpPr>
        <p:spPr>
          <a:xfrm>
            <a:off x="4751160" y="2693227"/>
            <a:ext cx="1384618" cy="601303"/>
          </a:xfrm>
          <a:prstGeom prst="rect">
            <a:avLst/>
          </a:prstGeom>
        </p:spPr>
        <p:txBody>
          <a:bodyPr/>
          <a:lstStyle>
            <a:lvl1pPr marL="0" indent="0" rtl="0">
              <a:lnSpc>
                <a:spcPct val="80000"/>
              </a:lnSpc>
              <a:spcAft>
                <a:spcPts val="0"/>
              </a:spcAft>
              <a:buFont typeface="Graphik" panose="020B0604020202020204" pitchFamily="34" charset="0"/>
              <a:buNone/>
              <a:defRPr lang="en-US" sz="1000" b="1" i="0" kern="1200" dirty="0">
                <a:solidFill>
                  <a:schemeClr val="accent2"/>
                </a:solidFill>
                <a:latin typeface="Graphik Semibold" panose="020B0503030202060203" pitchFamily="34" charset="77"/>
                <a:ea typeface="+mn-ea"/>
                <a:cs typeface="+mn-cs"/>
              </a:defRPr>
            </a:lvl1pPr>
            <a:lvl2pPr marL="0" indent="0" rtl="0">
              <a:spcAft>
                <a:spcPts val="800"/>
              </a:spcAft>
              <a:buNone/>
              <a:defRPr lang="en-US" sz="1000" b="0" i="0" kern="1200">
                <a:solidFill>
                  <a:schemeClr val="tx1"/>
                </a:solidFill>
                <a:latin typeface="+mn-lt"/>
                <a:ea typeface="+mn-ea"/>
                <a:cs typeface="+mn-cs"/>
              </a:defRPr>
            </a:lvl2pPr>
            <a:lvl3pPr marL="0" indent="0">
              <a:spcAft>
                <a:spcPts val="267"/>
              </a:spcAft>
              <a:buNone/>
              <a:defRPr sz="1200" b="0" i="0">
                <a:solidFill>
                  <a:schemeClr val="tx1"/>
                </a:solidFill>
                <a:latin typeface="Graphik" panose="020B0503030202060203" pitchFamily="34" charset="77"/>
              </a:defRPr>
            </a:lvl3pPr>
            <a:lvl4pPr marL="182875" indent="-182875">
              <a:spcAft>
                <a:spcPts val="267"/>
              </a:spcAft>
              <a:buFont typeface="Graphik" panose="020B0604020202020204" pitchFamily="34" charset="0"/>
              <a:buChar char="•"/>
              <a:defRPr sz="1200" b="0" i="0">
                <a:solidFill>
                  <a:schemeClr val="tx1"/>
                </a:solidFill>
                <a:latin typeface="Graphik" panose="020B0503030202060203" pitchFamily="34" charset="77"/>
              </a:defRPr>
            </a:lvl4pPr>
            <a:lvl5pPr>
              <a:spcAft>
                <a:spcPts val="600"/>
              </a:spcAft>
              <a:defRPr sz="1600"/>
            </a:lvl5pPr>
          </a:lstStyle>
          <a:p>
            <a:pPr marL="0" lvl="0" indent="0" algn="l" defTabSz="228594" rtl="0" eaLnBrk="1" latinLnBrk="0" hangingPunct="1">
              <a:lnSpc>
                <a:spcPct val="80000"/>
              </a:lnSpc>
              <a:spcBef>
                <a:spcPts val="0"/>
              </a:spcBef>
              <a:spcAft>
                <a:spcPts val="0"/>
              </a:spcAft>
              <a:buFont typeface="Graphik" panose="020B0604020202020204" pitchFamily="34" charset="0"/>
              <a:buNone/>
            </a:pPr>
            <a:r>
              <a:rPr lang="pt-BR"/>
              <a:t>First name</a:t>
            </a:r>
          </a:p>
          <a:p>
            <a:pPr marL="0" lvl="1" indent="0" algn="l" defTabSz="228594" rtl="0" eaLnBrk="1" latinLnBrk="0" hangingPunct="1">
              <a:lnSpc>
                <a:spcPct val="100000"/>
              </a:lnSpc>
              <a:spcBef>
                <a:spcPts val="0"/>
              </a:spcBef>
              <a:spcAft>
                <a:spcPts val="800"/>
              </a:spcAft>
              <a:buClrTx/>
              <a:buFont typeface="Arial" panose="020B0604020202020204" pitchFamily="34" charset="0"/>
              <a:buNone/>
            </a:pPr>
            <a:r>
              <a:rPr lang="pt-BR"/>
              <a:t>Surname or Role</a:t>
            </a:r>
            <a:endParaRPr lang="pt-BR" dirty="0"/>
          </a:p>
        </p:txBody>
      </p:sp>
      <p:sp>
        <p:nvSpPr>
          <p:cNvPr id="3" name="Text Placeholder 6">
            <a:extLst>
              <a:ext uri="{FF2B5EF4-FFF2-40B4-BE49-F238E27FC236}">
                <a16:creationId xmlns:a16="http://schemas.microsoft.com/office/drawing/2014/main" id="{EEB75AE2-2832-8C3E-9FFF-A5DFC859EF20}"/>
              </a:ext>
            </a:extLst>
          </p:cNvPr>
          <p:cNvSpPr>
            <a:spLocks noGrp="1"/>
          </p:cNvSpPr>
          <p:nvPr>
            <p:ph type="body" sz="quarter" idx="41" hasCustomPrompt="1"/>
          </p:nvPr>
        </p:nvSpPr>
        <p:spPr>
          <a:xfrm>
            <a:off x="6532027" y="2693227"/>
            <a:ext cx="1384618" cy="601303"/>
          </a:xfrm>
          <a:prstGeom prst="rect">
            <a:avLst/>
          </a:prstGeom>
        </p:spPr>
        <p:txBody>
          <a:bodyPr/>
          <a:lstStyle>
            <a:lvl1pPr marL="0" indent="0" rtl="0">
              <a:lnSpc>
                <a:spcPct val="80000"/>
              </a:lnSpc>
              <a:spcAft>
                <a:spcPts val="0"/>
              </a:spcAft>
              <a:buFont typeface="Graphik" panose="020B0604020202020204" pitchFamily="34" charset="0"/>
              <a:buNone/>
              <a:defRPr lang="en-US" sz="1000" b="1" i="0" kern="1200" dirty="0">
                <a:solidFill>
                  <a:schemeClr val="accent2"/>
                </a:solidFill>
                <a:latin typeface="Graphik Semibold" panose="020B0503030202060203" pitchFamily="34" charset="77"/>
                <a:ea typeface="+mn-ea"/>
                <a:cs typeface="+mn-cs"/>
              </a:defRPr>
            </a:lvl1pPr>
            <a:lvl2pPr marL="0" indent="0" rtl="0">
              <a:spcAft>
                <a:spcPts val="800"/>
              </a:spcAft>
              <a:buNone/>
              <a:defRPr lang="en-US" sz="1000" b="0" i="0" kern="1200">
                <a:solidFill>
                  <a:schemeClr val="tx1"/>
                </a:solidFill>
                <a:latin typeface="+mn-lt"/>
                <a:ea typeface="+mn-ea"/>
                <a:cs typeface="+mn-cs"/>
              </a:defRPr>
            </a:lvl2pPr>
            <a:lvl3pPr marL="0" indent="0">
              <a:spcAft>
                <a:spcPts val="267"/>
              </a:spcAft>
              <a:buNone/>
              <a:defRPr sz="1200" b="0" i="0">
                <a:solidFill>
                  <a:schemeClr val="tx1"/>
                </a:solidFill>
                <a:latin typeface="Graphik" panose="020B0503030202060203" pitchFamily="34" charset="77"/>
              </a:defRPr>
            </a:lvl3pPr>
            <a:lvl4pPr marL="182875" indent="-182875">
              <a:spcAft>
                <a:spcPts val="267"/>
              </a:spcAft>
              <a:buFont typeface="Graphik" panose="020B0604020202020204" pitchFamily="34" charset="0"/>
              <a:buChar char="•"/>
              <a:defRPr sz="1200" b="0" i="0">
                <a:solidFill>
                  <a:schemeClr val="tx1"/>
                </a:solidFill>
                <a:latin typeface="Graphik" panose="020B0503030202060203" pitchFamily="34" charset="77"/>
              </a:defRPr>
            </a:lvl4pPr>
            <a:lvl5pPr>
              <a:spcAft>
                <a:spcPts val="600"/>
              </a:spcAft>
              <a:defRPr sz="1600"/>
            </a:lvl5pPr>
          </a:lstStyle>
          <a:p>
            <a:pPr marL="0" lvl="0" indent="0" algn="l" defTabSz="228594" rtl="0" eaLnBrk="1" latinLnBrk="0" hangingPunct="1">
              <a:lnSpc>
                <a:spcPct val="80000"/>
              </a:lnSpc>
              <a:spcBef>
                <a:spcPts val="0"/>
              </a:spcBef>
              <a:spcAft>
                <a:spcPts val="0"/>
              </a:spcAft>
              <a:buFont typeface="Graphik" panose="020B0604020202020204" pitchFamily="34" charset="0"/>
              <a:buNone/>
            </a:pPr>
            <a:r>
              <a:rPr lang="pt-BR"/>
              <a:t>First name</a:t>
            </a:r>
          </a:p>
          <a:p>
            <a:pPr marL="0" lvl="1" indent="0" algn="l" defTabSz="228594" rtl="0" eaLnBrk="1" latinLnBrk="0" hangingPunct="1">
              <a:lnSpc>
                <a:spcPct val="100000"/>
              </a:lnSpc>
              <a:spcBef>
                <a:spcPts val="0"/>
              </a:spcBef>
              <a:spcAft>
                <a:spcPts val="800"/>
              </a:spcAft>
              <a:buClrTx/>
              <a:buFont typeface="Arial" panose="020B0604020202020204" pitchFamily="34" charset="0"/>
              <a:buNone/>
            </a:pPr>
            <a:r>
              <a:rPr lang="pt-BR"/>
              <a:t>Surname or Role</a:t>
            </a:r>
            <a:endParaRPr lang="pt-BR" dirty="0"/>
          </a:p>
        </p:txBody>
      </p:sp>
      <p:sp>
        <p:nvSpPr>
          <p:cNvPr id="4" name="Text Placeholder 7">
            <a:extLst>
              <a:ext uri="{FF2B5EF4-FFF2-40B4-BE49-F238E27FC236}">
                <a16:creationId xmlns:a16="http://schemas.microsoft.com/office/drawing/2014/main" id="{89767B47-D047-556C-4306-FDB23A31369B}"/>
              </a:ext>
            </a:extLst>
          </p:cNvPr>
          <p:cNvSpPr>
            <a:spLocks noGrp="1"/>
          </p:cNvSpPr>
          <p:nvPr>
            <p:ph type="body" sz="quarter" idx="43" hasCustomPrompt="1"/>
          </p:nvPr>
        </p:nvSpPr>
        <p:spPr>
          <a:xfrm>
            <a:off x="8313954" y="2693227"/>
            <a:ext cx="1384618" cy="601303"/>
          </a:xfrm>
          <a:prstGeom prst="rect">
            <a:avLst/>
          </a:prstGeom>
        </p:spPr>
        <p:txBody>
          <a:bodyPr/>
          <a:lstStyle>
            <a:lvl1pPr marL="0" indent="0" rtl="0">
              <a:lnSpc>
                <a:spcPct val="80000"/>
              </a:lnSpc>
              <a:spcAft>
                <a:spcPts val="0"/>
              </a:spcAft>
              <a:buFont typeface="Graphik" panose="020B0604020202020204" pitchFamily="34" charset="0"/>
              <a:buNone/>
              <a:defRPr lang="en-US" sz="1000" b="1" i="0" kern="1200" dirty="0">
                <a:solidFill>
                  <a:schemeClr val="accent2"/>
                </a:solidFill>
                <a:latin typeface="Graphik Semibold" panose="020B0503030202060203" pitchFamily="34" charset="77"/>
                <a:ea typeface="+mn-ea"/>
                <a:cs typeface="+mn-cs"/>
              </a:defRPr>
            </a:lvl1pPr>
            <a:lvl2pPr marL="0" indent="0" rtl="0">
              <a:spcAft>
                <a:spcPts val="800"/>
              </a:spcAft>
              <a:buNone/>
              <a:defRPr lang="en-US" sz="1000" b="0" i="0" kern="1200">
                <a:solidFill>
                  <a:schemeClr val="tx1"/>
                </a:solidFill>
                <a:latin typeface="+mn-lt"/>
                <a:ea typeface="+mn-ea"/>
                <a:cs typeface="+mn-cs"/>
              </a:defRPr>
            </a:lvl2pPr>
            <a:lvl3pPr marL="0" indent="0">
              <a:spcAft>
                <a:spcPts val="267"/>
              </a:spcAft>
              <a:buNone/>
              <a:defRPr sz="1200" b="0" i="0">
                <a:solidFill>
                  <a:schemeClr val="tx1"/>
                </a:solidFill>
                <a:latin typeface="Graphik" panose="020B0503030202060203" pitchFamily="34" charset="77"/>
              </a:defRPr>
            </a:lvl3pPr>
            <a:lvl4pPr marL="182875" indent="-182875">
              <a:spcAft>
                <a:spcPts val="267"/>
              </a:spcAft>
              <a:buFont typeface="Graphik" panose="020B0604020202020204" pitchFamily="34" charset="0"/>
              <a:buChar char="•"/>
              <a:defRPr sz="1200" b="0" i="0">
                <a:solidFill>
                  <a:schemeClr val="tx1"/>
                </a:solidFill>
                <a:latin typeface="Graphik" panose="020B0503030202060203" pitchFamily="34" charset="77"/>
              </a:defRPr>
            </a:lvl4pPr>
            <a:lvl5pPr>
              <a:spcAft>
                <a:spcPts val="600"/>
              </a:spcAft>
              <a:defRPr sz="1600"/>
            </a:lvl5pPr>
          </a:lstStyle>
          <a:p>
            <a:pPr marL="0" lvl="0" indent="0" algn="l" defTabSz="228594" rtl="0" eaLnBrk="1" latinLnBrk="0" hangingPunct="1">
              <a:lnSpc>
                <a:spcPct val="80000"/>
              </a:lnSpc>
              <a:spcBef>
                <a:spcPts val="0"/>
              </a:spcBef>
              <a:spcAft>
                <a:spcPts val="0"/>
              </a:spcAft>
              <a:buFont typeface="Graphik" panose="020B0604020202020204" pitchFamily="34" charset="0"/>
              <a:buNone/>
            </a:pPr>
            <a:r>
              <a:rPr lang="pt-BR"/>
              <a:t>First name</a:t>
            </a:r>
          </a:p>
          <a:p>
            <a:pPr marL="0" lvl="1" indent="0" algn="l" defTabSz="228594" rtl="0" eaLnBrk="1" latinLnBrk="0" hangingPunct="1">
              <a:lnSpc>
                <a:spcPct val="100000"/>
              </a:lnSpc>
              <a:spcBef>
                <a:spcPts val="0"/>
              </a:spcBef>
              <a:spcAft>
                <a:spcPts val="800"/>
              </a:spcAft>
              <a:buClrTx/>
              <a:buFont typeface="Arial" panose="020B0604020202020204" pitchFamily="34" charset="0"/>
              <a:buNone/>
            </a:pPr>
            <a:r>
              <a:rPr lang="pt-BR"/>
              <a:t>Surname or Role</a:t>
            </a:r>
            <a:endParaRPr lang="pt-BR" dirty="0"/>
          </a:p>
        </p:txBody>
      </p:sp>
      <p:sp>
        <p:nvSpPr>
          <p:cNvPr id="5" name="Text Placeholder 8">
            <a:extLst>
              <a:ext uri="{FF2B5EF4-FFF2-40B4-BE49-F238E27FC236}">
                <a16:creationId xmlns:a16="http://schemas.microsoft.com/office/drawing/2014/main" id="{5FA34033-541B-ACBB-7450-5B6532CB8D0A}"/>
              </a:ext>
            </a:extLst>
          </p:cNvPr>
          <p:cNvSpPr>
            <a:spLocks noGrp="1"/>
          </p:cNvSpPr>
          <p:nvPr>
            <p:ph type="body" sz="quarter" idx="44" hasCustomPrompt="1"/>
          </p:nvPr>
        </p:nvSpPr>
        <p:spPr>
          <a:xfrm>
            <a:off x="10095882" y="2693227"/>
            <a:ext cx="1384618" cy="601303"/>
          </a:xfrm>
          <a:prstGeom prst="rect">
            <a:avLst/>
          </a:prstGeom>
        </p:spPr>
        <p:txBody>
          <a:bodyPr/>
          <a:lstStyle>
            <a:lvl1pPr marL="0" indent="0" rtl="0">
              <a:lnSpc>
                <a:spcPct val="80000"/>
              </a:lnSpc>
              <a:spcAft>
                <a:spcPts val="0"/>
              </a:spcAft>
              <a:buFont typeface="Graphik" panose="020B0604020202020204" pitchFamily="34" charset="0"/>
              <a:buNone/>
              <a:defRPr lang="en-US" sz="1000" b="1" i="0" kern="1200" dirty="0">
                <a:solidFill>
                  <a:schemeClr val="accent2"/>
                </a:solidFill>
                <a:latin typeface="Graphik Semibold" panose="020B0503030202060203" pitchFamily="34" charset="77"/>
                <a:ea typeface="+mn-ea"/>
                <a:cs typeface="+mn-cs"/>
              </a:defRPr>
            </a:lvl1pPr>
            <a:lvl2pPr marL="0" indent="0" rtl="0">
              <a:spcAft>
                <a:spcPts val="800"/>
              </a:spcAft>
              <a:buNone/>
              <a:defRPr lang="en-US" sz="1000" b="0" i="0" kern="1200">
                <a:solidFill>
                  <a:schemeClr val="tx1"/>
                </a:solidFill>
                <a:latin typeface="+mn-lt"/>
                <a:ea typeface="+mn-ea"/>
                <a:cs typeface="+mn-cs"/>
              </a:defRPr>
            </a:lvl2pPr>
            <a:lvl3pPr marL="0" indent="0">
              <a:spcAft>
                <a:spcPts val="267"/>
              </a:spcAft>
              <a:buNone/>
              <a:defRPr sz="1200" b="0" i="0">
                <a:solidFill>
                  <a:schemeClr val="tx1"/>
                </a:solidFill>
                <a:latin typeface="Graphik" panose="020B0503030202060203" pitchFamily="34" charset="77"/>
              </a:defRPr>
            </a:lvl3pPr>
            <a:lvl4pPr marL="182875" indent="-182875">
              <a:spcAft>
                <a:spcPts val="267"/>
              </a:spcAft>
              <a:buFont typeface="Graphik" panose="020B0604020202020204" pitchFamily="34" charset="0"/>
              <a:buChar char="•"/>
              <a:defRPr sz="1200" b="0" i="0">
                <a:solidFill>
                  <a:schemeClr val="tx1"/>
                </a:solidFill>
                <a:latin typeface="Graphik" panose="020B0503030202060203" pitchFamily="34" charset="77"/>
              </a:defRPr>
            </a:lvl4pPr>
            <a:lvl5pPr>
              <a:spcAft>
                <a:spcPts val="600"/>
              </a:spcAft>
              <a:defRPr sz="1600"/>
            </a:lvl5pPr>
          </a:lstStyle>
          <a:p>
            <a:pPr marL="0" lvl="0" indent="0" algn="l" defTabSz="228594" rtl="0" eaLnBrk="1" latinLnBrk="0" hangingPunct="1">
              <a:lnSpc>
                <a:spcPct val="80000"/>
              </a:lnSpc>
              <a:spcBef>
                <a:spcPts val="0"/>
              </a:spcBef>
              <a:spcAft>
                <a:spcPts val="0"/>
              </a:spcAft>
              <a:buFont typeface="Graphik" panose="020B0604020202020204" pitchFamily="34" charset="0"/>
              <a:buNone/>
            </a:pPr>
            <a:r>
              <a:rPr lang="pt-BR"/>
              <a:t>First name</a:t>
            </a:r>
          </a:p>
          <a:p>
            <a:pPr marL="0" lvl="1" indent="0" algn="l" defTabSz="228594" rtl="0" eaLnBrk="1" latinLnBrk="0" hangingPunct="1">
              <a:lnSpc>
                <a:spcPct val="100000"/>
              </a:lnSpc>
              <a:spcBef>
                <a:spcPts val="0"/>
              </a:spcBef>
              <a:spcAft>
                <a:spcPts val="800"/>
              </a:spcAft>
              <a:buClrTx/>
              <a:buFont typeface="Arial" panose="020B0604020202020204" pitchFamily="34" charset="0"/>
              <a:buNone/>
            </a:pPr>
            <a:r>
              <a:rPr lang="pt-BR"/>
              <a:t>Surname or Role</a:t>
            </a:r>
            <a:endParaRPr lang="pt-BR" dirty="0"/>
          </a:p>
        </p:txBody>
      </p:sp>
      <p:sp>
        <p:nvSpPr>
          <p:cNvPr id="6" name="Text Placeholder 5">
            <a:extLst>
              <a:ext uri="{FF2B5EF4-FFF2-40B4-BE49-F238E27FC236}">
                <a16:creationId xmlns:a16="http://schemas.microsoft.com/office/drawing/2014/main" id="{08C7EC0A-DE98-38CE-AFC3-B90030BE5EDC}"/>
              </a:ext>
            </a:extLst>
          </p:cNvPr>
          <p:cNvSpPr>
            <a:spLocks noGrp="1"/>
          </p:cNvSpPr>
          <p:nvPr>
            <p:ph type="body" sz="quarter" idx="57" hasCustomPrompt="1"/>
          </p:nvPr>
        </p:nvSpPr>
        <p:spPr>
          <a:xfrm>
            <a:off x="4751160" y="5166757"/>
            <a:ext cx="1384618" cy="601303"/>
          </a:xfrm>
          <a:prstGeom prst="rect">
            <a:avLst/>
          </a:prstGeom>
        </p:spPr>
        <p:txBody>
          <a:bodyPr/>
          <a:lstStyle>
            <a:lvl1pPr marL="0" indent="0" rtl="0">
              <a:lnSpc>
                <a:spcPct val="80000"/>
              </a:lnSpc>
              <a:spcAft>
                <a:spcPts val="0"/>
              </a:spcAft>
              <a:buFont typeface="Graphik" panose="020B0604020202020204" pitchFamily="34" charset="0"/>
              <a:buNone/>
              <a:defRPr lang="en-US" sz="1000" b="1" i="0" kern="1200" dirty="0">
                <a:solidFill>
                  <a:schemeClr val="accent2"/>
                </a:solidFill>
                <a:latin typeface="Graphik Semibold" panose="020B0503030202060203" pitchFamily="34" charset="77"/>
                <a:ea typeface="+mn-ea"/>
                <a:cs typeface="+mn-cs"/>
              </a:defRPr>
            </a:lvl1pPr>
            <a:lvl2pPr marL="0" indent="0" rtl="0">
              <a:spcAft>
                <a:spcPts val="800"/>
              </a:spcAft>
              <a:buNone/>
              <a:defRPr lang="en-US" sz="1000" b="0" i="0" kern="1200">
                <a:solidFill>
                  <a:schemeClr val="tx1"/>
                </a:solidFill>
                <a:latin typeface="+mn-lt"/>
                <a:ea typeface="+mn-ea"/>
                <a:cs typeface="+mn-cs"/>
              </a:defRPr>
            </a:lvl2pPr>
            <a:lvl3pPr marL="0" indent="0">
              <a:spcAft>
                <a:spcPts val="267"/>
              </a:spcAft>
              <a:buNone/>
              <a:defRPr sz="1200" b="0" i="0">
                <a:solidFill>
                  <a:schemeClr val="tx1"/>
                </a:solidFill>
                <a:latin typeface="Graphik" panose="020B0503030202060203" pitchFamily="34" charset="77"/>
              </a:defRPr>
            </a:lvl3pPr>
            <a:lvl4pPr marL="182875" indent="-182875">
              <a:spcAft>
                <a:spcPts val="267"/>
              </a:spcAft>
              <a:buFont typeface="Graphik" panose="020B0604020202020204" pitchFamily="34" charset="0"/>
              <a:buChar char="•"/>
              <a:defRPr sz="1200" b="0" i="0">
                <a:solidFill>
                  <a:schemeClr val="tx1"/>
                </a:solidFill>
                <a:latin typeface="Graphik" panose="020B0503030202060203" pitchFamily="34" charset="77"/>
              </a:defRPr>
            </a:lvl4pPr>
            <a:lvl5pPr>
              <a:spcAft>
                <a:spcPts val="600"/>
              </a:spcAft>
              <a:defRPr sz="1600"/>
            </a:lvl5pPr>
          </a:lstStyle>
          <a:p>
            <a:pPr marL="0" lvl="0" indent="0" algn="l" defTabSz="228594" rtl="0" eaLnBrk="1" latinLnBrk="0" hangingPunct="1">
              <a:lnSpc>
                <a:spcPct val="80000"/>
              </a:lnSpc>
              <a:spcBef>
                <a:spcPts val="0"/>
              </a:spcBef>
              <a:spcAft>
                <a:spcPts val="0"/>
              </a:spcAft>
              <a:buFont typeface="Graphik" panose="020B0604020202020204" pitchFamily="34" charset="0"/>
              <a:buNone/>
            </a:pPr>
            <a:r>
              <a:rPr lang="pt-BR"/>
              <a:t>First name</a:t>
            </a:r>
          </a:p>
          <a:p>
            <a:pPr marL="0" lvl="1" indent="0" algn="l" defTabSz="228594" rtl="0" eaLnBrk="1" latinLnBrk="0" hangingPunct="1">
              <a:lnSpc>
                <a:spcPct val="100000"/>
              </a:lnSpc>
              <a:spcBef>
                <a:spcPts val="0"/>
              </a:spcBef>
              <a:spcAft>
                <a:spcPts val="800"/>
              </a:spcAft>
              <a:buClrTx/>
              <a:buFont typeface="Arial" panose="020B0604020202020204" pitchFamily="34" charset="0"/>
              <a:buNone/>
            </a:pPr>
            <a:r>
              <a:rPr lang="pt-BR"/>
              <a:t>Surname or Role</a:t>
            </a:r>
            <a:endParaRPr lang="pt-BR" dirty="0"/>
          </a:p>
        </p:txBody>
      </p:sp>
      <p:sp>
        <p:nvSpPr>
          <p:cNvPr id="7" name="Text Placeholder 6">
            <a:extLst>
              <a:ext uri="{FF2B5EF4-FFF2-40B4-BE49-F238E27FC236}">
                <a16:creationId xmlns:a16="http://schemas.microsoft.com/office/drawing/2014/main" id="{B90A955C-7D16-1E89-F214-1FE4ABD4D8DF}"/>
              </a:ext>
            </a:extLst>
          </p:cNvPr>
          <p:cNvSpPr>
            <a:spLocks noGrp="1"/>
          </p:cNvSpPr>
          <p:nvPr>
            <p:ph type="body" sz="quarter" idx="58" hasCustomPrompt="1"/>
          </p:nvPr>
        </p:nvSpPr>
        <p:spPr>
          <a:xfrm>
            <a:off x="6532027" y="5166757"/>
            <a:ext cx="1384618" cy="601303"/>
          </a:xfrm>
          <a:prstGeom prst="rect">
            <a:avLst/>
          </a:prstGeom>
        </p:spPr>
        <p:txBody>
          <a:bodyPr/>
          <a:lstStyle>
            <a:lvl1pPr marL="0" indent="0" rtl="0">
              <a:lnSpc>
                <a:spcPct val="80000"/>
              </a:lnSpc>
              <a:spcAft>
                <a:spcPts val="0"/>
              </a:spcAft>
              <a:buFont typeface="Graphik" panose="020B0604020202020204" pitchFamily="34" charset="0"/>
              <a:buNone/>
              <a:defRPr lang="en-US" sz="1000" b="1" i="0" kern="1200" dirty="0">
                <a:solidFill>
                  <a:schemeClr val="accent2"/>
                </a:solidFill>
                <a:latin typeface="Graphik Semibold" panose="020B0503030202060203" pitchFamily="34" charset="77"/>
                <a:ea typeface="+mn-ea"/>
                <a:cs typeface="+mn-cs"/>
              </a:defRPr>
            </a:lvl1pPr>
            <a:lvl2pPr marL="0" indent="0" rtl="0">
              <a:spcAft>
                <a:spcPts val="800"/>
              </a:spcAft>
              <a:buNone/>
              <a:defRPr lang="en-US" sz="1000" b="0" i="0" kern="1200">
                <a:solidFill>
                  <a:schemeClr val="tx1"/>
                </a:solidFill>
                <a:latin typeface="+mn-lt"/>
                <a:ea typeface="+mn-ea"/>
                <a:cs typeface="+mn-cs"/>
              </a:defRPr>
            </a:lvl2pPr>
            <a:lvl3pPr marL="0" indent="0">
              <a:spcAft>
                <a:spcPts val="267"/>
              </a:spcAft>
              <a:buNone/>
              <a:defRPr sz="1200" b="0" i="0">
                <a:solidFill>
                  <a:schemeClr val="tx1"/>
                </a:solidFill>
                <a:latin typeface="Graphik" panose="020B0503030202060203" pitchFamily="34" charset="77"/>
              </a:defRPr>
            </a:lvl3pPr>
            <a:lvl4pPr marL="182875" indent="-182875">
              <a:spcAft>
                <a:spcPts val="267"/>
              </a:spcAft>
              <a:buFont typeface="Graphik" panose="020B0604020202020204" pitchFamily="34" charset="0"/>
              <a:buChar char="•"/>
              <a:defRPr sz="1200" b="0" i="0">
                <a:solidFill>
                  <a:schemeClr val="tx1"/>
                </a:solidFill>
                <a:latin typeface="Graphik" panose="020B0503030202060203" pitchFamily="34" charset="77"/>
              </a:defRPr>
            </a:lvl4pPr>
            <a:lvl5pPr>
              <a:spcAft>
                <a:spcPts val="600"/>
              </a:spcAft>
              <a:defRPr sz="1600"/>
            </a:lvl5pPr>
          </a:lstStyle>
          <a:p>
            <a:pPr marL="0" lvl="0" indent="0" algn="l" defTabSz="228594" rtl="0" eaLnBrk="1" latinLnBrk="0" hangingPunct="1">
              <a:lnSpc>
                <a:spcPct val="80000"/>
              </a:lnSpc>
              <a:spcBef>
                <a:spcPts val="0"/>
              </a:spcBef>
              <a:spcAft>
                <a:spcPts val="0"/>
              </a:spcAft>
              <a:buFont typeface="Graphik" panose="020B0604020202020204" pitchFamily="34" charset="0"/>
              <a:buNone/>
            </a:pPr>
            <a:r>
              <a:rPr lang="pt-BR"/>
              <a:t>First name</a:t>
            </a:r>
          </a:p>
          <a:p>
            <a:pPr marL="0" lvl="1" indent="0" algn="l" defTabSz="228594" rtl="0" eaLnBrk="1" latinLnBrk="0" hangingPunct="1">
              <a:lnSpc>
                <a:spcPct val="100000"/>
              </a:lnSpc>
              <a:spcBef>
                <a:spcPts val="0"/>
              </a:spcBef>
              <a:spcAft>
                <a:spcPts val="800"/>
              </a:spcAft>
              <a:buClrTx/>
              <a:buFont typeface="Arial" panose="020B0604020202020204" pitchFamily="34" charset="0"/>
              <a:buNone/>
            </a:pPr>
            <a:r>
              <a:rPr lang="pt-BR"/>
              <a:t>Surname or Role</a:t>
            </a:r>
            <a:endParaRPr lang="pt-BR" dirty="0"/>
          </a:p>
        </p:txBody>
      </p:sp>
      <p:sp>
        <p:nvSpPr>
          <p:cNvPr id="8" name="Text Placeholder 7">
            <a:extLst>
              <a:ext uri="{FF2B5EF4-FFF2-40B4-BE49-F238E27FC236}">
                <a16:creationId xmlns:a16="http://schemas.microsoft.com/office/drawing/2014/main" id="{E2562963-2880-9DF0-CBA4-3B8CB37B8C6B}"/>
              </a:ext>
            </a:extLst>
          </p:cNvPr>
          <p:cNvSpPr>
            <a:spLocks noGrp="1"/>
          </p:cNvSpPr>
          <p:nvPr>
            <p:ph type="body" sz="quarter" idx="59" hasCustomPrompt="1"/>
          </p:nvPr>
        </p:nvSpPr>
        <p:spPr>
          <a:xfrm>
            <a:off x="8313954" y="5166757"/>
            <a:ext cx="1384618" cy="601303"/>
          </a:xfrm>
          <a:prstGeom prst="rect">
            <a:avLst/>
          </a:prstGeom>
        </p:spPr>
        <p:txBody>
          <a:bodyPr/>
          <a:lstStyle>
            <a:lvl1pPr marL="0" indent="0" rtl="0">
              <a:lnSpc>
                <a:spcPct val="80000"/>
              </a:lnSpc>
              <a:spcAft>
                <a:spcPts val="0"/>
              </a:spcAft>
              <a:buFont typeface="Graphik" panose="020B0604020202020204" pitchFamily="34" charset="0"/>
              <a:buNone/>
              <a:defRPr lang="en-US" sz="1000" b="1" i="0" kern="1200" dirty="0">
                <a:solidFill>
                  <a:schemeClr val="accent2"/>
                </a:solidFill>
                <a:latin typeface="Graphik Semibold" panose="020B0503030202060203" pitchFamily="34" charset="77"/>
                <a:ea typeface="+mn-ea"/>
                <a:cs typeface="+mn-cs"/>
              </a:defRPr>
            </a:lvl1pPr>
            <a:lvl2pPr marL="0" indent="0" rtl="0">
              <a:spcAft>
                <a:spcPts val="800"/>
              </a:spcAft>
              <a:buNone/>
              <a:defRPr lang="en-US" sz="1000" b="0" i="0" kern="1200">
                <a:solidFill>
                  <a:schemeClr val="tx1"/>
                </a:solidFill>
                <a:latin typeface="+mn-lt"/>
                <a:ea typeface="+mn-ea"/>
                <a:cs typeface="+mn-cs"/>
              </a:defRPr>
            </a:lvl2pPr>
            <a:lvl3pPr marL="0" indent="0">
              <a:spcAft>
                <a:spcPts val="267"/>
              </a:spcAft>
              <a:buNone/>
              <a:defRPr sz="1200" b="0" i="0">
                <a:solidFill>
                  <a:schemeClr val="tx1"/>
                </a:solidFill>
                <a:latin typeface="Graphik" panose="020B0503030202060203" pitchFamily="34" charset="77"/>
              </a:defRPr>
            </a:lvl3pPr>
            <a:lvl4pPr marL="182875" indent="-182875">
              <a:spcAft>
                <a:spcPts val="267"/>
              </a:spcAft>
              <a:buFont typeface="Graphik" panose="020B0604020202020204" pitchFamily="34" charset="0"/>
              <a:buChar char="•"/>
              <a:defRPr sz="1200" b="0" i="0">
                <a:solidFill>
                  <a:schemeClr val="tx1"/>
                </a:solidFill>
                <a:latin typeface="Graphik" panose="020B0503030202060203" pitchFamily="34" charset="77"/>
              </a:defRPr>
            </a:lvl4pPr>
            <a:lvl5pPr>
              <a:spcAft>
                <a:spcPts val="600"/>
              </a:spcAft>
              <a:defRPr sz="1600"/>
            </a:lvl5pPr>
          </a:lstStyle>
          <a:p>
            <a:pPr marL="0" lvl="0" indent="0" algn="l" defTabSz="228594" rtl="0" eaLnBrk="1" latinLnBrk="0" hangingPunct="1">
              <a:lnSpc>
                <a:spcPct val="80000"/>
              </a:lnSpc>
              <a:spcBef>
                <a:spcPts val="0"/>
              </a:spcBef>
              <a:spcAft>
                <a:spcPts val="0"/>
              </a:spcAft>
              <a:buFont typeface="Graphik" panose="020B0604020202020204" pitchFamily="34" charset="0"/>
              <a:buNone/>
            </a:pPr>
            <a:r>
              <a:rPr lang="pt-BR"/>
              <a:t>First name</a:t>
            </a:r>
          </a:p>
          <a:p>
            <a:pPr marL="0" lvl="1" indent="0" algn="l" defTabSz="228594" rtl="0" eaLnBrk="1" latinLnBrk="0" hangingPunct="1">
              <a:lnSpc>
                <a:spcPct val="100000"/>
              </a:lnSpc>
              <a:spcBef>
                <a:spcPts val="0"/>
              </a:spcBef>
              <a:spcAft>
                <a:spcPts val="800"/>
              </a:spcAft>
              <a:buClrTx/>
              <a:buFont typeface="Arial" panose="020B0604020202020204" pitchFamily="34" charset="0"/>
              <a:buNone/>
            </a:pPr>
            <a:r>
              <a:rPr lang="pt-BR"/>
              <a:t>Surname or Role</a:t>
            </a:r>
            <a:endParaRPr lang="pt-BR" dirty="0"/>
          </a:p>
        </p:txBody>
      </p:sp>
      <p:sp>
        <p:nvSpPr>
          <p:cNvPr id="9" name="Text Placeholder 8">
            <a:extLst>
              <a:ext uri="{FF2B5EF4-FFF2-40B4-BE49-F238E27FC236}">
                <a16:creationId xmlns:a16="http://schemas.microsoft.com/office/drawing/2014/main" id="{661BD90B-C753-B163-80B8-1E78E44062C3}"/>
              </a:ext>
            </a:extLst>
          </p:cNvPr>
          <p:cNvSpPr>
            <a:spLocks noGrp="1"/>
          </p:cNvSpPr>
          <p:nvPr>
            <p:ph type="body" sz="quarter" idx="60" hasCustomPrompt="1"/>
          </p:nvPr>
        </p:nvSpPr>
        <p:spPr>
          <a:xfrm>
            <a:off x="10095882" y="5166757"/>
            <a:ext cx="1384618" cy="601303"/>
          </a:xfrm>
          <a:prstGeom prst="rect">
            <a:avLst/>
          </a:prstGeom>
        </p:spPr>
        <p:txBody>
          <a:bodyPr/>
          <a:lstStyle>
            <a:lvl1pPr marL="0" indent="0" rtl="0">
              <a:lnSpc>
                <a:spcPct val="80000"/>
              </a:lnSpc>
              <a:spcAft>
                <a:spcPts val="0"/>
              </a:spcAft>
              <a:buFont typeface="Graphik" panose="020B0604020202020204" pitchFamily="34" charset="0"/>
              <a:buNone/>
              <a:defRPr lang="en-US" sz="1000" b="1" i="0" kern="1200" dirty="0">
                <a:solidFill>
                  <a:schemeClr val="accent2"/>
                </a:solidFill>
                <a:latin typeface="Graphik Semibold" panose="020B0503030202060203" pitchFamily="34" charset="77"/>
                <a:ea typeface="+mn-ea"/>
                <a:cs typeface="+mn-cs"/>
              </a:defRPr>
            </a:lvl1pPr>
            <a:lvl2pPr marL="0" indent="0" rtl="0">
              <a:spcAft>
                <a:spcPts val="800"/>
              </a:spcAft>
              <a:buNone/>
              <a:defRPr lang="en-US" sz="1000" b="0" i="0" kern="1200">
                <a:solidFill>
                  <a:schemeClr val="tx1"/>
                </a:solidFill>
                <a:latin typeface="+mn-lt"/>
                <a:ea typeface="+mn-ea"/>
                <a:cs typeface="+mn-cs"/>
              </a:defRPr>
            </a:lvl2pPr>
            <a:lvl3pPr marL="0" indent="0">
              <a:spcAft>
                <a:spcPts val="267"/>
              </a:spcAft>
              <a:buNone/>
              <a:defRPr sz="1200" b="0" i="0">
                <a:solidFill>
                  <a:schemeClr val="tx1"/>
                </a:solidFill>
                <a:latin typeface="Graphik" panose="020B0503030202060203" pitchFamily="34" charset="77"/>
              </a:defRPr>
            </a:lvl3pPr>
            <a:lvl4pPr marL="182875" indent="-182875">
              <a:spcAft>
                <a:spcPts val="267"/>
              </a:spcAft>
              <a:buFont typeface="Graphik" panose="020B0604020202020204" pitchFamily="34" charset="0"/>
              <a:buChar char="•"/>
              <a:defRPr sz="1200" b="0" i="0">
                <a:solidFill>
                  <a:schemeClr val="tx1"/>
                </a:solidFill>
                <a:latin typeface="Graphik" panose="020B0503030202060203" pitchFamily="34" charset="77"/>
              </a:defRPr>
            </a:lvl4pPr>
            <a:lvl5pPr>
              <a:spcAft>
                <a:spcPts val="600"/>
              </a:spcAft>
              <a:defRPr sz="1600"/>
            </a:lvl5pPr>
          </a:lstStyle>
          <a:p>
            <a:pPr marL="0" lvl="0" indent="0" algn="l" defTabSz="228594" rtl="0" eaLnBrk="1" latinLnBrk="0" hangingPunct="1">
              <a:lnSpc>
                <a:spcPct val="80000"/>
              </a:lnSpc>
              <a:spcBef>
                <a:spcPts val="0"/>
              </a:spcBef>
              <a:spcAft>
                <a:spcPts val="0"/>
              </a:spcAft>
              <a:buFont typeface="Graphik" panose="020B0604020202020204" pitchFamily="34" charset="0"/>
              <a:buNone/>
            </a:pPr>
            <a:r>
              <a:rPr lang="pt-BR"/>
              <a:t>First name</a:t>
            </a:r>
          </a:p>
          <a:p>
            <a:pPr marL="0" lvl="1" indent="0" algn="l" defTabSz="228594" rtl="0" eaLnBrk="1" latinLnBrk="0" hangingPunct="1">
              <a:lnSpc>
                <a:spcPct val="100000"/>
              </a:lnSpc>
              <a:spcBef>
                <a:spcPts val="0"/>
              </a:spcBef>
              <a:spcAft>
                <a:spcPts val="800"/>
              </a:spcAft>
              <a:buClrTx/>
              <a:buFont typeface="Arial" panose="020B0604020202020204" pitchFamily="34" charset="0"/>
              <a:buNone/>
            </a:pPr>
            <a:r>
              <a:rPr lang="pt-BR"/>
              <a:t>Surname or Role</a:t>
            </a:r>
            <a:endParaRPr lang="pt-BR" dirty="0"/>
          </a:p>
        </p:txBody>
      </p:sp>
    </p:spTree>
    <p:extLst>
      <p:ext uri="{BB962C8B-B14F-4D97-AF65-F5344CB8AC3E}">
        <p14:creationId xmlns:p14="http://schemas.microsoft.com/office/powerpoint/2010/main" val="77006918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column + imag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66D0C00-033B-BAB2-6902-C0C41F06C369}"/>
              </a:ext>
            </a:extLst>
          </p:cNvPr>
          <p:cNvGraphicFramePr>
            <a:graphicFrameLocks noChangeAspect="1"/>
          </p:cNvGraphicFramePr>
          <p:nvPr userDrawn="1">
            <p:custDataLst>
              <p:tags r:id="rId1"/>
            </p:custDataLst>
            <p:extLst>
              <p:ext uri="{D42A27DB-BD31-4B8C-83A1-F6EECF244321}">
                <p14:modId xmlns:p14="http://schemas.microsoft.com/office/powerpoint/2010/main" val="2080705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4" name="think-cell data - do not delete" hidden="1">
                        <a:extLst>
                          <a:ext uri="{FF2B5EF4-FFF2-40B4-BE49-F238E27FC236}">
                            <a16:creationId xmlns:a16="http://schemas.microsoft.com/office/drawing/2014/main" id="{466D0C00-033B-BAB2-6902-C0C41F06C3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14">
            <a:extLst>
              <a:ext uri="{FF2B5EF4-FFF2-40B4-BE49-F238E27FC236}">
                <a16:creationId xmlns:a16="http://schemas.microsoft.com/office/drawing/2014/main" id="{4796047A-AB81-403A-B649-52C6F7827ECF}"/>
              </a:ext>
            </a:extLst>
          </p:cNvPr>
          <p:cNvSpPr>
            <a:spLocks noGrp="1"/>
          </p:cNvSpPr>
          <p:nvPr>
            <p:ph type="body" sz="quarter" idx="15" hasCustomPrompt="1"/>
          </p:nvPr>
        </p:nvSpPr>
        <p:spPr>
          <a:xfrm>
            <a:off x="554567" y="1608762"/>
            <a:ext cx="4684835" cy="4699968"/>
          </a:xfrm>
          <a:prstGeom prst="rect">
            <a:avLst/>
          </a:prstGeom>
        </p:spPr>
        <p:txBody>
          <a:bodyPr/>
          <a:lstStyle>
            <a:lvl1pPr marL="0" indent="0" rtl="0">
              <a:lnSpc>
                <a:spcPct val="90000"/>
              </a:lnSpc>
              <a:buNone/>
              <a:defRPr sz="1800" b="0" i="0">
                <a:solidFill>
                  <a:schemeClr val="tx1"/>
                </a:solidFill>
                <a:latin typeface="Graphik" panose="020B0503030202060203" pitchFamily="34" charset="77"/>
              </a:defRPr>
            </a:lvl1pPr>
            <a:lvl2pPr marL="228594" indent="-228594" rtl="0">
              <a:buFont typeface="Graphik" panose="020B0604020202020204" pitchFamily="34" charset="0"/>
              <a:buChar char="•"/>
              <a:defRPr sz="1200" b="0" i="0">
                <a:latin typeface="Graphik" panose="020B0503030202060203" pitchFamily="34" charset="77"/>
              </a:defRPr>
            </a:lvl2pPr>
            <a:lvl3pPr marL="457189" rtl="0">
              <a:buFont typeface="Graphik" panose="020B0503030202060203" pitchFamily="34" charset="0"/>
              <a:buChar char="–"/>
              <a:defRPr sz="1200" b="0" i="0">
                <a:latin typeface="Graphik" panose="020B0503030202060203" pitchFamily="34" charset="77"/>
              </a:defRPr>
            </a:lvl3pPr>
            <a:lvl4pPr marL="685783" rtl="0">
              <a:buFont typeface="Graphik" panose="020B0604020202020204" pitchFamily="34" charset="0"/>
              <a:buChar char="•"/>
              <a:defRPr sz="1100" b="0" i="0">
                <a:latin typeface="Graphik" panose="020B0503030202060203" pitchFamily="34" charset="77"/>
              </a:defRPr>
            </a:lvl4pPr>
            <a:lvl5pPr marL="914377" rtl="0">
              <a:buFont typeface="Graphik" panose="020B0503030202060203" pitchFamily="34" charset="0"/>
              <a:buChar char="–"/>
              <a:defRPr sz="1100" b="0" i="0">
                <a:latin typeface="Graphik" panose="020B0503030202060203" pitchFamily="34" charset="77"/>
              </a:defRPr>
            </a:lvl5pPr>
          </a:lstStyle>
          <a:p>
            <a:pPr lvl="0"/>
            <a:r>
              <a:rPr lang="pt-BR"/>
              <a:t>Place sub-headline here in Graphik, indent for other levels</a:t>
            </a:r>
          </a:p>
          <a:p>
            <a:pPr lvl="1"/>
            <a:r>
              <a:rPr lang="pt-BR"/>
              <a:t>Second level</a:t>
            </a:r>
          </a:p>
          <a:p>
            <a:pPr lvl="2"/>
            <a:r>
              <a:rPr lang="pt-BR"/>
              <a:t>Third level bullet</a:t>
            </a:r>
          </a:p>
          <a:p>
            <a:pPr lvl="3"/>
            <a:r>
              <a:rPr lang="pt-BR"/>
              <a:t>Fourth level bullet</a:t>
            </a:r>
          </a:p>
          <a:p>
            <a:pPr lvl="4"/>
            <a:r>
              <a:rPr lang="pt-BR"/>
              <a:t>Fifth level bullet</a:t>
            </a:r>
            <a:endParaRPr lang="pt-BR" dirty="0"/>
          </a:p>
        </p:txBody>
      </p:sp>
      <p:sp>
        <p:nvSpPr>
          <p:cNvPr id="3" name="Picture Placeholder 2">
            <a:extLst>
              <a:ext uri="{FF2B5EF4-FFF2-40B4-BE49-F238E27FC236}">
                <a16:creationId xmlns:a16="http://schemas.microsoft.com/office/drawing/2014/main" id="{77AA6D93-92FF-400D-8AF3-C5AC33611540}"/>
              </a:ext>
            </a:extLst>
          </p:cNvPr>
          <p:cNvSpPr>
            <a:spLocks noGrp="1"/>
          </p:cNvSpPr>
          <p:nvPr>
            <p:ph type="pic" idx="1" hasCustomPrompt="1"/>
          </p:nvPr>
        </p:nvSpPr>
        <p:spPr>
          <a:xfrm>
            <a:off x="6096000" y="549276"/>
            <a:ext cx="5541431" cy="5759454"/>
          </a:xfrm>
          <a:prstGeom prst="rect">
            <a:avLst/>
          </a:prstGeom>
          <a:solidFill>
            <a:schemeClr val="bg1">
              <a:lumMod val="95000"/>
            </a:schemeClr>
          </a:solidFill>
        </p:spPr>
        <p:txBody>
          <a:bodyPr tIns="548640" anchor="t"/>
          <a:lstStyle>
            <a:lvl1pPr marL="0" indent="0" algn="ctr" defTabSz="914377" rtl="0" eaLnBrk="1" latinLnBrk="0" hangingPunct="1">
              <a:lnSpc>
                <a:spcPct val="100000"/>
              </a:lnSpc>
              <a:spcBef>
                <a:spcPts val="0"/>
              </a:spcBef>
              <a:spcAft>
                <a:spcPts val="1200"/>
              </a:spcAft>
              <a:buFont typeface="Graphik" panose="020B0604020202020204" pitchFamily="34" charset="0"/>
              <a:buNone/>
              <a:defRPr lang="en-US" sz="1400" b="0" i="0" kern="1200" dirty="0">
                <a:solidFill>
                  <a:schemeClr val="tx1"/>
                </a:solidFill>
                <a:latin typeface="Graphik" panose="020B0503030202060203" pitchFamily="34" charset="77"/>
                <a:ea typeface="+mn-ea"/>
                <a:cs typeface="+mn-cs"/>
              </a:defRPr>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pt-BR"/>
              <a:t>Drag picture to placeholder or click icon to add, then ‘Send to Back’</a:t>
            </a:r>
            <a:endParaRPr lang="pt-BR" dirty="0"/>
          </a:p>
        </p:txBody>
      </p:sp>
      <p:sp>
        <p:nvSpPr>
          <p:cNvPr id="7" name="Title 2">
            <a:extLst>
              <a:ext uri="{FF2B5EF4-FFF2-40B4-BE49-F238E27FC236}">
                <a16:creationId xmlns:a16="http://schemas.microsoft.com/office/drawing/2014/main" id="{A5DA1A25-51CF-5AD1-5E56-0DCBF1E1C695}"/>
              </a:ext>
            </a:extLst>
          </p:cNvPr>
          <p:cNvSpPr>
            <a:spLocks noGrp="1"/>
          </p:cNvSpPr>
          <p:nvPr>
            <p:ph type="title"/>
          </p:nvPr>
        </p:nvSpPr>
        <p:spPr>
          <a:xfrm>
            <a:off x="556467" y="572599"/>
            <a:ext cx="4684836" cy="787908"/>
          </a:xfrm>
        </p:spPr>
        <p:txBody>
          <a:bodyPr vert="horz"/>
          <a:lstStyle>
            <a:lvl1pPr rtl="0">
              <a:defRPr/>
            </a:lvl1pPr>
          </a:lstStyle>
          <a:p>
            <a:r>
              <a:rPr lang="pt-BR"/>
              <a:t>Click to edit Master title style</a:t>
            </a:r>
            <a:endParaRPr lang="pt-BR" dirty="0"/>
          </a:p>
        </p:txBody>
      </p:sp>
      <p:sp>
        <p:nvSpPr>
          <p:cNvPr id="9" name="TextBox 8">
            <a:extLst>
              <a:ext uri="{FF2B5EF4-FFF2-40B4-BE49-F238E27FC236}">
                <a16:creationId xmlns:a16="http://schemas.microsoft.com/office/drawing/2014/main" id="{5932412D-AD03-BACB-C691-EC79CDF8A06A}"/>
              </a:ext>
            </a:extLst>
          </p:cNvPr>
          <p:cNvSpPr txBox="1"/>
          <p:nvPr userDrawn="1"/>
        </p:nvSpPr>
        <p:spPr>
          <a:xfrm>
            <a:off x="5618375" y="2686639"/>
            <a:ext cx="0" cy="0"/>
          </a:xfrm>
          <a:prstGeom prst="rect">
            <a:avLst/>
          </a:prstGeom>
          <a:noFill/>
        </p:spPr>
        <p:txBody>
          <a:bodyPr wrap="none" lIns="0" tIns="0" rIns="0" bIns="0" rtlCol="0">
            <a:noAutofit/>
          </a:bodyPr>
          <a:lstStyle/>
          <a:p>
            <a:pPr algn="l" defTabSz="228600" rtl="0">
              <a:spcAft>
                <a:spcPts val="1200"/>
              </a:spcAft>
            </a:pPr>
            <a:endParaRPr lang="pt-BR" noProof="0" dirty="0"/>
          </a:p>
        </p:txBody>
      </p:sp>
    </p:spTree>
    <p:extLst>
      <p:ext uri="{BB962C8B-B14F-4D97-AF65-F5344CB8AC3E}">
        <p14:creationId xmlns:p14="http://schemas.microsoft.com/office/powerpoint/2010/main" val="3646049986"/>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ntent: column + image, purple">
    <p:bg>
      <p:bgPr>
        <a:solidFill>
          <a:schemeClr val="tx2"/>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D0D16CE-087C-E8F9-93F2-9906A8486C5A}"/>
              </a:ext>
            </a:extLst>
          </p:cNvPr>
          <p:cNvGraphicFramePr>
            <a:graphicFrameLocks noChangeAspect="1"/>
          </p:cNvGraphicFramePr>
          <p:nvPr userDrawn="1">
            <p:custDataLst>
              <p:tags r:id="rId1"/>
            </p:custDataLst>
            <p:extLst>
              <p:ext uri="{D42A27DB-BD31-4B8C-83A1-F6EECF244321}">
                <p14:modId xmlns:p14="http://schemas.microsoft.com/office/powerpoint/2010/main" val="132246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8" name="think-cell data - do not delete" hidden="1">
                        <a:extLst>
                          <a:ext uri="{FF2B5EF4-FFF2-40B4-BE49-F238E27FC236}">
                            <a16:creationId xmlns:a16="http://schemas.microsoft.com/office/drawing/2014/main" id="{8D0D16CE-087C-E8F9-93F2-9906A8486C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0C6C9FFF-540B-B570-4E7C-61946F9149B2}"/>
              </a:ext>
            </a:extLst>
          </p:cNvPr>
          <p:cNvSpPr>
            <a:spLocks noGrp="1"/>
          </p:cNvSpPr>
          <p:nvPr>
            <p:ph type="title" hasCustomPrompt="1"/>
          </p:nvPr>
        </p:nvSpPr>
        <p:spPr>
          <a:xfrm>
            <a:off x="6533256" y="1354138"/>
            <a:ext cx="4595950" cy="1034129"/>
          </a:xfrm>
          <a:prstGeom prst="rect">
            <a:avLst/>
          </a:prstGeom>
        </p:spPr>
        <p:txBody>
          <a:bodyPr vert="horz" anchor="b"/>
          <a:lstStyle>
            <a:lvl1pPr rtl="0">
              <a:defRPr sz="4200"/>
            </a:lvl1pPr>
          </a:lstStyle>
          <a:p>
            <a:r>
              <a:rPr lang="pt-BR"/>
              <a:t>Click to edit Section title style</a:t>
            </a:r>
            <a:endParaRPr lang="pt-BR" dirty="0"/>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a:xfrm>
            <a:off x="0" y="549275"/>
            <a:ext cx="6007099" cy="5561126"/>
          </a:xfrm>
          <a:prstGeom prst="rect">
            <a:avLst/>
          </a:prstGeom>
          <a:solidFill>
            <a:schemeClr val="tx1">
              <a:lumMod val="95000"/>
            </a:schemeClr>
          </a:solidFill>
        </p:spPr>
        <p:txBody>
          <a:bodyPr lIns="0" tIns="210312" anchor="ctr"/>
          <a:lstStyle>
            <a:lvl1pPr marL="0" indent="0" algn="ctr" rtl="0">
              <a:buNone/>
              <a:defRPr sz="1400" b="0" i="0">
                <a:solidFill>
                  <a:schemeClr val="bg1"/>
                </a:solidFill>
                <a:latin typeface="Graphik" panose="020B0503030202060203" pitchFamily="34" charset="77"/>
              </a:defRPr>
            </a:lvl1pPr>
          </a:lstStyle>
          <a:p>
            <a:r>
              <a:rPr lang="pt-BR"/>
              <a:t>Drag picture to placeholder or click icon to add</a:t>
            </a:r>
            <a:endParaRPr lang="pt-BR" dirty="0"/>
          </a:p>
        </p:txBody>
      </p:sp>
      <p:sp>
        <p:nvSpPr>
          <p:cNvPr id="6" name="Text Placeholder 14">
            <a:extLst>
              <a:ext uri="{FF2B5EF4-FFF2-40B4-BE49-F238E27FC236}">
                <a16:creationId xmlns:a16="http://schemas.microsoft.com/office/drawing/2014/main" id="{45230204-CC18-5C95-0BFC-9C8E11430BCA}"/>
              </a:ext>
            </a:extLst>
          </p:cNvPr>
          <p:cNvSpPr>
            <a:spLocks noGrp="1"/>
          </p:cNvSpPr>
          <p:nvPr>
            <p:ph type="body" sz="quarter" idx="15" hasCustomPrompt="1"/>
          </p:nvPr>
        </p:nvSpPr>
        <p:spPr>
          <a:xfrm>
            <a:off x="6533256" y="2662862"/>
            <a:ext cx="4684835" cy="3598238"/>
          </a:xfrm>
          <a:prstGeom prst="rect">
            <a:avLst/>
          </a:prstGeom>
        </p:spPr>
        <p:txBody>
          <a:bodyPr/>
          <a:lstStyle>
            <a:lvl1pPr marL="0" indent="0" rtl="0">
              <a:lnSpc>
                <a:spcPct val="90000"/>
              </a:lnSpc>
              <a:buNone/>
              <a:defRPr sz="1800" b="0" i="0">
                <a:solidFill>
                  <a:schemeClr val="tx1"/>
                </a:solidFill>
                <a:latin typeface="Graphik" panose="020B0503030202060203" pitchFamily="34" charset="77"/>
              </a:defRPr>
            </a:lvl1pPr>
            <a:lvl2pPr marL="228594" indent="-228594" rtl="0">
              <a:buFont typeface="Graphik" panose="020B0604020202020204" pitchFamily="34" charset="0"/>
              <a:buChar char="•"/>
              <a:defRPr sz="1200" b="0" i="0">
                <a:latin typeface="Graphik" panose="020B0503030202060203" pitchFamily="34" charset="77"/>
              </a:defRPr>
            </a:lvl2pPr>
            <a:lvl3pPr marL="457189" rtl="0">
              <a:buFont typeface="Graphik" panose="020B0503030202060203" pitchFamily="34" charset="0"/>
              <a:buChar char="–"/>
              <a:defRPr sz="1200" b="0" i="0">
                <a:latin typeface="Graphik" panose="020B0503030202060203" pitchFamily="34" charset="77"/>
              </a:defRPr>
            </a:lvl3pPr>
            <a:lvl4pPr marL="685783" rtl="0">
              <a:buFont typeface="Graphik" panose="020B0604020202020204" pitchFamily="34" charset="0"/>
              <a:buChar char="•"/>
              <a:defRPr sz="1100" b="0" i="0">
                <a:latin typeface="Graphik" panose="020B0503030202060203" pitchFamily="34" charset="77"/>
              </a:defRPr>
            </a:lvl4pPr>
            <a:lvl5pPr marL="914377" rtl="0">
              <a:buFont typeface="Graphik" panose="020B0503030202060203" pitchFamily="34" charset="0"/>
              <a:buChar char="–"/>
              <a:defRPr sz="1100" b="0" i="0">
                <a:latin typeface="Graphik" panose="020B0503030202060203" pitchFamily="34" charset="77"/>
              </a:defRPr>
            </a:lvl5pPr>
          </a:lstStyle>
          <a:p>
            <a:pPr lvl="0"/>
            <a:r>
              <a:rPr lang="pt-BR"/>
              <a:t>Place sub-headline here in Graphik, indent for other levels</a:t>
            </a:r>
          </a:p>
          <a:p>
            <a:pPr lvl="1"/>
            <a:r>
              <a:rPr lang="pt-BR"/>
              <a:t>Second level</a:t>
            </a:r>
          </a:p>
          <a:p>
            <a:pPr lvl="2"/>
            <a:r>
              <a:rPr lang="pt-BR"/>
              <a:t>Third level bullet</a:t>
            </a:r>
          </a:p>
          <a:p>
            <a:pPr lvl="3"/>
            <a:r>
              <a:rPr lang="pt-BR"/>
              <a:t>Fourth level bullet</a:t>
            </a:r>
          </a:p>
          <a:p>
            <a:pPr lvl="4"/>
            <a:r>
              <a:rPr lang="pt-BR"/>
              <a:t>Fifth level bullet</a:t>
            </a:r>
            <a:endParaRPr lang="pt-BR" dirty="0"/>
          </a:p>
        </p:txBody>
      </p:sp>
      <p:sp>
        <p:nvSpPr>
          <p:cNvPr id="7" name="slide number automatic">
            <a:extLst>
              <a:ext uri="{FF2B5EF4-FFF2-40B4-BE49-F238E27FC236}">
                <a16:creationId xmlns:a16="http://schemas.microsoft.com/office/drawing/2014/main" id="{28236719-F299-27AE-8104-D07B5280084D}"/>
              </a:ext>
            </a:extLst>
          </p:cNvPr>
          <p:cNvSpPr txBox="1"/>
          <p:nvPr userDrawn="1"/>
        </p:nvSpPr>
        <p:spPr>
          <a:xfrm>
            <a:off x="11685965" y="6429853"/>
            <a:ext cx="125035" cy="123111"/>
          </a:xfrm>
          <a:prstGeom prst="rect">
            <a:avLst/>
          </a:prstGeom>
          <a:noFill/>
        </p:spPr>
        <p:txBody>
          <a:bodyPr wrap="none" lIns="0" tIns="0" rIns="0" bIns="0" rtlCol="0" anchor="ctr">
            <a:spAutoFit/>
          </a:bodyPr>
          <a:lstStyle/>
          <a:p>
            <a:pPr marL="0" marR="0" lvl="0" indent="0" algn="r" defTabSz="228594" rtl="0" eaLnBrk="1" fontAlgn="auto" latinLnBrk="0" hangingPunct="1">
              <a:lnSpc>
                <a:spcPct val="100000"/>
              </a:lnSpc>
              <a:spcBef>
                <a:spcPts val="0"/>
              </a:spcBef>
              <a:spcAft>
                <a:spcPts val="1200"/>
              </a:spcAft>
              <a:buClrTx/>
              <a:buSzTx/>
              <a:buFontTx/>
              <a:buNone/>
              <a:tabLst/>
              <a:defRPr/>
            </a:pPr>
            <a:fld id="{8A1971D9-5B62-3C46-9EC9-FDAAB88557B2}" type="slidenum">
              <a:rPr lang="pt-BR" sz="800" smtClean="0">
                <a:solidFill>
                  <a:srgbClr val="FFFFFF">
                    <a:alpha val="75000"/>
                  </a:srgbClr>
                </a:solidFill>
                <a:latin typeface="Graphik Semibold" panose="020B0703030202060203" pitchFamily="34" charset="0"/>
              </a:rPr>
              <a:pPr marL="0" marR="0" lvl="0" indent="0" algn="r" defTabSz="228594" rtl="0" eaLnBrk="1" fontAlgn="auto" latinLnBrk="0" hangingPunct="1">
                <a:lnSpc>
                  <a:spcPct val="100000"/>
                </a:lnSpc>
                <a:spcBef>
                  <a:spcPts val="0"/>
                </a:spcBef>
                <a:spcAft>
                  <a:spcPts val="1200"/>
                </a:spcAft>
                <a:buClrTx/>
                <a:buSzTx/>
                <a:buFontTx/>
                <a:buNone/>
                <a:tabLst/>
                <a:defRPr/>
              </a:pPr>
              <a:t>‹#›</a:t>
            </a:fld>
            <a:endParaRPr lang="pt-BR" sz="1351" noProof="0" dirty="0">
              <a:solidFill>
                <a:srgbClr val="FFFFFF">
                  <a:alpha val="75000"/>
                </a:srgbClr>
              </a:solidFill>
              <a:latin typeface="Graphik Semibold" panose="020B0703030202060203" pitchFamily="34" charset="0"/>
            </a:endParaRPr>
          </a:p>
        </p:txBody>
      </p:sp>
    </p:spTree>
    <p:extLst>
      <p:ext uri="{BB962C8B-B14F-4D97-AF65-F5344CB8AC3E}">
        <p14:creationId xmlns:p14="http://schemas.microsoft.com/office/powerpoint/2010/main" val="20014963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Content: column + image, dark mode">
    <p:bg>
      <p:bgPr>
        <a:solidFill>
          <a:srgbClr val="000000"/>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073F13A-9ACF-1CC7-AFF0-375E2D2ABC4E}"/>
              </a:ext>
            </a:extLst>
          </p:cNvPr>
          <p:cNvGraphicFramePr>
            <a:graphicFrameLocks noChangeAspect="1"/>
          </p:cNvGraphicFramePr>
          <p:nvPr userDrawn="1">
            <p:custDataLst>
              <p:tags r:id="rId1"/>
            </p:custDataLst>
            <p:extLst>
              <p:ext uri="{D42A27DB-BD31-4B8C-83A1-F6EECF244321}">
                <p14:modId xmlns:p14="http://schemas.microsoft.com/office/powerpoint/2010/main" val="784283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8" name="think-cell data - do not delete" hidden="1">
                        <a:extLst>
                          <a:ext uri="{FF2B5EF4-FFF2-40B4-BE49-F238E27FC236}">
                            <a16:creationId xmlns:a16="http://schemas.microsoft.com/office/drawing/2014/main" id="{E073F13A-9ACF-1CC7-AFF0-375E2D2ABC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le 1">
            <a:extLst>
              <a:ext uri="{FF2B5EF4-FFF2-40B4-BE49-F238E27FC236}">
                <a16:creationId xmlns:a16="http://schemas.microsoft.com/office/drawing/2014/main" id="{EE89B75D-7DDF-ED09-FE69-8B56D6AED919}"/>
              </a:ext>
            </a:extLst>
          </p:cNvPr>
          <p:cNvSpPr>
            <a:spLocks noGrp="1"/>
          </p:cNvSpPr>
          <p:nvPr>
            <p:ph type="title" hasCustomPrompt="1"/>
          </p:nvPr>
        </p:nvSpPr>
        <p:spPr>
          <a:xfrm>
            <a:off x="6533256" y="1354138"/>
            <a:ext cx="4595950" cy="1034129"/>
          </a:xfrm>
          <a:prstGeom prst="rect">
            <a:avLst/>
          </a:prstGeom>
        </p:spPr>
        <p:txBody>
          <a:bodyPr vert="horz" anchor="b"/>
          <a:lstStyle>
            <a:lvl1pPr rtl="0">
              <a:defRPr sz="4200"/>
            </a:lvl1pPr>
          </a:lstStyle>
          <a:p>
            <a:r>
              <a:rPr lang="pt-BR"/>
              <a:t>Click to edit Section title style</a:t>
            </a:r>
            <a:endParaRPr lang="pt-BR" dirty="0"/>
          </a:p>
        </p:txBody>
      </p:sp>
      <p:sp>
        <p:nvSpPr>
          <p:cNvPr id="5" name="Text Placeholder 14">
            <a:extLst>
              <a:ext uri="{FF2B5EF4-FFF2-40B4-BE49-F238E27FC236}">
                <a16:creationId xmlns:a16="http://schemas.microsoft.com/office/drawing/2014/main" id="{B4655C9C-EA3F-C392-C162-DB5AFB91842A}"/>
              </a:ext>
            </a:extLst>
          </p:cNvPr>
          <p:cNvSpPr>
            <a:spLocks noGrp="1"/>
          </p:cNvSpPr>
          <p:nvPr>
            <p:ph type="body" sz="quarter" idx="15" hasCustomPrompt="1"/>
          </p:nvPr>
        </p:nvSpPr>
        <p:spPr>
          <a:xfrm>
            <a:off x="6533256" y="2662862"/>
            <a:ext cx="4684835" cy="3598238"/>
          </a:xfrm>
          <a:prstGeom prst="rect">
            <a:avLst/>
          </a:prstGeom>
        </p:spPr>
        <p:txBody>
          <a:bodyPr/>
          <a:lstStyle>
            <a:lvl1pPr marL="0" indent="0" rtl="0">
              <a:lnSpc>
                <a:spcPct val="90000"/>
              </a:lnSpc>
              <a:buNone/>
              <a:defRPr sz="1800" b="0" i="0">
                <a:solidFill>
                  <a:schemeClr val="tx1"/>
                </a:solidFill>
                <a:latin typeface="Graphik" panose="020B0503030202060203" pitchFamily="34" charset="77"/>
              </a:defRPr>
            </a:lvl1pPr>
            <a:lvl2pPr marL="228594" indent="-228594" rtl="0">
              <a:buFont typeface="Graphik" panose="020B0604020202020204" pitchFamily="34" charset="0"/>
              <a:buChar char="•"/>
              <a:defRPr sz="1200" b="0" i="0">
                <a:latin typeface="Graphik" panose="020B0503030202060203" pitchFamily="34" charset="77"/>
              </a:defRPr>
            </a:lvl2pPr>
            <a:lvl3pPr marL="457189" rtl="0">
              <a:buFont typeface="Graphik" panose="020B0503030202060203" pitchFamily="34" charset="0"/>
              <a:buChar char="–"/>
              <a:defRPr sz="1200" b="0" i="0">
                <a:latin typeface="Graphik" panose="020B0503030202060203" pitchFamily="34" charset="77"/>
              </a:defRPr>
            </a:lvl3pPr>
            <a:lvl4pPr marL="685783" rtl="0">
              <a:buFont typeface="Graphik" panose="020B0604020202020204" pitchFamily="34" charset="0"/>
              <a:buChar char="•"/>
              <a:defRPr sz="1100" b="0" i="0">
                <a:latin typeface="Graphik" panose="020B0503030202060203" pitchFamily="34" charset="77"/>
              </a:defRPr>
            </a:lvl4pPr>
            <a:lvl5pPr marL="914377" rtl="0">
              <a:buFont typeface="Graphik" panose="020B0503030202060203" pitchFamily="34" charset="0"/>
              <a:buChar char="–"/>
              <a:defRPr sz="1100" b="0" i="0">
                <a:latin typeface="Graphik" panose="020B0503030202060203" pitchFamily="34" charset="77"/>
              </a:defRPr>
            </a:lvl5pPr>
          </a:lstStyle>
          <a:p>
            <a:pPr lvl="0"/>
            <a:r>
              <a:rPr lang="pt-BR"/>
              <a:t>Place sub-headline here in Graphik, indent for other levels</a:t>
            </a:r>
          </a:p>
          <a:p>
            <a:pPr lvl="1"/>
            <a:r>
              <a:rPr lang="pt-BR"/>
              <a:t>Second level</a:t>
            </a:r>
          </a:p>
          <a:p>
            <a:pPr lvl="2"/>
            <a:r>
              <a:rPr lang="pt-BR"/>
              <a:t>Third level bullet</a:t>
            </a:r>
          </a:p>
          <a:p>
            <a:pPr lvl="3"/>
            <a:r>
              <a:rPr lang="pt-BR"/>
              <a:t>Fourth level bullet</a:t>
            </a:r>
          </a:p>
          <a:p>
            <a:pPr lvl="4"/>
            <a:r>
              <a:rPr lang="pt-BR"/>
              <a:t>Fifth level bullet</a:t>
            </a:r>
            <a:endParaRPr lang="pt-BR" dirty="0"/>
          </a:p>
        </p:txBody>
      </p:sp>
      <p:sp>
        <p:nvSpPr>
          <p:cNvPr id="4" name="Picture Placeholder 35">
            <a:extLst>
              <a:ext uri="{FF2B5EF4-FFF2-40B4-BE49-F238E27FC236}">
                <a16:creationId xmlns:a16="http://schemas.microsoft.com/office/drawing/2014/main" id="{E30B0B1B-B70F-0FD3-F9A3-B0EE6C801E7F}"/>
              </a:ext>
            </a:extLst>
          </p:cNvPr>
          <p:cNvSpPr>
            <a:spLocks noGrp="1"/>
          </p:cNvSpPr>
          <p:nvPr>
            <p:ph type="pic" sz="quarter" idx="16" hasCustomPrompt="1"/>
          </p:nvPr>
        </p:nvSpPr>
        <p:spPr>
          <a:xfrm>
            <a:off x="0" y="549275"/>
            <a:ext cx="6007100" cy="5561126"/>
          </a:xfrm>
          <a:prstGeom prst="rect">
            <a:avLst/>
          </a:prstGeom>
          <a:solidFill>
            <a:schemeClr val="tx1">
              <a:lumMod val="95000"/>
            </a:schemeClr>
          </a:solidFill>
        </p:spPr>
        <p:txBody>
          <a:bodyPr lIns="0" tIns="210312" anchor="ctr"/>
          <a:lstStyle>
            <a:lvl1pPr marL="0" indent="0" algn="ctr" rtl="0">
              <a:buNone/>
              <a:defRPr sz="1400" b="0" i="0">
                <a:solidFill>
                  <a:schemeClr val="bg1"/>
                </a:solidFill>
                <a:latin typeface="Graphik" panose="020B0503030202060203" pitchFamily="34" charset="77"/>
              </a:defRPr>
            </a:lvl1pPr>
          </a:lstStyle>
          <a:p>
            <a:r>
              <a:rPr lang="pt-BR"/>
              <a:t>Drag picture to placeholder or click icon to add</a:t>
            </a:r>
            <a:endParaRPr lang="pt-BR" dirty="0"/>
          </a:p>
        </p:txBody>
      </p:sp>
      <p:sp>
        <p:nvSpPr>
          <p:cNvPr id="7" name="slide number automatic">
            <a:extLst>
              <a:ext uri="{FF2B5EF4-FFF2-40B4-BE49-F238E27FC236}">
                <a16:creationId xmlns:a16="http://schemas.microsoft.com/office/drawing/2014/main" id="{829128A2-7647-DB1F-6198-C2A2C402A7BC}"/>
              </a:ext>
            </a:extLst>
          </p:cNvPr>
          <p:cNvSpPr txBox="1"/>
          <p:nvPr userDrawn="1"/>
        </p:nvSpPr>
        <p:spPr>
          <a:xfrm>
            <a:off x="11685965" y="6429853"/>
            <a:ext cx="125035" cy="123111"/>
          </a:xfrm>
          <a:prstGeom prst="rect">
            <a:avLst/>
          </a:prstGeom>
          <a:noFill/>
        </p:spPr>
        <p:txBody>
          <a:bodyPr wrap="none" lIns="0" tIns="0" rIns="0" bIns="0" rtlCol="0" anchor="ctr">
            <a:spAutoFit/>
          </a:bodyPr>
          <a:lstStyle/>
          <a:p>
            <a:pPr marL="0" marR="0" lvl="0" indent="0" algn="r" defTabSz="228594" rtl="0" eaLnBrk="1" fontAlgn="auto" latinLnBrk="0" hangingPunct="1">
              <a:lnSpc>
                <a:spcPct val="100000"/>
              </a:lnSpc>
              <a:spcBef>
                <a:spcPts val="0"/>
              </a:spcBef>
              <a:spcAft>
                <a:spcPts val="1200"/>
              </a:spcAft>
              <a:buClrTx/>
              <a:buSzTx/>
              <a:buFontTx/>
              <a:buNone/>
              <a:tabLst/>
              <a:defRPr/>
            </a:pPr>
            <a:fld id="{8A1971D9-5B62-3C46-9EC9-FDAAB88557B2}" type="slidenum">
              <a:rPr lang="pt-BR" sz="800" smtClean="0">
                <a:solidFill>
                  <a:srgbClr val="FFFFFF">
                    <a:alpha val="75000"/>
                  </a:srgbClr>
                </a:solidFill>
                <a:latin typeface="Graphik Semibold" panose="020B0703030202060203" pitchFamily="34" charset="0"/>
              </a:rPr>
              <a:pPr marL="0" marR="0" lvl="0" indent="0" algn="r" defTabSz="228594" rtl="0" eaLnBrk="1" fontAlgn="auto" latinLnBrk="0" hangingPunct="1">
                <a:lnSpc>
                  <a:spcPct val="100000"/>
                </a:lnSpc>
                <a:spcBef>
                  <a:spcPts val="0"/>
                </a:spcBef>
                <a:spcAft>
                  <a:spcPts val="1200"/>
                </a:spcAft>
                <a:buClrTx/>
                <a:buSzTx/>
                <a:buFontTx/>
                <a:buNone/>
                <a:tabLst/>
                <a:defRPr/>
              </a:pPr>
              <a:t>‹#›</a:t>
            </a:fld>
            <a:endParaRPr lang="pt-BR" sz="1351" noProof="0" dirty="0">
              <a:solidFill>
                <a:srgbClr val="FFFFFF">
                  <a:alpha val="75000"/>
                </a:srgbClr>
              </a:solidFill>
              <a:latin typeface="Graphik Semibold" panose="020B0703030202060203" pitchFamily="34" charset="0"/>
            </a:endParaRPr>
          </a:p>
        </p:txBody>
      </p:sp>
    </p:spTree>
    <p:extLst>
      <p:ext uri="{BB962C8B-B14F-4D97-AF65-F5344CB8AC3E}">
        <p14:creationId xmlns:p14="http://schemas.microsoft.com/office/powerpoint/2010/main" val="25874732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custom 1">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0622C40-4ABF-3BD8-8D79-10C29C248C24}"/>
              </a:ext>
            </a:extLst>
          </p:cNvPr>
          <p:cNvGraphicFramePr>
            <a:graphicFrameLocks noChangeAspect="1"/>
          </p:cNvGraphicFramePr>
          <p:nvPr userDrawn="1">
            <p:custDataLst>
              <p:tags r:id="rId1"/>
            </p:custDataLst>
            <p:extLst>
              <p:ext uri="{D42A27DB-BD31-4B8C-83A1-F6EECF244321}">
                <p14:modId xmlns:p14="http://schemas.microsoft.com/office/powerpoint/2010/main" val="28785852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3" name="think-cell data - do not delete" hidden="1">
                        <a:extLst>
                          <a:ext uri="{FF2B5EF4-FFF2-40B4-BE49-F238E27FC236}">
                            <a16:creationId xmlns:a16="http://schemas.microsoft.com/office/drawing/2014/main" id="{50622C40-4ABF-3BD8-8D79-10C29C248C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Title 1">
            <a:extLst>
              <a:ext uri="{FF2B5EF4-FFF2-40B4-BE49-F238E27FC236}">
                <a16:creationId xmlns:a16="http://schemas.microsoft.com/office/drawing/2014/main" id="{9BDC0A4D-E346-3CCE-788C-9669BEFC9B76}"/>
              </a:ext>
            </a:extLst>
          </p:cNvPr>
          <p:cNvSpPr>
            <a:spLocks noGrp="1"/>
          </p:cNvSpPr>
          <p:nvPr>
            <p:ph type="title" hasCustomPrompt="1"/>
          </p:nvPr>
        </p:nvSpPr>
        <p:spPr>
          <a:xfrm>
            <a:off x="554569" y="1351442"/>
            <a:ext cx="4118519" cy="1772793"/>
          </a:xfrm>
          <a:prstGeom prst="rect">
            <a:avLst/>
          </a:prstGeom>
        </p:spPr>
        <p:txBody>
          <a:bodyPr vert="horz" anchor="b"/>
          <a:lstStyle>
            <a:lvl1pPr rtl="0">
              <a:defRPr sz="4800"/>
            </a:lvl1pPr>
          </a:lstStyle>
          <a:p>
            <a:r>
              <a:rPr lang="pt-BR"/>
              <a:t>Click to edit Section title style</a:t>
            </a:r>
            <a:endParaRPr lang="pt-BR" dirty="0"/>
          </a:p>
        </p:txBody>
      </p:sp>
      <p:sp>
        <p:nvSpPr>
          <p:cNvPr id="18" name="Picture Placeholder 18">
            <a:extLst>
              <a:ext uri="{FF2B5EF4-FFF2-40B4-BE49-F238E27FC236}">
                <a16:creationId xmlns:a16="http://schemas.microsoft.com/office/drawing/2014/main" id="{D9945356-3D82-526D-F3EC-EF9A544BCDC7}"/>
              </a:ext>
            </a:extLst>
          </p:cNvPr>
          <p:cNvSpPr>
            <a:spLocks noGrp="1"/>
          </p:cNvSpPr>
          <p:nvPr>
            <p:ph type="pic" sz="quarter" idx="36" hasCustomPrompt="1"/>
          </p:nvPr>
        </p:nvSpPr>
        <p:spPr bwMode="gray">
          <a:xfrm>
            <a:off x="5040827" y="554497"/>
            <a:ext cx="3110068" cy="1524000"/>
          </a:xfrm>
          <a:prstGeom prst="rect">
            <a:avLst/>
          </a:prstGeom>
          <a:solidFill>
            <a:schemeClr val="bg1">
              <a:lumMod val="95000"/>
            </a:schemeClr>
          </a:solidFill>
          <a:effectLst/>
        </p:spPr>
        <p:txBody>
          <a:bodyPr lIns="180000" tIns="180000" rIns="180000" bIns="180000" anchor="ctr"/>
          <a:lstStyle>
            <a:lvl1pPr marL="0" indent="0" algn="ctr" rtl="0">
              <a:buNone/>
              <a:defRPr sz="1400" b="0" i="0">
                <a:solidFill>
                  <a:schemeClr val="tx1"/>
                </a:solidFill>
                <a:latin typeface="Graphik" panose="020B0503030202060203" pitchFamily="34" charset="77"/>
              </a:defRPr>
            </a:lvl1pPr>
          </a:lstStyle>
          <a:p>
            <a:r>
              <a:rPr lang="pt-BR"/>
              <a:t>Drag picture to placeholder or click icon to add</a:t>
            </a:r>
            <a:endParaRPr lang="pt-BR" dirty="0"/>
          </a:p>
        </p:txBody>
      </p:sp>
      <p:sp>
        <p:nvSpPr>
          <p:cNvPr id="6" name="Text Placeholder 5">
            <a:extLst>
              <a:ext uri="{FF2B5EF4-FFF2-40B4-BE49-F238E27FC236}">
                <a16:creationId xmlns:a16="http://schemas.microsoft.com/office/drawing/2014/main" id="{C4602F9E-5DF1-F42B-7D21-8791F0ABAE8F}"/>
              </a:ext>
            </a:extLst>
          </p:cNvPr>
          <p:cNvSpPr>
            <a:spLocks noGrp="1"/>
          </p:cNvSpPr>
          <p:nvPr>
            <p:ph type="body" sz="quarter" idx="39"/>
          </p:nvPr>
        </p:nvSpPr>
        <p:spPr>
          <a:xfrm>
            <a:off x="5068197" y="2302697"/>
            <a:ext cx="3082698" cy="904614"/>
          </a:xfrm>
        </p:spPr>
        <p:txBody>
          <a:bodyPr/>
          <a:lstStyle>
            <a:lvl1pPr rtl="0">
              <a:defRPr>
                <a:solidFill>
                  <a:schemeClr val="bg2"/>
                </a:solidFill>
                <a:latin typeface="Graphik Semibold" panose="020B0703030202060203" pitchFamily="34" charset="0"/>
              </a:defRPr>
            </a:lvl1pPr>
            <a:lvl2pPr marL="0" indent="0" rtl="0">
              <a:buNone/>
              <a:defRPr/>
            </a:lvl2pPr>
          </a:lstStyle>
          <a:p>
            <a:pPr lvl="0"/>
            <a:r>
              <a:rPr lang="pt-BR"/>
              <a:t>Click to edit Master text styles</a:t>
            </a:r>
          </a:p>
          <a:p>
            <a:pPr lvl="1"/>
            <a:r>
              <a:rPr lang="pt-BR"/>
              <a:t>Second level</a:t>
            </a:r>
            <a:endParaRPr lang="pt-BR" dirty="0"/>
          </a:p>
        </p:txBody>
      </p:sp>
      <p:sp>
        <p:nvSpPr>
          <p:cNvPr id="20" name="Picture Placeholder 18">
            <a:extLst>
              <a:ext uri="{FF2B5EF4-FFF2-40B4-BE49-F238E27FC236}">
                <a16:creationId xmlns:a16="http://schemas.microsoft.com/office/drawing/2014/main" id="{043D01E8-2D14-8582-D392-AC17CD2A4198}"/>
              </a:ext>
            </a:extLst>
          </p:cNvPr>
          <p:cNvSpPr>
            <a:spLocks noGrp="1"/>
          </p:cNvSpPr>
          <p:nvPr>
            <p:ph type="pic" sz="quarter" idx="38" hasCustomPrompt="1"/>
          </p:nvPr>
        </p:nvSpPr>
        <p:spPr bwMode="gray">
          <a:xfrm>
            <a:off x="8516471" y="554497"/>
            <a:ext cx="3110068" cy="1524000"/>
          </a:xfrm>
          <a:prstGeom prst="rect">
            <a:avLst/>
          </a:prstGeom>
          <a:solidFill>
            <a:schemeClr val="bg1">
              <a:lumMod val="95000"/>
            </a:schemeClr>
          </a:solidFill>
          <a:effectLst/>
        </p:spPr>
        <p:txBody>
          <a:bodyPr lIns="180000" tIns="180000" rIns="180000" bIns="180000" anchor="ctr"/>
          <a:lstStyle>
            <a:lvl1pPr marL="0" indent="0" algn="ctr" rtl="0">
              <a:buNone/>
              <a:defRPr sz="1400" b="0" i="0">
                <a:solidFill>
                  <a:schemeClr val="tx1"/>
                </a:solidFill>
                <a:latin typeface="Graphik" panose="020B0503030202060203" pitchFamily="34" charset="77"/>
              </a:defRPr>
            </a:lvl1pPr>
          </a:lstStyle>
          <a:p>
            <a:r>
              <a:rPr lang="pt-BR"/>
              <a:t>Drag picture to placeholder or click icon to add</a:t>
            </a:r>
            <a:endParaRPr lang="pt-BR" dirty="0"/>
          </a:p>
        </p:txBody>
      </p:sp>
      <p:sp>
        <p:nvSpPr>
          <p:cNvPr id="7" name="Text Placeholder 5">
            <a:extLst>
              <a:ext uri="{FF2B5EF4-FFF2-40B4-BE49-F238E27FC236}">
                <a16:creationId xmlns:a16="http://schemas.microsoft.com/office/drawing/2014/main" id="{B286CD00-6CFB-20C2-A09E-D720E0360520}"/>
              </a:ext>
            </a:extLst>
          </p:cNvPr>
          <p:cNvSpPr>
            <a:spLocks noGrp="1"/>
          </p:cNvSpPr>
          <p:nvPr>
            <p:ph type="body" sz="quarter" idx="40"/>
          </p:nvPr>
        </p:nvSpPr>
        <p:spPr>
          <a:xfrm>
            <a:off x="8516471" y="2302697"/>
            <a:ext cx="3082698" cy="904614"/>
          </a:xfrm>
        </p:spPr>
        <p:txBody>
          <a:bodyPr/>
          <a:lstStyle>
            <a:lvl1pPr rtl="0">
              <a:defRPr>
                <a:solidFill>
                  <a:schemeClr val="bg2"/>
                </a:solidFill>
                <a:latin typeface="Graphik Semibold" panose="020B0703030202060203" pitchFamily="34" charset="0"/>
              </a:defRPr>
            </a:lvl1pPr>
            <a:lvl2pPr marL="0" indent="0" rtl="0">
              <a:buNone/>
              <a:defRPr/>
            </a:lvl2pPr>
          </a:lstStyle>
          <a:p>
            <a:pPr lvl="0"/>
            <a:r>
              <a:rPr lang="pt-BR"/>
              <a:t>Click to edit Master text styles</a:t>
            </a:r>
          </a:p>
          <a:p>
            <a:pPr lvl="1"/>
            <a:r>
              <a:rPr lang="pt-BR"/>
              <a:t>Second level</a:t>
            </a:r>
            <a:endParaRPr lang="pt-BR" dirty="0"/>
          </a:p>
        </p:txBody>
      </p:sp>
      <p:sp>
        <p:nvSpPr>
          <p:cNvPr id="10" name="Picture Placeholder 18">
            <a:extLst>
              <a:ext uri="{FF2B5EF4-FFF2-40B4-BE49-F238E27FC236}">
                <a16:creationId xmlns:a16="http://schemas.microsoft.com/office/drawing/2014/main" id="{5552C60D-F6B3-15A8-3518-C6B4BC2F4D3B}"/>
              </a:ext>
            </a:extLst>
          </p:cNvPr>
          <p:cNvSpPr>
            <a:spLocks noGrp="1"/>
          </p:cNvSpPr>
          <p:nvPr>
            <p:ph type="pic" sz="quarter" idx="13" hasCustomPrompt="1"/>
          </p:nvPr>
        </p:nvSpPr>
        <p:spPr bwMode="gray">
          <a:xfrm>
            <a:off x="5040827" y="3650689"/>
            <a:ext cx="3110068" cy="1524000"/>
          </a:xfrm>
          <a:prstGeom prst="rect">
            <a:avLst/>
          </a:prstGeom>
          <a:solidFill>
            <a:schemeClr val="bg1">
              <a:lumMod val="95000"/>
            </a:schemeClr>
          </a:solidFill>
          <a:effectLst/>
        </p:spPr>
        <p:txBody>
          <a:bodyPr lIns="180000" tIns="180000" rIns="180000" bIns="180000" anchor="ctr"/>
          <a:lstStyle>
            <a:lvl1pPr marL="0" indent="0" algn="ctr" rtl="0">
              <a:buNone/>
              <a:defRPr sz="1400" b="0" i="0">
                <a:solidFill>
                  <a:schemeClr val="tx1"/>
                </a:solidFill>
                <a:latin typeface="Graphik" panose="020B0503030202060203" pitchFamily="34" charset="77"/>
              </a:defRPr>
            </a:lvl1pPr>
          </a:lstStyle>
          <a:p>
            <a:r>
              <a:rPr lang="pt-BR"/>
              <a:t>Drag picture to placeholder or click icon to add</a:t>
            </a:r>
            <a:endParaRPr lang="pt-BR" dirty="0"/>
          </a:p>
        </p:txBody>
      </p:sp>
      <p:sp>
        <p:nvSpPr>
          <p:cNvPr id="8" name="Text Placeholder 5">
            <a:extLst>
              <a:ext uri="{FF2B5EF4-FFF2-40B4-BE49-F238E27FC236}">
                <a16:creationId xmlns:a16="http://schemas.microsoft.com/office/drawing/2014/main" id="{0C3EB0FF-A89F-1F16-2674-8CA149E690B3}"/>
              </a:ext>
            </a:extLst>
          </p:cNvPr>
          <p:cNvSpPr>
            <a:spLocks noGrp="1"/>
          </p:cNvSpPr>
          <p:nvPr>
            <p:ph type="body" sz="quarter" idx="41"/>
          </p:nvPr>
        </p:nvSpPr>
        <p:spPr>
          <a:xfrm>
            <a:off x="5068197" y="5404111"/>
            <a:ext cx="3082698" cy="904614"/>
          </a:xfrm>
        </p:spPr>
        <p:txBody>
          <a:bodyPr/>
          <a:lstStyle>
            <a:lvl1pPr rtl="0">
              <a:defRPr>
                <a:solidFill>
                  <a:schemeClr val="bg2"/>
                </a:solidFill>
                <a:latin typeface="Graphik Semibold" panose="020B0703030202060203" pitchFamily="34" charset="0"/>
              </a:defRPr>
            </a:lvl1pPr>
            <a:lvl2pPr marL="0" indent="0" rtl="0">
              <a:buNone/>
              <a:defRPr/>
            </a:lvl2pPr>
          </a:lstStyle>
          <a:p>
            <a:pPr lvl="0"/>
            <a:r>
              <a:rPr lang="pt-BR"/>
              <a:t>Click to edit Master text styles</a:t>
            </a:r>
          </a:p>
          <a:p>
            <a:pPr lvl="1"/>
            <a:r>
              <a:rPr lang="pt-BR"/>
              <a:t>Second level</a:t>
            </a:r>
            <a:endParaRPr lang="pt-BR" dirty="0"/>
          </a:p>
        </p:txBody>
      </p:sp>
      <p:sp>
        <p:nvSpPr>
          <p:cNvPr id="12" name="Picture Placeholder 18">
            <a:extLst>
              <a:ext uri="{FF2B5EF4-FFF2-40B4-BE49-F238E27FC236}">
                <a16:creationId xmlns:a16="http://schemas.microsoft.com/office/drawing/2014/main" id="{8BB12B5F-02FD-86E4-33E5-F8118970C9C9}"/>
              </a:ext>
            </a:extLst>
          </p:cNvPr>
          <p:cNvSpPr>
            <a:spLocks noGrp="1"/>
          </p:cNvSpPr>
          <p:nvPr>
            <p:ph type="pic" sz="quarter" idx="34" hasCustomPrompt="1"/>
          </p:nvPr>
        </p:nvSpPr>
        <p:spPr bwMode="gray">
          <a:xfrm>
            <a:off x="8516471" y="3650689"/>
            <a:ext cx="3110068" cy="1524000"/>
          </a:xfrm>
          <a:prstGeom prst="rect">
            <a:avLst/>
          </a:prstGeom>
          <a:solidFill>
            <a:schemeClr val="bg1">
              <a:lumMod val="95000"/>
            </a:schemeClr>
          </a:solidFill>
          <a:effectLst/>
        </p:spPr>
        <p:txBody>
          <a:bodyPr lIns="180000" tIns="180000" rIns="180000" bIns="180000" anchor="ctr"/>
          <a:lstStyle>
            <a:lvl1pPr marL="0" indent="0" algn="ctr" rtl="0">
              <a:buNone/>
              <a:defRPr sz="1400" b="0" i="0">
                <a:solidFill>
                  <a:schemeClr val="tx1"/>
                </a:solidFill>
                <a:latin typeface="Graphik" panose="020B0503030202060203" pitchFamily="34" charset="77"/>
              </a:defRPr>
            </a:lvl1pPr>
          </a:lstStyle>
          <a:p>
            <a:r>
              <a:rPr lang="pt-BR"/>
              <a:t>Drag picture to placeholder or click icon to add</a:t>
            </a:r>
            <a:endParaRPr lang="pt-BR" dirty="0"/>
          </a:p>
        </p:txBody>
      </p:sp>
      <p:sp>
        <p:nvSpPr>
          <p:cNvPr id="13" name="Text Placeholder 5">
            <a:extLst>
              <a:ext uri="{FF2B5EF4-FFF2-40B4-BE49-F238E27FC236}">
                <a16:creationId xmlns:a16="http://schemas.microsoft.com/office/drawing/2014/main" id="{2CFC039C-2FE3-6F68-1711-363159A29E21}"/>
              </a:ext>
            </a:extLst>
          </p:cNvPr>
          <p:cNvSpPr>
            <a:spLocks noGrp="1"/>
          </p:cNvSpPr>
          <p:nvPr>
            <p:ph type="body" sz="quarter" idx="42"/>
          </p:nvPr>
        </p:nvSpPr>
        <p:spPr>
          <a:xfrm>
            <a:off x="8516471" y="5404111"/>
            <a:ext cx="3082698" cy="904614"/>
          </a:xfrm>
        </p:spPr>
        <p:txBody>
          <a:bodyPr/>
          <a:lstStyle>
            <a:lvl1pPr rtl="0">
              <a:defRPr>
                <a:solidFill>
                  <a:schemeClr val="bg2"/>
                </a:solidFill>
                <a:latin typeface="Graphik Semibold" panose="020B0703030202060203" pitchFamily="34" charset="0"/>
              </a:defRPr>
            </a:lvl1pPr>
            <a:lvl2pPr marL="0" indent="0" rtl="0">
              <a:buNone/>
              <a:defRPr/>
            </a:lvl2pPr>
          </a:lstStyle>
          <a:p>
            <a:pPr lvl="0"/>
            <a:r>
              <a:rPr lang="pt-BR"/>
              <a:t>Click to edit Master text styles</a:t>
            </a:r>
          </a:p>
          <a:p>
            <a:pPr lvl="1"/>
            <a:r>
              <a:rPr lang="pt-BR"/>
              <a:t>Second level</a:t>
            </a:r>
            <a:endParaRPr lang="pt-BR" dirty="0"/>
          </a:p>
        </p:txBody>
      </p:sp>
    </p:spTree>
    <p:extLst>
      <p:ext uri="{BB962C8B-B14F-4D97-AF65-F5344CB8AC3E}">
        <p14:creationId xmlns:p14="http://schemas.microsoft.com/office/powerpoint/2010/main" val="33037627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lient &amp; acquisition cover: gradient">
    <p:bg>
      <p:bgPr>
        <a:solidFill>
          <a:schemeClr val="tx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C1B8CA4-A5F9-0306-20B0-CB44AA37D1F4}"/>
              </a:ext>
            </a:extLst>
          </p:cNvPr>
          <p:cNvGraphicFramePr>
            <a:graphicFrameLocks noChangeAspect="1"/>
          </p:cNvGraphicFramePr>
          <p:nvPr userDrawn="1">
            <p:custDataLst>
              <p:tags r:id="rId1"/>
            </p:custDataLst>
            <p:extLst>
              <p:ext uri="{D42A27DB-BD31-4B8C-83A1-F6EECF244321}">
                <p14:modId xmlns:p14="http://schemas.microsoft.com/office/powerpoint/2010/main" val="2819187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7" name="think-cell data - do not delete" hidden="1">
                        <a:extLst>
                          <a:ext uri="{FF2B5EF4-FFF2-40B4-BE49-F238E27FC236}">
                            <a16:creationId xmlns:a16="http://schemas.microsoft.com/office/drawing/2014/main" id="{CC1B8CA4-A5F9-0306-20B0-CB44AA37D1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gradient">
            <a:extLst>
              <a:ext uri="{FF2B5EF4-FFF2-40B4-BE49-F238E27FC236}">
                <a16:creationId xmlns:a16="http://schemas.microsoft.com/office/drawing/2014/main" id="{50E1CD4C-93E5-0BD5-6237-D39D310F8CC8}"/>
              </a:ext>
              <a:ext uri="{C183D7F6-B498-43B3-948B-1728B52AA6E4}">
                <adec:decorative xmlns:adec="http://schemas.microsoft.com/office/drawing/2017/decorative" val="1"/>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bwMode="invGray">
          <a:xfrm rot="5400000">
            <a:off x="2667738" y="-2666262"/>
            <a:ext cx="6857999" cy="12190525"/>
          </a:xfrm>
          <a:prstGeom prst="rect">
            <a:avLst/>
          </a:prstGeom>
        </p:spPr>
      </p:pic>
      <p:sp>
        <p:nvSpPr>
          <p:cNvPr id="11" name="Title 1">
            <a:extLst>
              <a:ext uri="{FF2B5EF4-FFF2-40B4-BE49-F238E27FC236}">
                <a16:creationId xmlns:a16="http://schemas.microsoft.com/office/drawing/2014/main" id="{441759CF-E2D4-0A80-7950-4AF5952D5985}"/>
              </a:ext>
            </a:extLst>
          </p:cNvPr>
          <p:cNvSpPr>
            <a:spLocks noGrp="1"/>
          </p:cNvSpPr>
          <p:nvPr>
            <p:ph type="ctrTitle"/>
          </p:nvPr>
        </p:nvSpPr>
        <p:spPr bwMode="white">
          <a:xfrm>
            <a:off x="1182796" y="3524590"/>
            <a:ext cx="8813534" cy="664797"/>
          </a:xfrm>
          <a:prstGeom prst="rect">
            <a:avLst/>
          </a:prstGeom>
        </p:spPr>
        <p:txBody>
          <a:bodyPr vert="horz" anchor="b"/>
          <a:lstStyle>
            <a:lvl1pPr algn="l" rtl="0">
              <a:lnSpc>
                <a:spcPct val="90000"/>
              </a:lnSpc>
              <a:defRPr sz="4800">
                <a:solidFill>
                  <a:schemeClr val="tx1"/>
                </a:solidFill>
              </a:defRPr>
            </a:lvl1pPr>
          </a:lstStyle>
          <a:p>
            <a:r>
              <a:rPr lang="pt-BR"/>
              <a:t>Click to edit Master title style</a:t>
            </a:r>
            <a:endParaRPr lang="pt-BR" dirty="0"/>
          </a:p>
        </p:txBody>
      </p:sp>
      <p:sp>
        <p:nvSpPr>
          <p:cNvPr id="10" name="Subtitle 2">
            <a:extLst>
              <a:ext uri="{FF2B5EF4-FFF2-40B4-BE49-F238E27FC236}">
                <a16:creationId xmlns:a16="http://schemas.microsoft.com/office/drawing/2014/main" id="{71313E0C-79AC-2382-CFF0-C1879E03CA7D}"/>
              </a:ext>
            </a:extLst>
          </p:cNvPr>
          <p:cNvSpPr>
            <a:spLocks noGrp="1"/>
          </p:cNvSpPr>
          <p:nvPr>
            <p:ph type="subTitle" idx="1" hasCustomPrompt="1"/>
          </p:nvPr>
        </p:nvSpPr>
        <p:spPr bwMode="white">
          <a:xfrm>
            <a:off x="1182796" y="4302038"/>
            <a:ext cx="5715000" cy="1092845"/>
          </a:xfrm>
          <a:prstGeom prst="rect">
            <a:avLst/>
          </a:prstGeom>
        </p:spPr>
        <p:txBody>
          <a:bodyPr/>
          <a:lstStyle>
            <a:lvl1pPr marL="0" indent="0" algn="l" rtl="0">
              <a:lnSpc>
                <a:spcPct val="90000"/>
              </a:lnSpc>
              <a:spcAft>
                <a:spcPts val="0"/>
              </a:spcAft>
              <a:buNone/>
              <a:defRPr sz="1800" b="0" i="0" spc="0">
                <a:solidFill>
                  <a:schemeClr val="tx1"/>
                </a:solidFill>
                <a:latin typeface="Graphik" panose="020B0503030202060203" pitchFamily="34" charset="77"/>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pPr marL="0" lvl="0" indent="0" algn="l" defTabSz="914377" rtl="0" eaLnBrk="1" latinLnBrk="0" hangingPunct="1">
              <a:lnSpc>
                <a:spcPct val="100000"/>
              </a:lnSpc>
              <a:spcBef>
                <a:spcPts val="0"/>
              </a:spcBef>
              <a:spcAft>
                <a:spcPts val="0"/>
              </a:spcAft>
              <a:buFont typeface="Graphik" panose="020B0604020202020204" pitchFamily="34" charset="0"/>
              <a:buNone/>
            </a:pPr>
            <a:r>
              <a:rPr lang="pt-BR"/>
              <a:t>Place subtitle here in Graphik regular</a:t>
            </a:r>
            <a:endParaRPr lang="pt-BR" dirty="0"/>
          </a:p>
        </p:txBody>
      </p:sp>
      <p:sp>
        <p:nvSpPr>
          <p:cNvPr id="3" name="Picture Placeholder 11" descr="Image placeholder for client logo">
            <a:extLst>
              <a:ext uri="{FF2B5EF4-FFF2-40B4-BE49-F238E27FC236}">
                <a16:creationId xmlns:a16="http://schemas.microsoft.com/office/drawing/2014/main" id="{C5FB3CF4-DD64-BD63-23C6-97F8FC097FD4}"/>
              </a:ext>
            </a:extLst>
          </p:cNvPr>
          <p:cNvSpPr>
            <a:spLocks noGrp="1"/>
          </p:cNvSpPr>
          <p:nvPr>
            <p:ph type="pic" sz="quarter" idx="13" hasCustomPrompt="1"/>
          </p:nvPr>
        </p:nvSpPr>
        <p:spPr>
          <a:xfrm>
            <a:off x="1143003" y="821769"/>
            <a:ext cx="1884233" cy="985085"/>
          </a:xfrm>
          <a:prstGeom prst="rect">
            <a:avLst/>
          </a:prstGeom>
        </p:spPr>
        <p:txBody>
          <a:bodyPr anchor="ctr"/>
          <a:lstStyle>
            <a:lvl1pPr algn="ctr" rtl="0">
              <a:buFont typeface="Graphik" panose="020B0604020202020204" pitchFamily="34" charset="0"/>
              <a:buNone/>
              <a:defRPr sz="1400" b="0" i="0">
                <a:solidFill>
                  <a:schemeClr val="tx1"/>
                </a:solidFill>
                <a:latin typeface="Graphik" panose="020B0503030202060203" pitchFamily="34" charset="77"/>
              </a:defRPr>
            </a:lvl1pPr>
          </a:lstStyle>
          <a:p>
            <a:r>
              <a:rPr lang="pt-BR"/>
              <a:t>Add client logo</a:t>
            </a:r>
            <a:endParaRPr lang="pt-BR" dirty="0"/>
          </a:p>
        </p:txBody>
      </p:sp>
      <p:sp>
        <p:nvSpPr>
          <p:cNvPr id="9" name="Text Placeholder 1">
            <a:extLst>
              <a:ext uri="{FF2B5EF4-FFF2-40B4-BE49-F238E27FC236}">
                <a16:creationId xmlns:a16="http://schemas.microsoft.com/office/drawing/2014/main" id="{EF8263C3-A1F7-3492-0FC4-3EB7054D3058}"/>
              </a:ext>
            </a:extLst>
          </p:cNvPr>
          <p:cNvSpPr>
            <a:spLocks noGrp="1"/>
          </p:cNvSpPr>
          <p:nvPr>
            <p:ph type="body" sz="quarter" idx="16" hasCustomPrompt="1"/>
          </p:nvPr>
        </p:nvSpPr>
        <p:spPr>
          <a:xfrm>
            <a:off x="1178689" y="5495715"/>
            <a:ext cx="2825654" cy="184666"/>
          </a:xfrm>
          <a:prstGeom prst="rect">
            <a:avLst/>
          </a:prstGeom>
        </p:spPr>
        <p:txBody>
          <a:bodyPr wrap="square">
            <a:spAutoFit/>
          </a:bodyPr>
          <a:lstStyle>
            <a:lvl1pPr marL="0" indent="0" algn="l" defTabSz="914377" rtl="0" eaLnBrk="1" latinLnBrk="0" hangingPunct="1">
              <a:spcAft>
                <a:spcPts val="0"/>
              </a:spcAft>
              <a:buNone/>
              <a:defRPr lang="en-US" sz="1200" b="0" i="0" kern="1200" dirty="0">
                <a:solidFill>
                  <a:schemeClr val="tx1"/>
                </a:solidFill>
                <a:latin typeface="Graphik Semibold" panose="020B0703030202060203" pitchFamily="34" charset="0"/>
                <a:ea typeface="+mn-ea"/>
                <a:cs typeface="+mn-cs"/>
              </a:defRPr>
            </a:lvl1pPr>
            <a:lvl2pPr marL="0" algn="l" defTabSz="914377" rtl="0" eaLnBrk="1" latinLnBrk="0" hangingPunct="1">
              <a:spcAft>
                <a:spcPts val="0"/>
              </a:spcAft>
              <a:defRPr lang="en-US" sz="1400" b="0" kern="1200" dirty="0" smtClean="0">
                <a:solidFill>
                  <a:schemeClr val="tx1"/>
                </a:solidFill>
                <a:latin typeface="+mn-lt"/>
                <a:ea typeface="+mn-ea"/>
                <a:cs typeface="+mn-cs"/>
              </a:defRPr>
            </a:lvl2pPr>
            <a:lvl3pPr marL="0" algn="l" defTabSz="914377" rtl="0" eaLnBrk="1" latinLnBrk="0" hangingPunct="1">
              <a:spcAft>
                <a:spcPts val="0"/>
              </a:spcAft>
              <a:defRPr lang="en-US" sz="1400" b="0" kern="1200" dirty="0" smtClean="0">
                <a:solidFill>
                  <a:schemeClr val="tx1"/>
                </a:solidFill>
                <a:latin typeface="+mn-lt"/>
                <a:ea typeface="+mn-ea"/>
                <a:cs typeface="+mn-cs"/>
              </a:defRPr>
            </a:lvl3pPr>
            <a:lvl4pPr marL="0" algn="l" defTabSz="914377" rtl="0" eaLnBrk="1" latinLnBrk="0" hangingPunct="1">
              <a:spcAft>
                <a:spcPts val="0"/>
              </a:spcAft>
              <a:defRPr lang="en-US" sz="1400" b="0" kern="1200" dirty="0" smtClean="0">
                <a:solidFill>
                  <a:schemeClr val="tx1"/>
                </a:solidFill>
                <a:latin typeface="+mn-lt"/>
                <a:ea typeface="+mn-ea"/>
                <a:cs typeface="+mn-cs"/>
              </a:defRPr>
            </a:lvl4pPr>
            <a:lvl5pPr marL="0" algn="l" defTabSz="914377" rtl="0" eaLnBrk="1" latinLnBrk="0" hangingPunct="1">
              <a:spcAft>
                <a:spcPts val="0"/>
              </a:spcAft>
              <a:defRPr lang="en-US" sz="1400" b="0" kern="1200" dirty="0" smtClean="0">
                <a:solidFill>
                  <a:schemeClr val="tx1"/>
                </a:solidFill>
                <a:latin typeface="+mn-lt"/>
                <a:ea typeface="+mn-ea"/>
                <a:cs typeface="+mn-cs"/>
              </a:defRPr>
            </a:lvl5pPr>
          </a:lstStyle>
          <a:p>
            <a:pPr lvl="0"/>
            <a:r>
              <a:rPr lang="pt-BR"/>
              <a:t>MM.DD.YYYY</a:t>
            </a:r>
            <a:endParaRPr lang="pt-BR" dirty="0"/>
          </a:p>
        </p:txBody>
      </p:sp>
      <p:sp>
        <p:nvSpPr>
          <p:cNvPr id="6" name="Text Placeholder 2">
            <a:extLst>
              <a:ext uri="{FF2B5EF4-FFF2-40B4-BE49-F238E27FC236}">
                <a16:creationId xmlns:a16="http://schemas.microsoft.com/office/drawing/2014/main" id="{36794D19-B699-311B-25DD-C0D60FC7889B}"/>
              </a:ext>
            </a:extLst>
          </p:cNvPr>
          <p:cNvSpPr>
            <a:spLocks noGrp="1"/>
          </p:cNvSpPr>
          <p:nvPr>
            <p:ph type="body" sz="quarter" idx="12" hasCustomPrompt="1"/>
          </p:nvPr>
        </p:nvSpPr>
        <p:spPr bwMode="white">
          <a:xfrm>
            <a:off x="1182796" y="5781214"/>
            <a:ext cx="5714999" cy="530687"/>
          </a:xfrm>
          <a:prstGeom prst="rect">
            <a:avLst/>
          </a:prstGeom>
        </p:spPr>
        <p:txBody>
          <a:bodyPr/>
          <a:lstStyle>
            <a:lvl1pPr marL="0" indent="0" algn="l" defTabSz="914377" rtl="0" eaLnBrk="1" latinLnBrk="0" hangingPunct="1">
              <a:spcAft>
                <a:spcPts val="0"/>
              </a:spcAft>
              <a:buNone/>
              <a:defRPr lang="en-US" sz="1200" b="0" i="0" kern="1200" dirty="0" smtClean="0">
                <a:solidFill>
                  <a:schemeClr val="tx1"/>
                </a:solidFill>
                <a:latin typeface="Graphik" panose="020B0503030202060203" pitchFamily="34" charset="77"/>
                <a:ea typeface="+mn-ea"/>
                <a:cs typeface="+mn-cs"/>
              </a:defRPr>
            </a:lvl1pPr>
            <a:lvl2pPr marL="0" algn="l" defTabSz="914377" rtl="0" eaLnBrk="1" latinLnBrk="0" hangingPunct="1">
              <a:spcAft>
                <a:spcPts val="0"/>
              </a:spcAft>
              <a:defRPr lang="en-US" sz="1400" b="0" kern="1200" dirty="0" smtClean="0">
                <a:solidFill>
                  <a:schemeClr val="tx1"/>
                </a:solidFill>
                <a:latin typeface="+mn-lt"/>
                <a:ea typeface="+mn-ea"/>
                <a:cs typeface="+mn-cs"/>
              </a:defRPr>
            </a:lvl2pPr>
            <a:lvl3pPr marL="0" algn="l" defTabSz="914377" rtl="0" eaLnBrk="1" latinLnBrk="0" hangingPunct="1">
              <a:spcAft>
                <a:spcPts val="0"/>
              </a:spcAft>
              <a:defRPr lang="en-US" sz="1400" b="0" kern="1200" dirty="0" smtClean="0">
                <a:solidFill>
                  <a:schemeClr val="tx1"/>
                </a:solidFill>
                <a:latin typeface="+mn-lt"/>
                <a:ea typeface="+mn-ea"/>
                <a:cs typeface="+mn-cs"/>
              </a:defRPr>
            </a:lvl3pPr>
            <a:lvl4pPr marL="0" algn="l" defTabSz="914377" rtl="0" eaLnBrk="1" latinLnBrk="0" hangingPunct="1">
              <a:spcAft>
                <a:spcPts val="0"/>
              </a:spcAft>
              <a:defRPr lang="en-US" sz="1400" b="0" kern="1200" dirty="0" smtClean="0">
                <a:solidFill>
                  <a:schemeClr val="tx1"/>
                </a:solidFill>
                <a:latin typeface="+mn-lt"/>
                <a:ea typeface="+mn-ea"/>
                <a:cs typeface="+mn-cs"/>
              </a:defRPr>
            </a:lvl4pPr>
            <a:lvl5pPr marL="0" algn="l" defTabSz="914377" rtl="0" eaLnBrk="1" latinLnBrk="0" hangingPunct="1">
              <a:spcAft>
                <a:spcPts val="0"/>
              </a:spcAft>
              <a:defRPr lang="en-US" sz="1400" b="0" kern="1200" dirty="0" smtClean="0">
                <a:solidFill>
                  <a:schemeClr val="tx1"/>
                </a:solidFill>
                <a:latin typeface="+mn-lt"/>
                <a:ea typeface="+mn-ea"/>
                <a:cs typeface="+mn-cs"/>
              </a:defRPr>
            </a:lvl5pPr>
          </a:lstStyle>
          <a:p>
            <a:pPr lvl="0"/>
            <a:r>
              <a:rPr lang="pt-BR"/>
              <a:t>Presenter</a:t>
            </a:r>
            <a:endParaRPr lang="pt-BR" dirty="0"/>
          </a:p>
        </p:txBody>
      </p:sp>
    </p:spTree>
    <p:extLst>
      <p:ext uri="{BB962C8B-B14F-4D97-AF65-F5344CB8AC3E}">
        <p14:creationId xmlns:p14="http://schemas.microsoft.com/office/powerpoint/2010/main" val="305088840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t: statistics + image, light and purple">
    <p:bg>
      <p:bgRef idx="1001">
        <a:schemeClr val="bg1"/>
      </p:bgRef>
    </p:bg>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E451440E-6B02-EBD5-ECAF-48146C7AB857}"/>
              </a:ext>
            </a:extLst>
          </p:cNvPr>
          <p:cNvGraphicFramePr>
            <a:graphicFrameLocks noChangeAspect="1"/>
          </p:cNvGraphicFramePr>
          <p:nvPr userDrawn="1">
            <p:custDataLst>
              <p:tags r:id="rId1"/>
            </p:custDataLst>
            <p:extLst>
              <p:ext uri="{D42A27DB-BD31-4B8C-83A1-F6EECF244321}">
                <p14:modId xmlns:p14="http://schemas.microsoft.com/office/powerpoint/2010/main" val="3909786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11" name="think-cell data - do not delete" hidden="1">
                        <a:extLst>
                          <a:ext uri="{FF2B5EF4-FFF2-40B4-BE49-F238E27FC236}">
                            <a16:creationId xmlns:a16="http://schemas.microsoft.com/office/drawing/2014/main" id="{E451440E-6B02-EBD5-ECAF-48146C7AB8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BB918B6-32FF-4857-A645-C1032AFAEF62}"/>
              </a:ext>
            </a:extLst>
          </p:cNvPr>
          <p:cNvSpPr>
            <a:spLocks noGrp="1"/>
          </p:cNvSpPr>
          <p:nvPr>
            <p:ph type="title" hasCustomPrompt="1"/>
          </p:nvPr>
        </p:nvSpPr>
        <p:spPr>
          <a:xfrm>
            <a:off x="561601" y="1085532"/>
            <a:ext cx="5292575" cy="984885"/>
          </a:xfrm>
          <a:prstGeom prst="rect">
            <a:avLst/>
          </a:prstGeom>
        </p:spPr>
        <p:txBody>
          <a:bodyPr vert="horz" anchor="ctr"/>
          <a:lstStyle>
            <a:lvl1pPr rtl="0">
              <a:defRPr sz="4000"/>
            </a:lvl1pPr>
          </a:lstStyle>
          <a:p>
            <a:r>
              <a:rPr lang="pt-BR"/>
              <a:t>Place headline in Graphik Semibold</a:t>
            </a:r>
            <a:endParaRPr lang="pt-BR" dirty="0"/>
          </a:p>
        </p:txBody>
      </p:sp>
      <p:sp>
        <p:nvSpPr>
          <p:cNvPr id="38" name="Picture Placeholder 3">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76" y="0"/>
            <a:ext cx="3048024" cy="3089456"/>
          </a:xfrm>
          <a:prstGeom prst="rect">
            <a:avLst/>
          </a:prstGeom>
          <a:solidFill>
            <a:schemeClr val="bg1">
              <a:lumMod val="95000"/>
            </a:schemeClr>
          </a:solidFill>
        </p:spPr>
        <p:txBody>
          <a:bodyPr tIns="274320" anchor="ctr"/>
          <a:lstStyle>
            <a:lvl1pPr marL="0" indent="0" algn="ctr" rtl="0">
              <a:buNone/>
              <a:defRPr sz="1400" b="0" i="0">
                <a:solidFill>
                  <a:schemeClr val="tx1"/>
                </a:solidFill>
                <a:latin typeface="Graphik" panose="020B0503030202060203" pitchFamily="34" charset="77"/>
              </a:defRPr>
            </a:lvl1pPr>
          </a:lstStyle>
          <a:p>
            <a:r>
              <a:rPr lang="pt-BR"/>
              <a:t>Drag picture to placeholder </a:t>
            </a:r>
          </a:p>
          <a:p>
            <a:r>
              <a:rPr lang="pt-BR"/>
              <a:t>or click icon to add</a:t>
            </a:r>
            <a:endParaRPr lang="pt-BR" dirty="0"/>
          </a:p>
        </p:txBody>
      </p:sp>
      <p:sp>
        <p:nvSpPr>
          <p:cNvPr id="46" name="Text Placeholder 4">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9525005" y="319269"/>
            <a:ext cx="2285996" cy="912223"/>
          </a:xfrm>
          <a:prstGeom prst="rect">
            <a:avLst/>
          </a:prstGeom>
        </p:spPr>
        <p:txBody>
          <a:bodyPr anchor="ctr"/>
          <a:lstStyle>
            <a:lvl1pPr marL="0" indent="0" rtl="0">
              <a:buNone/>
              <a:defRPr lang="en-US" sz="5333" b="1" i="0" kern="1200" dirty="0">
                <a:solidFill>
                  <a:schemeClr val="bg2"/>
                </a:solidFill>
                <a:latin typeface="Graphik Semibold" panose="020B0503030202060203" pitchFamily="34" charset="77"/>
                <a:ea typeface="+mn-ea"/>
                <a:cs typeface="+mn-cs"/>
              </a:defRPr>
            </a:lvl1pPr>
            <a:lvl2pPr>
              <a:defRPr/>
            </a:lvl2pPr>
            <a:lvl3pPr>
              <a:defRPr/>
            </a:lvl3pPr>
            <a:lvl4pPr>
              <a:defRPr/>
            </a:lvl4pPr>
            <a:lvl5pPr>
              <a:defRPr/>
            </a:lvl5pPr>
          </a:lstStyle>
          <a:p>
            <a:pPr marL="228594" lvl="0" indent="-228594" algn="l" defTabSz="914377" rtl="0" eaLnBrk="1" latinLnBrk="0" hangingPunct="1">
              <a:lnSpc>
                <a:spcPct val="100000"/>
              </a:lnSpc>
              <a:spcBef>
                <a:spcPts val="0"/>
              </a:spcBef>
              <a:spcAft>
                <a:spcPts val="1200"/>
              </a:spcAft>
            </a:pPr>
            <a:r>
              <a:rPr lang="pt-BR"/>
              <a:t>00x</a:t>
            </a:r>
            <a:endParaRPr lang="pt-BR" dirty="0"/>
          </a:p>
        </p:txBody>
      </p:sp>
      <p:sp>
        <p:nvSpPr>
          <p:cNvPr id="10" name="Text Placeholder 6">
            <a:extLst>
              <a:ext uri="{FF2B5EF4-FFF2-40B4-BE49-F238E27FC236}">
                <a16:creationId xmlns:a16="http://schemas.microsoft.com/office/drawing/2014/main" id="{0E13751C-7DFF-BC74-C2E3-F873D7210D7F}"/>
              </a:ext>
            </a:extLst>
          </p:cNvPr>
          <p:cNvSpPr>
            <a:spLocks noGrp="1"/>
          </p:cNvSpPr>
          <p:nvPr>
            <p:ph type="body" sz="quarter" idx="32"/>
          </p:nvPr>
        </p:nvSpPr>
        <p:spPr>
          <a:xfrm>
            <a:off x="9525004" y="1472692"/>
            <a:ext cx="2286000" cy="1439333"/>
          </a:xfrm>
        </p:spPr>
        <p:txBody>
          <a:bodyPr/>
          <a:lstStyle>
            <a:lvl1pPr rtl="0">
              <a:spcAft>
                <a:spcPts val="600"/>
              </a:spcAft>
              <a:defRPr sz="1800" i="0">
                <a:latin typeface="Graphik Semibold" panose="020B0703030202060203" pitchFamily="34" charset="0"/>
              </a:defRPr>
            </a:lvl1pPr>
            <a:lvl2pPr marL="0" indent="0" rtl="0">
              <a:spcAft>
                <a:spcPts val="600"/>
              </a:spcAft>
              <a:buNone/>
              <a:defRPr sz="1200"/>
            </a:lvl2pPr>
            <a:lvl3pPr marL="230394" indent="-230394" rtl="0">
              <a:spcAft>
                <a:spcPts val="600"/>
              </a:spcAft>
              <a:buFont typeface="Arial" panose="020B0604020202020204" pitchFamily="34" charset="0"/>
              <a:buChar char="•"/>
              <a:tabLst/>
              <a:defRPr sz="1200"/>
            </a:lvl3pPr>
            <a:lvl4pPr marL="230394" indent="-230394" rtl="0">
              <a:spcAft>
                <a:spcPts val="600"/>
              </a:spcAft>
              <a:defRPr sz="1200"/>
            </a:lvl4pPr>
            <a:lvl5pPr marL="230394" indent="-228594" rtl="0">
              <a:spcAft>
                <a:spcPts val="600"/>
              </a:spcAft>
              <a:buFont typeface="Arial" panose="020B0604020202020204" pitchFamily="34" charset="0"/>
              <a:buChar char="•"/>
              <a:tabLst/>
              <a:defRPr sz="1200"/>
            </a:lvl5pPr>
          </a:lstStyle>
          <a:p>
            <a:pPr lvl="0"/>
            <a:r>
              <a:rPr lang="pt-BR"/>
              <a:t>Click to edit Master text styles</a:t>
            </a:r>
          </a:p>
          <a:p>
            <a:pPr lvl="1"/>
            <a:r>
              <a:rPr lang="pt-BR"/>
              <a:t>Second level</a:t>
            </a:r>
          </a:p>
          <a:p>
            <a:pPr lvl="2"/>
            <a:r>
              <a:rPr lang="pt-BR"/>
              <a:t>Third level</a:t>
            </a:r>
          </a:p>
          <a:p>
            <a:pPr lvl="3"/>
            <a:r>
              <a:rPr lang="pt-BR"/>
              <a:t>Fourth level</a:t>
            </a:r>
          </a:p>
          <a:p>
            <a:pPr lvl="4"/>
            <a:r>
              <a:rPr lang="pt-BR"/>
              <a:t>Fifth level</a:t>
            </a:r>
            <a:endParaRPr lang="pt-BR" dirty="0"/>
          </a:p>
        </p:txBody>
      </p:sp>
      <p:sp>
        <p:nvSpPr>
          <p:cNvPr id="21" name="Picture Placeholder 6">
            <a:extLst>
              <a:ext uri="{FF2B5EF4-FFF2-40B4-BE49-F238E27FC236}">
                <a16:creationId xmlns:a16="http://schemas.microsoft.com/office/drawing/2014/main" id="{4CA191CE-F49B-4889-A102-DDD1279F3FB2}"/>
              </a:ext>
            </a:extLst>
          </p:cNvPr>
          <p:cNvSpPr>
            <a:spLocks noGrp="1"/>
          </p:cNvSpPr>
          <p:nvPr>
            <p:ph type="pic" sz="quarter" idx="23" hasCustomPrompt="1"/>
          </p:nvPr>
        </p:nvSpPr>
        <p:spPr bwMode="gray">
          <a:xfrm>
            <a:off x="0" y="3089456"/>
            <a:ext cx="3048000" cy="3039884"/>
          </a:xfrm>
          <a:prstGeom prst="rect">
            <a:avLst/>
          </a:prstGeom>
          <a:solidFill>
            <a:schemeClr val="bg1">
              <a:lumMod val="95000"/>
            </a:schemeClr>
          </a:solidFill>
        </p:spPr>
        <p:txBody>
          <a:bodyPr vert="horz" lIns="0" tIns="274320" rIns="0" bIns="0" rtlCol="0" anchor="ctr">
            <a:noAutofit/>
          </a:bodyPr>
          <a:lstStyle>
            <a:lvl1pPr marL="0" indent="0" algn="ctr" rtl="0">
              <a:buNone/>
              <a:defRPr lang="en-US" sz="1400" b="0" i="0" dirty="0">
                <a:latin typeface="Graphik" panose="020B0503030202060203" pitchFamily="34" charset="77"/>
              </a:defRPr>
            </a:lvl1pPr>
          </a:lstStyle>
          <a:p>
            <a:pPr marL="228594" lvl="0" indent="-228594" algn="ctr"/>
            <a:r>
              <a:rPr lang="pt-BR"/>
              <a:t>Drag picture to placeholder </a:t>
            </a:r>
          </a:p>
          <a:p>
            <a:pPr marL="228594" lvl="0" indent="-228594" algn="ctr"/>
            <a:r>
              <a:rPr lang="pt-BR"/>
              <a:t>or click icon to add</a:t>
            </a:r>
            <a:endParaRPr lang="pt-BR" dirty="0"/>
          </a:p>
        </p:txBody>
      </p:sp>
      <p:sp>
        <p:nvSpPr>
          <p:cNvPr id="8" name="Rectangle 7">
            <a:extLst>
              <a:ext uri="{FF2B5EF4-FFF2-40B4-BE49-F238E27FC236}">
                <a16:creationId xmlns:a16="http://schemas.microsoft.com/office/drawing/2014/main" id="{3D16F949-3472-4EBC-9DC1-05EC807C9FC0}"/>
              </a:ext>
              <a:ext uri="{C183D7F6-B498-43B3-948B-1728B52AA6E4}">
                <adec:decorative xmlns:adec="http://schemas.microsoft.com/office/drawing/2017/decorative" val="1"/>
              </a:ext>
            </a:extLst>
          </p:cNvPr>
          <p:cNvSpPr/>
          <p:nvPr userDrawn="1"/>
        </p:nvSpPr>
        <p:spPr bwMode="white">
          <a:xfrm>
            <a:off x="3048000" y="3089456"/>
            <a:ext cx="3047968" cy="303988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pt-BR" sz="1351" b="0" i="0" dirty="0">
              <a:solidFill>
                <a:srgbClr val="FFFFFF"/>
              </a:solidFill>
              <a:latin typeface="Graphik" panose="020B0503030202060203" pitchFamily="34" charset="77"/>
            </a:endParaRPr>
          </a:p>
        </p:txBody>
      </p:sp>
      <p:sp>
        <p:nvSpPr>
          <p:cNvPr id="48" name="Text Placeholder 7">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428989" y="3384433"/>
            <a:ext cx="2285996" cy="912223"/>
          </a:xfrm>
          <a:prstGeom prst="rect">
            <a:avLst/>
          </a:prstGeom>
        </p:spPr>
        <p:txBody>
          <a:bodyPr anchor="ctr"/>
          <a:lstStyle>
            <a:lvl1pPr marL="0" indent="0" rtl="0">
              <a:buNone/>
              <a:defRPr lang="en-US" sz="5333" b="0" i="0" kern="1200" dirty="0">
                <a:solidFill>
                  <a:schemeClr val="bg1"/>
                </a:solidFill>
                <a:latin typeface="Graphik Semibold" panose="020B0503030202060203" pitchFamily="34" charset="77"/>
                <a:ea typeface="+mn-ea"/>
                <a:cs typeface="+mn-cs"/>
              </a:defRPr>
            </a:lvl1pPr>
            <a:lvl2pPr>
              <a:defRPr/>
            </a:lvl2pPr>
            <a:lvl3pPr>
              <a:defRPr/>
            </a:lvl3pPr>
            <a:lvl4pPr>
              <a:defRPr/>
            </a:lvl4pPr>
            <a:lvl5pPr>
              <a:defRPr/>
            </a:lvl5pPr>
          </a:lstStyle>
          <a:p>
            <a:pPr marL="228594" lvl="0" indent="-228594" algn="l" defTabSz="914377" rtl="0" eaLnBrk="1" latinLnBrk="0" hangingPunct="1">
              <a:lnSpc>
                <a:spcPct val="100000"/>
              </a:lnSpc>
              <a:spcBef>
                <a:spcPts val="0"/>
              </a:spcBef>
              <a:spcAft>
                <a:spcPts val="1200"/>
              </a:spcAft>
            </a:pPr>
            <a:r>
              <a:rPr lang="pt-BR"/>
              <a:t>00x</a:t>
            </a:r>
            <a:endParaRPr lang="pt-BR" dirty="0"/>
          </a:p>
        </p:txBody>
      </p:sp>
      <p:sp>
        <p:nvSpPr>
          <p:cNvPr id="7" name="Text Placeholder 6">
            <a:extLst>
              <a:ext uri="{FF2B5EF4-FFF2-40B4-BE49-F238E27FC236}">
                <a16:creationId xmlns:a16="http://schemas.microsoft.com/office/drawing/2014/main" id="{177CEAEA-C612-CFB5-8548-FA7A606FA780}"/>
              </a:ext>
            </a:extLst>
          </p:cNvPr>
          <p:cNvSpPr>
            <a:spLocks noGrp="1"/>
          </p:cNvSpPr>
          <p:nvPr>
            <p:ph type="body" sz="quarter" idx="30"/>
          </p:nvPr>
        </p:nvSpPr>
        <p:spPr>
          <a:xfrm>
            <a:off x="3428948" y="4508500"/>
            <a:ext cx="2286000" cy="1439333"/>
          </a:xfrm>
        </p:spPr>
        <p:txBody>
          <a:bodyPr/>
          <a:lstStyle>
            <a:lvl1pPr rtl="0">
              <a:spcAft>
                <a:spcPts val="600"/>
              </a:spcAft>
              <a:defRPr sz="1800" i="0">
                <a:solidFill>
                  <a:srgbClr val="FFFFFF"/>
                </a:solidFill>
                <a:latin typeface="Graphik Semibold" panose="020B0703030202060203" pitchFamily="34" charset="0"/>
              </a:defRPr>
            </a:lvl1pPr>
            <a:lvl2pPr marL="0" indent="0" rtl="0">
              <a:spcAft>
                <a:spcPts val="600"/>
              </a:spcAft>
              <a:buNone/>
              <a:defRPr sz="1200">
                <a:solidFill>
                  <a:srgbClr val="FFFFFF"/>
                </a:solidFill>
              </a:defRPr>
            </a:lvl2pPr>
            <a:lvl3pPr marL="230394" indent="-230394" rtl="0">
              <a:spcAft>
                <a:spcPts val="600"/>
              </a:spcAft>
              <a:buFont typeface="Arial" panose="020B0604020202020204" pitchFamily="34" charset="0"/>
              <a:buChar char="•"/>
              <a:tabLst/>
              <a:defRPr sz="1200">
                <a:solidFill>
                  <a:srgbClr val="FFFFFF"/>
                </a:solidFill>
              </a:defRPr>
            </a:lvl3pPr>
            <a:lvl4pPr marL="230394" indent="-230394" rtl="0">
              <a:spcAft>
                <a:spcPts val="600"/>
              </a:spcAft>
              <a:defRPr sz="1200">
                <a:solidFill>
                  <a:srgbClr val="FFFFFF"/>
                </a:solidFill>
              </a:defRPr>
            </a:lvl4pPr>
            <a:lvl5pPr marL="230394" indent="-228594" rtl="0">
              <a:spcAft>
                <a:spcPts val="600"/>
              </a:spcAft>
              <a:buFont typeface="Arial" panose="020B0604020202020204" pitchFamily="34" charset="0"/>
              <a:buChar char="•"/>
              <a:tabLst/>
              <a:defRPr sz="1200">
                <a:solidFill>
                  <a:srgbClr val="FFFFFF"/>
                </a:solidFill>
              </a:defRPr>
            </a:lvl5pPr>
          </a:lstStyle>
          <a:p>
            <a:pPr lvl="0"/>
            <a:r>
              <a:rPr lang="pt-BR"/>
              <a:t>Click to edit Master text styles</a:t>
            </a:r>
          </a:p>
          <a:p>
            <a:pPr lvl="1"/>
            <a:r>
              <a:rPr lang="pt-BR"/>
              <a:t>Second level</a:t>
            </a:r>
          </a:p>
          <a:p>
            <a:pPr lvl="2"/>
            <a:r>
              <a:rPr lang="pt-BR"/>
              <a:t>Third level</a:t>
            </a:r>
          </a:p>
          <a:p>
            <a:pPr lvl="3"/>
            <a:r>
              <a:rPr lang="pt-BR"/>
              <a:t>Fourth level</a:t>
            </a:r>
          </a:p>
          <a:p>
            <a:pPr lvl="4"/>
            <a:r>
              <a:rPr lang="pt-BR"/>
              <a:t>Fifth level</a:t>
            </a:r>
            <a:endParaRPr lang="pt-BR" dirty="0"/>
          </a:p>
        </p:txBody>
      </p:sp>
      <p:sp>
        <p:nvSpPr>
          <p:cNvPr id="50" name="Text Placeholder 9">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6476999" y="3384433"/>
            <a:ext cx="2285996" cy="912223"/>
          </a:xfrm>
          <a:prstGeom prst="rect">
            <a:avLst/>
          </a:prstGeom>
        </p:spPr>
        <p:txBody>
          <a:bodyPr anchor="ctr"/>
          <a:lstStyle>
            <a:lvl1pPr marL="0" indent="0" rtl="0">
              <a:buNone/>
              <a:defRPr lang="en-US" sz="5333" b="1" i="0" kern="1200" dirty="0">
                <a:solidFill>
                  <a:schemeClr val="bg2"/>
                </a:solidFill>
                <a:latin typeface="Graphik Semibold" panose="020B0503030202060203" pitchFamily="34" charset="77"/>
                <a:ea typeface="+mn-ea"/>
                <a:cs typeface="+mn-cs"/>
              </a:defRPr>
            </a:lvl1pPr>
            <a:lvl2pPr>
              <a:defRPr/>
            </a:lvl2pPr>
            <a:lvl3pPr>
              <a:defRPr/>
            </a:lvl3pPr>
            <a:lvl4pPr>
              <a:defRPr/>
            </a:lvl4pPr>
            <a:lvl5pPr>
              <a:defRPr/>
            </a:lvl5pPr>
          </a:lstStyle>
          <a:p>
            <a:pPr marL="228594" lvl="0" indent="-228594" algn="l" defTabSz="914377" rtl="0" eaLnBrk="1" latinLnBrk="0" hangingPunct="1">
              <a:lnSpc>
                <a:spcPct val="100000"/>
              </a:lnSpc>
              <a:spcBef>
                <a:spcPts val="0"/>
              </a:spcBef>
              <a:spcAft>
                <a:spcPts val="1200"/>
              </a:spcAft>
            </a:pPr>
            <a:r>
              <a:rPr lang="pt-BR"/>
              <a:t>00x</a:t>
            </a:r>
            <a:endParaRPr lang="pt-BR" dirty="0"/>
          </a:p>
        </p:txBody>
      </p:sp>
      <p:sp>
        <p:nvSpPr>
          <p:cNvPr id="4" name="Text Placeholder 6">
            <a:extLst>
              <a:ext uri="{FF2B5EF4-FFF2-40B4-BE49-F238E27FC236}">
                <a16:creationId xmlns:a16="http://schemas.microsoft.com/office/drawing/2014/main" id="{C15EB609-6106-F616-161A-9233408C6233}"/>
              </a:ext>
            </a:extLst>
          </p:cNvPr>
          <p:cNvSpPr>
            <a:spLocks noGrp="1"/>
          </p:cNvSpPr>
          <p:nvPr>
            <p:ph type="body" sz="quarter" idx="29"/>
          </p:nvPr>
        </p:nvSpPr>
        <p:spPr>
          <a:xfrm>
            <a:off x="6476916" y="4508500"/>
            <a:ext cx="2286000" cy="1439333"/>
          </a:xfrm>
        </p:spPr>
        <p:txBody>
          <a:bodyPr/>
          <a:lstStyle>
            <a:lvl1pPr rtl="0">
              <a:spcAft>
                <a:spcPts val="600"/>
              </a:spcAft>
              <a:defRPr sz="1800" i="0">
                <a:latin typeface="Graphik Semibold" panose="020B0703030202060203" pitchFamily="34" charset="0"/>
              </a:defRPr>
            </a:lvl1pPr>
            <a:lvl2pPr marL="0" indent="0" rtl="0">
              <a:spcAft>
                <a:spcPts val="600"/>
              </a:spcAft>
              <a:buNone/>
              <a:defRPr sz="1200"/>
            </a:lvl2pPr>
            <a:lvl3pPr marL="230394" indent="-230394" rtl="0">
              <a:spcAft>
                <a:spcPts val="600"/>
              </a:spcAft>
              <a:buFont typeface="Arial" panose="020B0604020202020204" pitchFamily="34" charset="0"/>
              <a:buChar char="•"/>
              <a:tabLst/>
              <a:defRPr sz="1200"/>
            </a:lvl3pPr>
            <a:lvl4pPr marL="230394" indent="-230394" rtl="0">
              <a:spcAft>
                <a:spcPts val="600"/>
              </a:spcAft>
              <a:defRPr sz="1200"/>
            </a:lvl4pPr>
            <a:lvl5pPr marL="230394" indent="-228594" rtl="0">
              <a:spcAft>
                <a:spcPts val="600"/>
              </a:spcAft>
              <a:buFont typeface="Arial" panose="020B0604020202020204" pitchFamily="34" charset="0"/>
              <a:buChar char="•"/>
              <a:tabLst/>
              <a:defRPr sz="1200"/>
            </a:lvl5pPr>
          </a:lstStyle>
          <a:p>
            <a:pPr lvl="0"/>
            <a:r>
              <a:rPr lang="pt-BR"/>
              <a:t>Click to edit Master text styles</a:t>
            </a:r>
          </a:p>
          <a:p>
            <a:pPr lvl="1"/>
            <a:r>
              <a:rPr lang="pt-BR"/>
              <a:t>Second level</a:t>
            </a:r>
          </a:p>
          <a:p>
            <a:pPr lvl="2"/>
            <a:r>
              <a:rPr lang="pt-BR"/>
              <a:t>Third level</a:t>
            </a:r>
          </a:p>
          <a:p>
            <a:pPr lvl="3"/>
            <a:r>
              <a:rPr lang="pt-BR"/>
              <a:t>Fourth level</a:t>
            </a:r>
          </a:p>
          <a:p>
            <a:pPr lvl="4"/>
            <a:r>
              <a:rPr lang="pt-BR"/>
              <a:t>Fifth level</a:t>
            </a:r>
            <a:endParaRPr lang="pt-BR" dirty="0"/>
          </a:p>
        </p:txBody>
      </p:sp>
      <p:sp>
        <p:nvSpPr>
          <p:cNvPr id="29" name="Rectangle 28">
            <a:extLst>
              <a:ext uri="{FF2B5EF4-FFF2-40B4-BE49-F238E27FC236}">
                <a16:creationId xmlns:a16="http://schemas.microsoft.com/office/drawing/2014/main" id="{F2E53630-789F-425F-8AB1-96EFF4EA1E46}"/>
              </a:ext>
              <a:ext uri="{C183D7F6-B498-43B3-948B-1728B52AA6E4}">
                <adec:decorative xmlns:adec="http://schemas.microsoft.com/office/drawing/2017/decorative" val="1"/>
              </a:ext>
            </a:extLst>
          </p:cNvPr>
          <p:cNvSpPr/>
          <p:nvPr userDrawn="1"/>
        </p:nvSpPr>
        <p:spPr bwMode="white">
          <a:xfrm>
            <a:off x="9144056" y="3089456"/>
            <a:ext cx="3047944" cy="30398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pt-BR" sz="1351" b="0" i="0" dirty="0">
              <a:latin typeface="Graphik" panose="020B0503030202060203" pitchFamily="34" charset="77"/>
            </a:endParaRPr>
          </a:p>
        </p:txBody>
      </p:sp>
      <p:sp>
        <p:nvSpPr>
          <p:cNvPr id="24" name="Text Placeholder 11">
            <a:extLst>
              <a:ext uri="{FF2B5EF4-FFF2-40B4-BE49-F238E27FC236}">
                <a16:creationId xmlns:a16="http://schemas.microsoft.com/office/drawing/2014/main" id="{86209476-BF69-4014-99E6-B53C87141B48}"/>
              </a:ext>
            </a:extLst>
          </p:cNvPr>
          <p:cNvSpPr>
            <a:spLocks noGrp="1"/>
          </p:cNvSpPr>
          <p:nvPr>
            <p:ph type="body" sz="quarter" idx="24" hasCustomPrompt="1"/>
          </p:nvPr>
        </p:nvSpPr>
        <p:spPr>
          <a:xfrm>
            <a:off x="9525005" y="3384433"/>
            <a:ext cx="2285996" cy="912223"/>
          </a:xfrm>
          <a:prstGeom prst="rect">
            <a:avLst/>
          </a:prstGeom>
        </p:spPr>
        <p:txBody>
          <a:bodyPr anchor="ctr"/>
          <a:lstStyle>
            <a:lvl1pPr marL="0" indent="0" rtl="0">
              <a:buNone/>
              <a:defRPr lang="en-US" sz="5333" b="1" i="0" kern="1200" dirty="0">
                <a:solidFill>
                  <a:schemeClr val="bg2"/>
                </a:solidFill>
                <a:latin typeface="Graphik Semibold" panose="020B0503030202060203" pitchFamily="34" charset="77"/>
                <a:ea typeface="+mn-ea"/>
                <a:cs typeface="+mn-cs"/>
              </a:defRPr>
            </a:lvl1pPr>
            <a:lvl2pPr>
              <a:defRPr/>
            </a:lvl2pPr>
            <a:lvl3pPr>
              <a:defRPr/>
            </a:lvl3pPr>
            <a:lvl4pPr>
              <a:defRPr/>
            </a:lvl4pPr>
            <a:lvl5pPr>
              <a:defRPr/>
            </a:lvl5pPr>
          </a:lstStyle>
          <a:p>
            <a:pPr marL="228594" lvl="0" indent="-228594" algn="l" defTabSz="914377" rtl="0" eaLnBrk="1" latinLnBrk="0" hangingPunct="1">
              <a:lnSpc>
                <a:spcPct val="100000"/>
              </a:lnSpc>
              <a:spcBef>
                <a:spcPts val="0"/>
              </a:spcBef>
              <a:spcAft>
                <a:spcPts val="1200"/>
              </a:spcAft>
            </a:pPr>
            <a:r>
              <a:rPr lang="pt-BR"/>
              <a:t>00x</a:t>
            </a:r>
            <a:endParaRPr lang="pt-BR" dirty="0"/>
          </a:p>
        </p:txBody>
      </p:sp>
      <p:sp>
        <p:nvSpPr>
          <p:cNvPr id="9" name="Text Placeholder 6">
            <a:extLst>
              <a:ext uri="{FF2B5EF4-FFF2-40B4-BE49-F238E27FC236}">
                <a16:creationId xmlns:a16="http://schemas.microsoft.com/office/drawing/2014/main" id="{8DB439E6-E715-1347-EEE3-DF2D5F246A0B}"/>
              </a:ext>
            </a:extLst>
          </p:cNvPr>
          <p:cNvSpPr>
            <a:spLocks noGrp="1"/>
          </p:cNvSpPr>
          <p:nvPr>
            <p:ph type="body" sz="quarter" idx="31"/>
          </p:nvPr>
        </p:nvSpPr>
        <p:spPr>
          <a:xfrm>
            <a:off x="9525004" y="4508500"/>
            <a:ext cx="2286000" cy="1439333"/>
          </a:xfrm>
        </p:spPr>
        <p:txBody>
          <a:bodyPr/>
          <a:lstStyle>
            <a:lvl1pPr rtl="0">
              <a:spcAft>
                <a:spcPts val="600"/>
              </a:spcAft>
              <a:defRPr sz="1800" i="0">
                <a:latin typeface="Graphik Semibold" panose="020B0703030202060203" pitchFamily="34" charset="0"/>
              </a:defRPr>
            </a:lvl1pPr>
            <a:lvl2pPr marL="0" indent="0" rtl="0">
              <a:spcAft>
                <a:spcPts val="600"/>
              </a:spcAft>
              <a:buNone/>
              <a:defRPr sz="1200"/>
            </a:lvl2pPr>
            <a:lvl3pPr marL="230394" indent="-230394" rtl="0">
              <a:spcAft>
                <a:spcPts val="600"/>
              </a:spcAft>
              <a:buFont typeface="Arial" panose="020B0604020202020204" pitchFamily="34" charset="0"/>
              <a:buChar char="•"/>
              <a:tabLst/>
              <a:defRPr sz="1200"/>
            </a:lvl3pPr>
            <a:lvl4pPr marL="230394" indent="-230394" rtl="0">
              <a:spcAft>
                <a:spcPts val="600"/>
              </a:spcAft>
              <a:defRPr sz="1200"/>
            </a:lvl4pPr>
            <a:lvl5pPr marL="230394" indent="-228594" rtl="0">
              <a:spcAft>
                <a:spcPts val="600"/>
              </a:spcAft>
              <a:buFont typeface="Arial" panose="020B0604020202020204" pitchFamily="34" charset="0"/>
              <a:buChar char="•"/>
              <a:tabLst/>
              <a:defRPr sz="1200"/>
            </a:lvl5pPr>
          </a:lstStyle>
          <a:p>
            <a:pPr lvl="0"/>
            <a:r>
              <a:rPr lang="pt-BR"/>
              <a:t>Click to edit Master text styles</a:t>
            </a:r>
          </a:p>
          <a:p>
            <a:pPr lvl="1"/>
            <a:r>
              <a:rPr lang="pt-BR"/>
              <a:t>Second level</a:t>
            </a:r>
          </a:p>
          <a:p>
            <a:pPr lvl="2"/>
            <a:r>
              <a:rPr lang="pt-BR"/>
              <a:t>Third level</a:t>
            </a:r>
          </a:p>
          <a:p>
            <a:pPr lvl="3"/>
            <a:r>
              <a:rPr lang="pt-BR"/>
              <a:t>Fourth level</a:t>
            </a:r>
          </a:p>
          <a:p>
            <a:pPr lvl="4"/>
            <a:r>
              <a:rPr lang="pt-BR"/>
              <a:t>Fifth level</a:t>
            </a:r>
            <a:endParaRPr lang="pt-BR" dirty="0"/>
          </a:p>
        </p:txBody>
      </p:sp>
      <p:sp>
        <p:nvSpPr>
          <p:cNvPr id="18" name="Bottom tag">
            <a:extLst>
              <a:ext uri="{FF2B5EF4-FFF2-40B4-BE49-F238E27FC236}">
                <a16:creationId xmlns:a16="http://schemas.microsoft.com/office/drawing/2014/main" id="{F77F3A03-358C-60D3-DCF9-8A5F831189BE}"/>
              </a:ext>
              <a:ext uri="{C183D7F6-B498-43B3-948B-1728B52AA6E4}">
                <adec:decorative xmlns:adec="http://schemas.microsoft.com/office/drawing/2017/decorative" val="1"/>
              </a:ext>
            </a:extLst>
          </p:cNvPr>
          <p:cNvSpPr/>
          <p:nvPr userDrawn="1"/>
        </p:nvSpPr>
        <p:spPr bwMode="white">
          <a:xfrm>
            <a:off x="0" y="6129340"/>
            <a:ext cx="12192000" cy="72866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pt-BR" sz="1351" b="0" i="0" dirty="0">
              <a:latin typeface="Graphik" panose="020B0503030202060203" pitchFamily="34" charset="77"/>
            </a:endParaRPr>
          </a:p>
        </p:txBody>
      </p:sp>
      <p:sp>
        <p:nvSpPr>
          <p:cNvPr id="5" name="slide number automatic">
            <a:extLst>
              <a:ext uri="{FF2B5EF4-FFF2-40B4-BE49-F238E27FC236}">
                <a16:creationId xmlns:a16="http://schemas.microsoft.com/office/drawing/2014/main" id="{5A95B4E2-055A-BEE2-36E8-45DD70D13404}"/>
              </a:ext>
            </a:extLst>
          </p:cNvPr>
          <p:cNvSpPr txBox="1"/>
          <p:nvPr userDrawn="1"/>
        </p:nvSpPr>
        <p:spPr>
          <a:xfrm>
            <a:off x="11685965" y="6429853"/>
            <a:ext cx="125035" cy="123111"/>
          </a:xfrm>
          <a:prstGeom prst="rect">
            <a:avLst/>
          </a:prstGeom>
          <a:noFill/>
        </p:spPr>
        <p:txBody>
          <a:bodyPr wrap="none" lIns="0" tIns="0" rIns="0" bIns="0" rtlCol="0" anchor="ctr">
            <a:spAutoFit/>
          </a:bodyPr>
          <a:lstStyle/>
          <a:p>
            <a:pPr marL="0" marR="0" lvl="0" indent="0" algn="r" defTabSz="228594" rtl="0" eaLnBrk="1" fontAlgn="auto" latinLnBrk="0" hangingPunct="1">
              <a:lnSpc>
                <a:spcPct val="100000"/>
              </a:lnSpc>
              <a:spcBef>
                <a:spcPts val="0"/>
              </a:spcBef>
              <a:spcAft>
                <a:spcPts val="1200"/>
              </a:spcAft>
              <a:buClrTx/>
              <a:buSzTx/>
              <a:buFontTx/>
              <a:buNone/>
              <a:tabLst/>
              <a:defRPr/>
            </a:pPr>
            <a:fld id="{8A1971D9-5B62-3C46-9EC9-FDAAB88557B2}" type="slidenum">
              <a:rPr lang="pt-BR" sz="800" smtClean="0">
                <a:solidFill>
                  <a:schemeClr val="bg1">
                    <a:lumMod val="85000"/>
                    <a:alpha val="75000"/>
                  </a:schemeClr>
                </a:solidFill>
                <a:latin typeface="Graphik Semibold" panose="020B0703030202060203" pitchFamily="34" charset="0"/>
              </a:rPr>
              <a:pPr marL="0" marR="0" lvl="0" indent="0" algn="r" defTabSz="228594" rtl="0" eaLnBrk="1" fontAlgn="auto" latinLnBrk="0" hangingPunct="1">
                <a:lnSpc>
                  <a:spcPct val="100000"/>
                </a:lnSpc>
                <a:spcBef>
                  <a:spcPts val="0"/>
                </a:spcBef>
                <a:spcAft>
                  <a:spcPts val="1200"/>
                </a:spcAft>
                <a:buClrTx/>
                <a:buSzTx/>
                <a:buFontTx/>
                <a:buNone/>
                <a:tabLst/>
                <a:defRPr/>
              </a:pPr>
              <a:t>‹#›</a:t>
            </a:fld>
            <a:endParaRPr lang="pt-BR" sz="1351" noProof="0" dirty="0">
              <a:solidFill>
                <a:schemeClr val="bg1">
                  <a:lumMod val="85000"/>
                  <a:alpha val="75000"/>
                </a:schemeClr>
              </a:solidFill>
              <a:latin typeface="Graphik Semibold" panose="020B0703030202060203" pitchFamily="34" charset="0"/>
            </a:endParaRPr>
          </a:p>
        </p:txBody>
      </p:sp>
    </p:spTree>
    <p:extLst>
      <p:ext uri="{BB962C8B-B14F-4D97-AF65-F5344CB8AC3E}">
        <p14:creationId xmlns:p14="http://schemas.microsoft.com/office/powerpoint/2010/main" val="250557905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nt: statistics + image, dark and purple">
    <p:bg>
      <p:bgPr>
        <a:solidFill>
          <a:srgbClr val="000000"/>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459C3F0-B08B-DA62-B2AA-40F3BD3BE381}"/>
              </a:ext>
            </a:extLst>
          </p:cNvPr>
          <p:cNvGraphicFramePr>
            <a:graphicFrameLocks noChangeAspect="1"/>
          </p:cNvGraphicFramePr>
          <p:nvPr userDrawn="1">
            <p:custDataLst>
              <p:tags r:id="rId1"/>
            </p:custDataLst>
            <p:extLst>
              <p:ext uri="{D42A27DB-BD31-4B8C-83A1-F6EECF244321}">
                <p14:modId xmlns:p14="http://schemas.microsoft.com/office/powerpoint/2010/main" val="1647819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6" name="think-cell data - do not delete" hidden="1">
                        <a:extLst>
                          <a:ext uri="{FF2B5EF4-FFF2-40B4-BE49-F238E27FC236}">
                            <a16:creationId xmlns:a16="http://schemas.microsoft.com/office/drawing/2014/main" id="{3459C3F0-B08B-DA62-B2AA-40F3BD3BE3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BB918B6-32FF-4857-A645-C1032AFAEF62}"/>
              </a:ext>
            </a:extLst>
          </p:cNvPr>
          <p:cNvSpPr>
            <a:spLocks noGrp="1"/>
          </p:cNvSpPr>
          <p:nvPr>
            <p:ph type="title" hasCustomPrompt="1"/>
          </p:nvPr>
        </p:nvSpPr>
        <p:spPr>
          <a:xfrm>
            <a:off x="561601" y="1085532"/>
            <a:ext cx="5312727" cy="984885"/>
          </a:xfrm>
          <a:prstGeom prst="rect">
            <a:avLst/>
          </a:prstGeom>
        </p:spPr>
        <p:txBody>
          <a:bodyPr vert="horz" anchor="ctr"/>
          <a:lstStyle>
            <a:lvl1pPr rtl="0">
              <a:defRPr sz="4000">
                <a:solidFill>
                  <a:srgbClr val="FFFFFF"/>
                </a:solidFill>
              </a:defRPr>
            </a:lvl1pPr>
          </a:lstStyle>
          <a:p>
            <a:r>
              <a:rPr lang="pt-BR"/>
              <a:t>Place headline in Graphik Semibold</a:t>
            </a:r>
            <a:endParaRPr lang="pt-BR" dirty="0"/>
          </a:p>
        </p:txBody>
      </p:sp>
      <p:sp>
        <p:nvSpPr>
          <p:cNvPr id="38" name="Picture Placeholder 3">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6032" y="-1"/>
            <a:ext cx="3048024" cy="3074023"/>
          </a:xfrm>
          <a:prstGeom prst="rect">
            <a:avLst/>
          </a:prstGeom>
          <a:solidFill>
            <a:schemeClr val="bg1">
              <a:lumMod val="95000"/>
            </a:schemeClr>
          </a:solidFill>
        </p:spPr>
        <p:txBody>
          <a:bodyPr tIns="274320" anchor="ctr"/>
          <a:lstStyle>
            <a:lvl1pPr marL="0" indent="0" algn="ctr" rtl="0">
              <a:buNone/>
              <a:defRPr sz="1400" b="0" i="0">
                <a:solidFill>
                  <a:schemeClr val="tx1"/>
                </a:solidFill>
                <a:latin typeface="Graphik" panose="020B0503030202060203" pitchFamily="34" charset="77"/>
              </a:defRPr>
            </a:lvl1pPr>
          </a:lstStyle>
          <a:p>
            <a:r>
              <a:rPr lang="pt-BR"/>
              <a:t>Drag picture to placeholder </a:t>
            </a:r>
          </a:p>
          <a:p>
            <a:r>
              <a:rPr lang="pt-BR"/>
              <a:t>or click icon to add</a:t>
            </a:r>
            <a:endParaRPr lang="pt-BR" dirty="0"/>
          </a:p>
        </p:txBody>
      </p:sp>
      <p:sp>
        <p:nvSpPr>
          <p:cNvPr id="46" name="Text Placeholder 4">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9525010" y="303835"/>
            <a:ext cx="2285996" cy="912223"/>
          </a:xfrm>
          <a:prstGeom prst="rect">
            <a:avLst/>
          </a:prstGeom>
        </p:spPr>
        <p:txBody>
          <a:bodyPr anchor="ctr"/>
          <a:lstStyle>
            <a:lvl1pPr marL="0" indent="0" rtl="0">
              <a:buNone/>
              <a:defRPr lang="en-US" sz="5333" b="1" i="0" kern="1200" dirty="0">
                <a:solidFill>
                  <a:schemeClr val="accent2"/>
                </a:solidFill>
                <a:latin typeface="Graphik Semibold" panose="020B0503030202060203" pitchFamily="34" charset="77"/>
                <a:ea typeface="+mn-ea"/>
                <a:cs typeface="+mn-cs"/>
              </a:defRPr>
            </a:lvl1pPr>
            <a:lvl2pPr>
              <a:defRPr/>
            </a:lvl2pPr>
            <a:lvl3pPr>
              <a:defRPr/>
            </a:lvl3pPr>
            <a:lvl4pPr>
              <a:defRPr/>
            </a:lvl4pPr>
            <a:lvl5pPr>
              <a:defRPr/>
            </a:lvl5pPr>
          </a:lstStyle>
          <a:p>
            <a:pPr marL="228594" lvl="0" indent="-228594" algn="l" defTabSz="914377" rtl="0" eaLnBrk="1" latinLnBrk="0" hangingPunct="1">
              <a:lnSpc>
                <a:spcPct val="100000"/>
              </a:lnSpc>
              <a:spcBef>
                <a:spcPts val="0"/>
              </a:spcBef>
              <a:spcAft>
                <a:spcPts val="1200"/>
              </a:spcAft>
            </a:pPr>
            <a:r>
              <a:rPr lang="pt-BR"/>
              <a:t>00x</a:t>
            </a:r>
            <a:endParaRPr lang="pt-BR" dirty="0"/>
          </a:p>
        </p:txBody>
      </p:sp>
      <p:sp>
        <p:nvSpPr>
          <p:cNvPr id="10" name="Text Placeholder 6">
            <a:extLst>
              <a:ext uri="{FF2B5EF4-FFF2-40B4-BE49-F238E27FC236}">
                <a16:creationId xmlns:a16="http://schemas.microsoft.com/office/drawing/2014/main" id="{202CA0A6-65B9-D658-1AEC-00085854F84B}"/>
              </a:ext>
            </a:extLst>
          </p:cNvPr>
          <p:cNvSpPr>
            <a:spLocks noGrp="1"/>
          </p:cNvSpPr>
          <p:nvPr>
            <p:ph type="body" sz="quarter" idx="32"/>
          </p:nvPr>
        </p:nvSpPr>
        <p:spPr>
          <a:xfrm>
            <a:off x="9525004" y="1472692"/>
            <a:ext cx="2286000" cy="1439333"/>
          </a:xfrm>
        </p:spPr>
        <p:txBody>
          <a:bodyPr/>
          <a:lstStyle>
            <a:lvl1pPr rtl="0">
              <a:spcAft>
                <a:spcPts val="600"/>
              </a:spcAft>
              <a:defRPr sz="1800" i="0">
                <a:solidFill>
                  <a:srgbClr val="FFFFFF"/>
                </a:solidFill>
                <a:latin typeface="Graphik Semibold" panose="020B0703030202060203" pitchFamily="34" charset="0"/>
              </a:defRPr>
            </a:lvl1pPr>
            <a:lvl2pPr marL="0" indent="0" rtl="0">
              <a:spcAft>
                <a:spcPts val="600"/>
              </a:spcAft>
              <a:buNone/>
              <a:defRPr sz="1200">
                <a:solidFill>
                  <a:srgbClr val="FFFFFF"/>
                </a:solidFill>
              </a:defRPr>
            </a:lvl2pPr>
            <a:lvl3pPr marL="230394" indent="-230394" rtl="0">
              <a:spcAft>
                <a:spcPts val="600"/>
              </a:spcAft>
              <a:buFont typeface="Arial" panose="020B0604020202020204" pitchFamily="34" charset="0"/>
              <a:buChar char="•"/>
              <a:tabLst/>
              <a:defRPr sz="1200">
                <a:solidFill>
                  <a:srgbClr val="FFFFFF"/>
                </a:solidFill>
              </a:defRPr>
            </a:lvl3pPr>
            <a:lvl4pPr marL="230394" indent="-230394" rtl="0">
              <a:spcAft>
                <a:spcPts val="600"/>
              </a:spcAft>
              <a:defRPr sz="1200">
                <a:solidFill>
                  <a:srgbClr val="FFFFFF"/>
                </a:solidFill>
              </a:defRPr>
            </a:lvl4pPr>
            <a:lvl5pPr marL="230394" indent="-228594" rtl="0">
              <a:spcAft>
                <a:spcPts val="600"/>
              </a:spcAft>
              <a:buFont typeface="Arial" panose="020B0604020202020204" pitchFamily="34" charset="0"/>
              <a:buChar char="•"/>
              <a:tabLst/>
              <a:defRPr sz="1200">
                <a:solidFill>
                  <a:srgbClr val="FFFFFF"/>
                </a:solidFill>
              </a:defRPr>
            </a:lvl5pPr>
          </a:lstStyle>
          <a:p>
            <a:pPr lvl="0"/>
            <a:r>
              <a:rPr lang="pt-BR"/>
              <a:t>Click to edit Master text styles</a:t>
            </a:r>
          </a:p>
          <a:p>
            <a:pPr lvl="1"/>
            <a:r>
              <a:rPr lang="pt-BR"/>
              <a:t>Second level</a:t>
            </a:r>
          </a:p>
          <a:p>
            <a:pPr lvl="2"/>
            <a:r>
              <a:rPr lang="pt-BR"/>
              <a:t>Third level</a:t>
            </a:r>
          </a:p>
          <a:p>
            <a:pPr lvl="3"/>
            <a:r>
              <a:rPr lang="pt-BR"/>
              <a:t>Fourth level</a:t>
            </a:r>
          </a:p>
          <a:p>
            <a:pPr lvl="4"/>
            <a:r>
              <a:rPr lang="pt-BR"/>
              <a:t>Fifth level</a:t>
            </a:r>
            <a:endParaRPr lang="pt-BR" dirty="0"/>
          </a:p>
        </p:txBody>
      </p:sp>
      <p:sp>
        <p:nvSpPr>
          <p:cNvPr id="21" name="Picture Placeholder 6">
            <a:extLst>
              <a:ext uri="{FF2B5EF4-FFF2-40B4-BE49-F238E27FC236}">
                <a16:creationId xmlns:a16="http://schemas.microsoft.com/office/drawing/2014/main" id="{4CA191CE-F49B-4889-A102-DDD1279F3FB2}"/>
              </a:ext>
            </a:extLst>
          </p:cNvPr>
          <p:cNvSpPr>
            <a:spLocks noGrp="1"/>
          </p:cNvSpPr>
          <p:nvPr>
            <p:ph type="pic" sz="quarter" idx="23" hasCustomPrompt="1"/>
          </p:nvPr>
        </p:nvSpPr>
        <p:spPr bwMode="gray">
          <a:xfrm>
            <a:off x="0" y="3074022"/>
            <a:ext cx="3048000" cy="3055316"/>
          </a:xfrm>
          <a:prstGeom prst="rect">
            <a:avLst/>
          </a:prstGeom>
          <a:solidFill>
            <a:schemeClr val="bg1">
              <a:lumMod val="95000"/>
            </a:schemeClr>
          </a:solidFill>
        </p:spPr>
        <p:txBody>
          <a:bodyPr vert="horz" lIns="0" tIns="274320" rIns="0" bIns="0" rtlCol="0" anchor="ctr">
            <a:noAutofit/>
          </a:bodyPr>
          <a:lstStyle>
            <a:lvl1pPr marL="0" indent="0" algn="ctr" rtl="0">
              <a:buNone/>
              <a:defRPr lang="en-US" sz="1400" b="0" i="0" dirty="0">
                <a:latin typeface="Graphik" panose="020B0503030202060203" pitchFamily="34" charset="77"/>
              </a:defRPr>
            </a:lvl1pPr>
          </a:lstStyle>
          <a:p>
            <a:pPr marL="228594" lvl="0" indent="-228594" algn="ctr"/>
            <a:r>
              <a:rPr lang="pt-BR"/>
              <a:t>Drag picture to placeholder </a:t>
            </a:r>
          </a:p>
          <a:p>
            <a:pPr marL="228594" lvl="0" indent="-228594" algn="ctr"/>
            <a:r>
              <a:rPr lang="pt-BR"/>
              <a:t>or click icon to add</a:t>
            </a:r>
            <a:endParaRPr lang="pt-BR" dirty="0"/>
          </a:p>
        </p:txBody>
      </p:sp>
      <p:sp>
        <p:nvSpPr>
          <p:cNvPr id="8" name="Rectangle 7">
            <a:extLst>
              <a:ext uri="{FF2B5EF4-FFF2-40B4-BE49-F238E27FC236}">
                <a16:creationId xmlns:a16="http://schemas.microsoft.com/office/drawing/2014/main" id="{3D16F949-3472-4EBC-9DC1-05EC807C9FC0}"/>
              </a:ext>
              <a:ext uri="{C183D7F6-B498-43B3-948B-1728B52AA6E4}">
                <adec:decorative xmlns:adec="http://schemas.microsoft.com/office/drawing/2017/decorative" val="1"/>
              </a:ext>
            </a:extLst>
          </p:cNvPr>
          <p:cNvSpPr/>
          <p:nvPr userDrawn="1"/>
        </p:nvSpPr>
        <p:spPr bwMode="white">
          <a:xfrm>
            <a:off x="3048000" y="3074022"/>
            <a:ext cx="3047968" cy="3055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pt-BR" sz="1351" b="0" i="0" dirty="0">
              <a:latin typeface="Graphik" panose="020B0503030202060203" pitchFamily="34" charset="77"/>
            </a:endParaRPr>
          </a:p>
        </p:txBody>
      </p:sp>
      <p:sp>
        <p:nvSpPr>
          <p:cNvPr id="48" name="Text Placeholder 7">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428989" y="3384433"/>
            <a:ext cx="2285996" cy="912223"/>
          </a:xfrm>
          <a:prstGeom prst="rect">
            <a:avLst/>
          </a:prstGeom>
        </p:spPr>
        <p:txBody>
          <a:bodyPr anchor="ctr"/>
          <a:lstStyle>
            <a:lvl1pPr marL="0" indent="0" rtl="0">
              <a:buNone/>
              <a:defRPr lang="en-US" sz="5333" b="0" i="0" kern="1200" dirty="0">
                <a:solidFill>
                  <a:schemeClr val="bg1"/>
                </a:solidFill>
                <a:latin typeface="Graphik Semibold" panose="020B0503030202060203" pitchFamily="34" charset="77"/>
                <a:ea typeface="+mn-ea"/>
                <a:cs typeface="+mn-cs"/>
              </a:defRPr>
            </a:lvl1pPr>
            <a:lvl2pPr>
              <a:defRPr/>
            </a:lvl2pPr>
            <a:lvl3pPr>
              <a:defRPr/>
            </a:lvl3pPr>
            <a:lvl4pPr>
              <a:defRPr/>
            </a:lvl4pPr>
            <a:lvl5pPr>
              <a:defRPr/>
            </a:lvl5pPr>
          </a:lstStyle>
          <a:p>
            <a:pPr marL="228594" lvl="0" indent="-228594" algn="l" defTabSz="914377" rtl="0" eaLnBrk="1" latinLnBrk="0" hangingPunct="1">
              <a:lnSpc>
                <a:spcPct val="100000"/>
              </a:lnSpc>
              <a:spcBef>
                <a:spcPts val="0"/>
              </a:spcBef>
              <a:spcAft>
                <a:spcPts val="1200"/>
              </a:spcAft>
            </a:pPr>
            <a:r>
              <a:rPr lang="pt-BR"/>
              <a:t>00x</a:t>
            </a:r>
            <a:endParaRPr lang="pt-BR" dirty="0"/>
          </a:p>
        </p:txBody>
      </p:sp>
      <p:sp>
        <p:nvSpPr>
          <p:cNvPr id="5" name="Text Placeholder 6">
            <a:extLst>
              <a:ext uri="{FF2B5EF4-FFF2-40B4-BE49-F238E27FC236}">
                <a16:creationId xmlns:a16="http://schemas.microsoft.com/office/drawing/2014/main" id="{DFC923C6-9E63-5C37-D6CE-0C0C7F31BA14}"/>
              </a:ext>
            </a:extLst>
          </p:cNvPr>
          <p:cNvSpPr>
            <a:spLocks noGrp="1"/>
          </p:cNvSpPr>
          <p:nvPr>
            <p:ph type="body" sz="quarter" idx="30"/>
          </p:nvPr>
        </p:nvSpPr>
        <p:spPr>
          <a:xfrm>
            <a:off x="3428948" y="4508500"/>
            <a:ext cx="2286000" cy="1439333"/>
          </a:xfrm>
        </p:spPr>
        <p:txBody>
          <a:bodyPr/>
          <a:lstStyle>
            <a:lvl1pPr rtl="0">
              <a:spcAft>
                <a:spcPts val="600"/>
              </a:spcAft>
              <a:defRPr sz="1800" i="0">
                <a:solidFill>
                  <a:srgbClr val="FFFFFF"/>
                </a:solidFill>
                <a:latin typeface="Graphik Semibold" panose="020B0703030202060203" pitchFamily="34" charset="0"/>
              </a:defRPr>
            </a:lvl1pPr>
            <a:lvl2pPr marL="0" indent="0" rtl="0">
              <a:spcAft>
                <a:spcPts val="600"/>
              </a:spcAft>
              <a:buNone/>
              <a:defRPr sz="1200">
                <a:solidFill>
                  <a:srgbClr val="FFFFFF"/>
                </a:solidFill>
              </a:defRPr>
            </a:lvl2pPr>
            <a:lvl3pPr marL="230394" indent="-230394" rtl="0">
              <a:spcAft>
                <a:spcPts val="600"/>
              </a:spcAft>
              <a:buFont typeface="Arial" panose="020B0604020202020204" pitchFamily="34" charset="0"/>
              <a:buChar char="•"/>
              <a:tabLst/>
              <a:defRPr sz="1200">
                <a:solidFill>
                  <a:srgbClr val="FFFFFF"/>
                </a:solidFill>
              </a:defRPr>
            </a:lvl3pPr>
            <a:lvl4pPr marL="230394" indent="-230394" rtl="0">
              <a:spcAft>
                <a:spcPts val="600"/>
              </a:spcAft>
              <a:defRPr sz="1200">
                <a:solidFill>
                  <a:srgbClr val="FFFFFF"/>
                </a:solidFill>
              </a:defRPr>
            </a:lvl4pPr>
            <a:lvl5pPr marL="230394" indent="-228594" rtl="0">
              <a:spcAft>
                <a:spcPts val="600"/>
              </a:spcAft>
              <a:buFont typeface="Arial" panose="020B0604020202020204" pitchFamily="34" charset="0"/>
              <a:buChar char="•"/>
              <a:tabLst/>
              <a:defRPr sz="1200">
                <a:solidFill>
                  <a:srgbClr val="FFFFFF"/>
                </a:solidFill>
              </a:defRPr>
            </a:lvl5pPr>
          </a:lstStyle>
          <a:p>
            <a:pPr lvl="0"/>
            <a:r>
              <a:rPr lang="pt-BR"/>
              <a:t>Click to edit Master text styles</a:t>
            </a:r>
          </a:p>
          <a:p>
            <a:pPr lvl="1"/>
            <a:r>
              <a:rPr lang="pt-BR"/>
              <a:t>Second level</a:t>
            </a:r>
          </a:p>
          <a:p>
            <a:pPr lvl="2"/>
            <a:r>
              <a:rPr lang="pt-BR"/>
              <a:t>Third level</a:t>
            </a:r>
          </a:p>
          <a:p>
            <a:pPr lvl="3"/>
            <a:r>
              <a:rPr lang="pt-BR"/>
              <a:t>Fourth level</a:t>
            </a:r>
          </a:p>
          <a:p>
            <a:pPr lvl="4"/>
            <a:r>
              <a:rPr lang="pt-BR"/>
              <a:t>Fifth level</a:t>
            </a:r>
            <a:endParaRPr lang="pt-BR" dirty="0"/>
          </a:p>
        </p:txBody>
      </p:sp>
      <p:sp>
        <p:nvSpPr>
          <p:cNvPr id="50" name="Text Placeholder 9">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6476999" y="3384433"/>
            <a:ext cx="2285996" cy="912223"/>
          </a:xfrm>
          <a:prstGeom prst="rect">
            <a:avLst/>
          </a:prstGeom>
        </p:spPr>
        <p:txBody>
          <a:bodyPr anchor="ctr"/>
          <a:lstStyle>
            <a:lvl1pPr marL="0" indent="0" rtl="0">
              <a:buNone/>
              <a:defRPr lang="en-US" sz="5333" b="1" i="0" kern="1200" dirty="0">
                <a:solidFill>
                  <a:schemeClr val="accent2"/>
                </a:solidFill>
                <a:latin typeface="Graphik Semibold" panose="020B0503030202060203" pitchFamily="34" charset="77"/>
                <a:ea typeface="+mn-ea"/>
                <a:cs typeface="+mn-cs"/>
              </a:defRPr>
            </a:lvl1pPr>
            <a:lvl2pPr>
              <a:defRPr/>
            </a:lvl2pPr>
            <a:lvl3pPr>
              <a:defRPr/>
            </a:lvl3pPr>
            <a:lvl4pPr>
              <a:defRPr/>
            </a:lvl4pPr>
            <a:lvl5pPr>
              <a:defRPr/>
            </a:lvl5pPr>
          </a:lstStyle>
          <a:p>
            <a:pPr marL="228594" lvl="0" indent="-228594" algn="l" defTabSz="914377" rtl="0" eaLnBrk="1" latinLnBrk="0" hangingPunct="1">
              <a:lnSpc>
                <a:spcPct val="100000"/>
              </a:lnSpc>
              <a:spcBef>
                <a:spcPts val="0"/>
              </a:spcBef>
              <a:spcAft>
                <a:spcPts val="1200"/>
              </a:spcAft>
            </a:pPr>
            <a:r>
              <a:rPr lang="pt-BR"/>
              <a:t>00x</a:t>
            </a:r>
            <a:endParaRPr lang="pt-BR" dirty="0"/>
          </a:p>
        </p:txBody>
      </p:sp>
      <p:sp>
        <p:nvSpPr>
          <p:cNvPr id="4" name="Text Placeholder 6">
            <a:extLst>
              <a:ext uri="{FF2B5EF4-FFF2-40B4-BE49-F238E27FC236}">
                <a16:creationId xmlns:a16="http://schemas.microsoft.com/office/drawing/2014/main" id="{8E3ED24E-CC9B-F99D-ABD2-271CAAC31C78}"/>
              </a:ext>
            </a:extLst>
          </p:cNvPr>
          <p:cNvSpPr>
            <a:spLocks noGrp="1"/>
          </p:cNvSpPr>
          <p:nvPr>
            <p:ph type="body" sz="quarter" idx="29"/>
          </p:nvPr>
        </p:nvSpPr>
        <p:spPr>
          <a:xfrm>
            <a:off x="6476916" y="4508500"/>
            <a:ext cx="2286000" cy="1439333"/>
          </a:xfrm>
        </p:spPr>
        <p:txBody>
          <a:bodyPr/>
          <a:lstStyle>
            <a:lvl1pPr rtl="0">
              <a:spcAft>
                <a:spcPts val="600"/>
              </a:spcAft>
              <a:defRPr sz="1800" i="0">
                <a:solidFill>
                  <a:srgbClr val="FFFFFF"/>
                </a:solidFill>
                <a:latin typeface="Graphik Semibold" panose="020B0703030202060203" pitchFamily="34" charset="0"/>
              </a:defRPr>
            </a:lvl1pPr>
            <a:lvl2pPr marL="0" indent="0" rtl="0">
              <a:spcAft>
                <a:spcPts val="600"/>
              </a:spcAft>
              <a:buNone/>
              <a:defRPr sz="1200">
                <a:solidFill>
                  <a:srgbClr val="FFFFFF"/>
                </a:solidFill>
              </a:defRPr>
            </a:lvl2pPr>
            <a:lvl3pPr marL="230394" indent="-230394" rtl="0">
              <a:spcAft>
                <a:spcPts val="600"/>
              </a:spcAft>
              <a:buFont typeface="Arial" panose="020B0604020202020204" pitchFamily="34" charset="0"/>
              <a:buChar char="•"/>
              <a:tabLst/>
              <a:defRPr sz="1200">
                <a:solidFill>
                  <a:srgbClr val="FFFFFF"/>
                </a:solidFill>
              </a:defRPr>
            </a:lvl3pPr>
            <a:lvl4pPr marL="230394" indent="-230394" rtl="0">
              <a:spcAft>
                <a:spcPts val="600"/>
              </a:spcAft>
              <a:defRPr sz="1200">
                <a:solidFill>
                  <a:srgbClr val="FFFFFF"/>
                </a:solidFill>
              </a:defRPr>
            </a:lvl4pPr>
            <a:lvl5pPr marL="230394" indent="-228594" rtl="0">
              <a:spcAft>
                <a:spcPts val="600"/>
              </a:spcAft>
              <a:buFont typeface="Arial" panose="020B0604020202020204" pitchFamily="34" charset="0"/>
              <a:buChar char="•"/>
              <a:tabLst/>
              <a:defRPr sz="1200">
                <a:solidFill>
                  <a:srgbClr val="FFFFFF"/>
                </a:solidFill>
              </a:defRPr>
            </a:lvl5pPr>
          </a:lstStyle>
          <a:p>
            <a:pPr lvl="0"/>
            <a:r>
              <a:rPr lang="pt-BR"/>
              <a:t>Click to edit Master text styles</a:t>
            </a:r>
          </a:p>
          <a:p>
            <a:pPr lvl="1"/>
            <a:r>
              <a:rPr lang="pt-BR"/>
              <a:t>Second level</a:t>
            </a:r>
          </a:p>
          <a:p>
            <a:pPr lvl="2"/>
            <a:r>
              <a:rPr lang="pt-BR"/>
              <a:t>Third level</a:t>
            </a:r>
          </a:p>
          <a:p>
            <a:pPr lvl="3"/>
            <a:r>
              <a:rPr lang="pt-BR"/>
              <a:t>Fourth level</a:t>
            </a:r>
          </a:p>
          <a:p>
            <a:pPr lvl="4"/>
            <a:r>
              <a:rPr lang="pt-BR"/>
              <a:t>Fifth level</a:t>
            </a:r>
            <a:endParaRPr lang="pt-BR" dirty="0"/>
          </a:p>
        </p:txBody>
      </p:sp>
      <p:sp>
        <p:nvSpPr>
          <p:cNvPr id="29" name="Rectangle 28">
            <a:extLst>
              <a:ext uri="{FF2B5EF4-FFF2-40B4-BE49-F238E27FC236}">
                <a16:creationId xmlns:a16="http://schemas.microsoft.com/office/drawing/2014/main" id="{F2E53630-789F-425F-8AB1-96EFF4EA1E46}"/>
              </a:ext>
              <a:ext uri="{C183D7F6-B498-43B3-948B-1728B52AA6E4}">
                <adec:decorative xmlns:adec="http://schemas.microsoft.com/office/drawing/2017/decorative" val="1"/>
              </a:ext>
            </a:extLst>
          </p:cNvPr>
          <p:cNvSpPr/>
          <p:nvPr userDrawn="1"/>
        </p:nvSpPr>
        <p:spPr bwMode="white">
          <a:xfrm>
            <a:off x="9144056" y="3074022"/>
            <a:ext cx="3047944" cy="30553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pt-BR" sz="1351" b="0" i="0" dirty="0">
              <a:latin typeface="Graphik" panose="020B0503030202060203" pitchFamily="34" charset="77"/>
            </a:endParaRPr>
          </a:p>
        </p:txBody>
      </p:sp>
      <p:sp>
        <p:nvSpPr>
          <p:cNvPr id="24" name="Text Placeholder 11">
            <a:extLst>
              <a:ext uri="{FF2B5EF4-FFF2-40B4-BE49-F238E27FC236}">
                <a16:creationId xmlns:a16="http://schemas.microsoft.com/office/drawing/2014/main" id="{86209476-BF69-4014-99E6-B53C87141B48}"/>
              </a:ext>
            </a:extLst>
          </p:cNvPr>
          <p:cNvSpPr>
            <a:spLocks noGrp="1"/>
          </p:cNvSpPr>
          <p:nvPr>
            <p:ph type="body" sz="quarter" idx="24" hasCustomPrompt="1"/>
          </p:nvPr>
        </p:nvSpPr>
        <p:spPr>
          <a:xfrm>
            <a:off x="9525005" y="3384433"/>
            <a:ext cx="2285996" cy="912223"/>
          </a:xfrm>
          <a:prstGeom prst="rect">
            <a:avLst/>
          </a:prstGeom>
        </p:spPr>
        <p:txBody>
          <a:bodyPr anchor="ctr"/>
          <a:lstStyle>
            <a:lvl1pPr marL="0" indent="0" rtl="0">
              <a:buNone/>
              <a:defRPr lang="en-US" sz="5333" b="1" i="0" kern="1200" dirty="0">
                <a:solidFill>
                  <a:srgbClr val="FFFFFF"/>
                </a:solidFill>
                <a:latin typeface="Graphik Semibold" panose="020B0503030202060203" pitchFamily="34" charset="77"/>
                <a:ea typeface="+mn-ea"/>
                <a:cs typeface="+mn-cs"/>
              </a:defRPr>
            </a:lvl1pPr>
            <a:lvl2pPr>
              <a:defRPr/>
            </a:lvl2pPr>
            <a:lvl3pPr>
              <a:defRPr/>
            </a:lvl3pPr>
            <a:lvl4pPr>
              <a:defRPr/>
            </a:lvl4pPr>
            <a:lvl5pPr>
              <a:defRPr/>
            </a:lvl5pPr>
          </a:lstStyle>
          <a:p>
            <a:pPr marL="228594" lvl="0" indent="-228594" algn="l" defTabSz="914377" rtl="0" eaLnBrk="1" latinLnBrk="0" hangingPunct="1">
              <a:lnSpc>
                <a:spcPct val="100000"/>
              </a:lnSpc>
              <a:spcBef>
                <a:spcPts val="0"/>
              </a:spcBef>
              <a:spcAft>
                <a:spcPts val="1200"/>
              </a:spcAft>
            </a:pPr>
            <a:r>
              <a:rPr lang="pt-BR"/>
              <a:t>00x</a:t>
            </a:r>
            <a:endParaRPr lang="pt-BR" dirty="0"/>
          </a:p>
        </p:txBody>
      </p:sp>
      <p:sp>
        <p:nvSpPr>
          <p:cNvPr id="9" name="Text Placeholder 6">
            <a:extLst>
              <a:ext uri="{FF2B5EF4-FFF2-40B4-BE49-F238E27FC236}">
                <a16:creationId xmlns:a16="http://schemas.microsoft.com/office/drawing/2014/main" id="{AB939A4D-3841-382E-4112-16375BBF9CD7}"/>
              </a:ext>
            </a:extLst>
          </p:cNvPr>
          <p:cNvSpPr>
            <a:spLocks noGrp="1"/>
          </p:cNvSpPr>
          <p:nvPr>
            <p:ph type="body" sz="quarter" idx="31"/>
          </p:nvPr>
        </p:nvSpPr>
        <p:spPr>
          <a:xfrm>
            <a:off x="9525004" y="4508500"/>
            <a:ext cx="2286000" cy="1439333"/>
          </a:xfrm>
        </p:spPr>
        <p:txBody>
          <a:bodyPr/>
          <a:lstStyle>
            <a:lvl1pPr rtl="0">
              <a:spcAft>
                <a:spcPts val="600"/>
              </a:spcAft>
              <a:defRPr sz="1800" i="0">
                <a:solidFill>
                  <a:srgbClr val="FFFFFF"/>
                </a:solidFill>
                <a:latin typeface="Graphik Semibold" panose="020B0703030202060203" pitchFamily="34" charset="0"/>
              </a:defRPr>
            </a:lvl1pPr>
            <a:lvl2pPr marL="0" indent="0" rtl="0">
              <a:spcAft>
                <a:spcPts val="600"/>
              </a:spcAft>
              <a:buNone/>
              <a:defRPr sz="1200">
                <a:solidFill>
                  <a:srgbClr val="FFFFFF"/>
                </a:solidFill>
              </a:defRPr>
            </a:lvl2pPr>
            <a:lvl3pPr marL="230394" indent="-230394" rtl="0">
              <a:spcAft>
                <a:spcPts val="600"/>
              </a:spcAft>
              <a:buFont typeface="Arial" panose="020B0604020202020204" pitchFamily="34" charset="0"/>
              <a:buChar char="•"/>
              <a:tabLst/>
              <a:defRPr sz="1200">
                <a:solidFill>
                  <a:srgbClr val="FFFFFF"/>
                </a:solidFill>
              </a:defRPr>
            </a:lvl3pPr>
            <a:lvl4pPr marL="230394" indent="-230394" rtl="0">
              <a:spcAft>
                <a:spcPts val="600"/>
              </a:spcAft>
              <a:defRPr sz="1200">
                <a:solidFill>
                  <a:srgbClr val="FFFFFF"/>
                </a:solidFill>
              </a:defRPr>
            </a:lvl4pPr>
            <a:lvl5pPr marL="230394" indent="-228594" rtl="0">
              <a:spcAft>
                <a:spcPts val="600"/>
              </a:spcAft>
              <a:buFont typeface="Arial" panose="020B0604020202020204" pitchFamily="34" charset="0"/>
              <a:buChar char="•"/>
              <a:tabLst/>
              <a:defRPr sz="1200">
                <a:solidFill>
                  <a:srgbClr val="FFFFFF"/>
                </a:solidFill>
              </a:defRPr>
            </a:lvl5pPr>
          </a:lstStyle>
          <a:p>
            <a:pPr lvl="0"/>
            <a:r>
              <a:rPr lang="pt-BR"/>
              <a:t>Click to edit Master text styles</a:t>
            </a:r>
          </a:p>
          <a:p>
            <a:pPr lvl="1"/>
            <a:r>
              <a:rPr lang="pt-BR"/>
              <a:t>Second level</a:t>
            </a:r>
          </a:p>
          <a:p>
            <a:pPr lvl="2"/>
            <a:r>
              <a:rPr lang="pt-BR"/>
              <a:t>Third level</a:t>
            </a:r>
          </a:p>
          <a:p>
            <a:pPr lvl="3"/>
            <a:r>
              <a:rPr lang="pt-BR"/>
              <a:t>Fourth level</a:t>
            </a:r>
          </a:p>
          <a:p>
            <a:pPr lvl="4"/>
            <a:r>
              <a:rPr lang="pt-BR"/>
              <a:t>Fifth level</a:t>
            </a:r>
            <a:endParaRPr lang="pt-BR" dirty="0"/>
          </a:p>
        </p:txBody>
      </p:sp>
      <p:sp>
        <p:nvSpPr>
          <p:cNvPr id="13" name="slide number automatic">
            <a:extLst>
              <a:ext uri="{FF2B5EF4-FFF2-40B4-BE49-F238E27FC236}">
                <a16:creationId xmlns:a16="http://schemas.microsoft.com/office/drawing/2014/main" id="{DFF01EE3-5EDD-45BD-F1D7-076E2C959DD2}"/>
              </a:ext>
            </a:extLst>
          </p:cNvPr>
          <p:cNvSpPr txBox="1"/>
          <p:nvPr userDrawn="1"/>
        </p:nvSpPr>
        <p:spPr>
          <a:xfrm>
            <a:off x="11685965" y="6429853"/>
            <a:ext cx="125035" cy="123111"/>
          </a:xfrm>
          <a:prstGeom prst="rect">
            <a:avLst/>
          </a:prstGeom>
          <a:noFill/>
        </p:spPr>
        <p:txBody>
          <a:bodyPr wrap="none" lIns="0" tIns="0" rIns="0" bIns="0" rtlCol="0" anchor="ctr">
            <a:spAutoFit/>
          </a:bodyPr>
          <a:lstStyle/>
          <a:p>
            <a:pPr marL="0" marR="0" lvl="0" indent="0" algn="r" defTabSz="228594" rtl="0" eaLnBrk="1" fontAlgn="auto" latinLnBrk="0" hangingPunct="1">
              <a:lnSpc>
                <a:spcPct val="100000"/>
              </a:lnSpc>
              <a:spcBef>
                <a:spcPts val="0"/>
              </a:spcBef>
              <a:spcAft>
                <a:spcPts val="1200"/>
              </a:spcAft>
              <a:buClrTx/>
              <a:buSzTx/>
              <a:buFontTx/>
              <a:buNone/>
              <a:tabLst/>
              <a:defRPr/>
            </a:pPr>
            <a:fld id="{8A1971D9-5B62-3C46-9EC9-FDAAB88557B2}" type="slidenum">
              <a:rPr lang="pt-BR" sz="800" smtClean="0">
                <a:solidFill>
                  <a:schemeClr val="bg1">
                    <a:lumMod val="85000"/>
                    <a:alpha val="75000"/>
                  </a:schemeClr>
                </a:solidFill>
                <a:latin typeface="Graphik Semibold" panose="020B0703030202060203" pitchFamily="34" charset="0"/>
              </a:rPr>
              <a:pPr marL="0" marR="0" lvl="0" indent="0" algn="r" defTabSz="228594" rtl="0" eaLnBrk="1" fontAlgn="auto" latinLnBrk="0" hangingPunct="1">
                <a:lnSpc>
                  <a:spcPct val="100000"/>
                </a:lnSpc>
                <a:spcBef>
                  <a:spcPts val="0"/>
                </a:spcBef>
                <a:spcAft>
                  <a:spcPts val="1200"/>
                </a:spcAft>
                <a:buClrTx/>
                <a:buSzTx/>
                <a:buFontTx/>
                <a:buNone/>
                <a:tabLst/>
                <a:defRPr/>
              </a:pPr>
              <a:t>‹#›</a:t>
            </a:fld>
            <a:endParaRPr lang="pt-BR" sz="1351" noProof="0" dirty="0">
              <a:solidFill>
                <a:schemeClr val="bg1">
                  <a:lumMod val="85000"/>
                  <a:alpha val="75000"/>
                </a:schemeClr>
              </a:solidFill>
              <a:latin typeface="Graphik Semibold" panose="020B0703030202060203" pitchFamily="34" charset="0"/>
            </a:endParaRPr>
          </a:p>
        </p:txBody>
      </p:sp>
    </p:spTree>
    <p:extLst>
      <p:ext uri="{BB962C8B-B14F-4D97-AF65-F5344CB8AC3E}">
        <p14:creationId xmlns:p14="http://schemas.microsoft.com/office/powerpoint/2010/main" val="125869821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Content: statistics light mode">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47C9BD93-1C99-B629-4F1E-A6FC7571B3AA}"/>
              </a:ext>
            </a:extLst>
          </p:cNvPr>
          <p:cNvGraphicFramePr>
            <a:graphicFrameLocks noChangeAspect="1"/>
          </p:cNvGraphicFramePr>
          <p:nvPr userDrawn="1">
            <p:custDataLst>
              <p:tags r:id="rId1"/>
            </p:custDataLst>
            <p:extLst>
              <p:ext uri="{D42A27DB-BD31-4B8C-83A1-F6EECF244321}">
                <p14:modId xmlns:p14="http://schemas.microsoft.com/office/powerpoint/2010/main" val="7918502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10" name="think-cell data - do not delete" hidden="1">
                        <a:extLst>
                          <a:ext uri="{FF2B5EF4-FFF2-40B4-BE49-F238E27FC236}">
                            <a16:creationId xmlns:a16="http://schemas.microsoft.com/office/drawing/2014/main" id="{47C9BD93-1C99-B629-4F1E-A6FC7571B3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9">
            <a:extLst>
              <a:ext uri="{FF2B5EF4-FFF2-40B4-BE49-F238E27FC236}">
                <a16:creationId xmlns:a16="http://schemas.microsoft.com/office/drawing/2014/main" id="{DD3BC9E6-13A7-8817-A32A-4CC03E8733D9}"/>
              </a:ext>
            </a:extLst>
          </p:cNvPr>
          <p:cNvSpPr>
            <a:spLocks noGrp="1"/>
          </p:cNvSpPr>
          <p:nvPr>
            <p:ph type="title"/>
          </p:nvPr>
        </p:nvSpPr>
        <p:spPr>
          <a:xfrm>
            <a:off x="565461" y="376463"/>
            <a:ext cx="2285999" cy="931437"/>
          </a:xfrm>
        </p:spPr>
        <p:txBody>
          <a:bodyPr vert="horz" anchor="ctr">
            <a:noAutofit/>
          </a:bodyPr>
          <a:lstStyle>
            <a:lvl1pPr rtl="0">
              <a:lnSpc>
                <a:spcPct val="100000"/>
              </a:lnSpc>
              <a:defRPr sz="5330">
                <a:solidFill>
                  <a:schemeClr val="bg2"/>
                </a:solidFill>
              </a:defRPr>
            </a:lvl1pPr>
          </a:lstStyle>
          <a:p>
            <a:r>
              <a:rPr lang="pt-BR"/>
              <a:t>Click to edit Master title style</a:t>
            </a:r>
            <a:endParaRPr lang="pt-BR" dirty="0"/>
          </a:p>
        </p:txBody>
      </p:sp>
      <p:sp>
        <p:nvSpPr>
          <p:cNvPr id="12" name="Text Placeholder 6">
            <a:extLst>
              <a:ext uri="{FF2B5EF4-FFF2-40B4-BE49-F238E27FC236}">
                <a16:creationId xmlns:a16="http://schemas.microsoft.com/office/drawing/2014/main" id="{8DC27019-ACF1-C483-EFEB-3CC77DD9EFCA}"/>
              </a:ext>
            </a:extLst>
          </p:cNvPr>
          <p:cNvSpPr>
            <a:spLocks noGrp="1"/>
          </p:cNvSpPr>
          <p:nvPr>
            <p:ph type="body" sz="quarter" idx="32"/>
          </p:nvPr>
        </p:nvSpPr>
        <p:spPr>
          <a:xfrm>
            <a:off x="571503" y="1472692"/>
            <a:ext cx="2286000" cy="1439333"/>
          </a:xfrm>
        </p:spPr>
        <p:txBody>
          <a:bodyPr/>
          <a:lstStyle>
            <a:lvl1pPr rtl="0">
              <a:spcAft>
                <a:spcPts val="600"/>
              </a:spcAft>
              <a:defRPr sz="1800" i="0">
                <a:latin typeface="Graphik Semibold" panose="020B0703030202060203" pitchFamily="34" charset="0"/>
              </a:defRPr>
            </a:lvl1pPr>
            <a:lvl2pPr marL="0" indent="0" rtl="0">
              <a:spcAft>
                <a:spcPts val="600"/>
              </a:spcAft>
              <a:buNone/>
              <a:defRPr sz="1200"/>
            </a:lvl2pPr>
            <a:lvl3pPr marL="230394" indent="-230394" rtl="0">
              <a:spcAft>
                <a:spcPts val="600"/>
              </a:spcAft>
              <a:buFont typeface="Arial" panose="020B0604020202020204" pitchFamily="34" charset="0"/>
              <a:buChar char="•"/>
              <a:tabLst/>
              <a:defRPr sz="1200"/>
            </a:lvl3pPr>
            <a:lvl4pPr marL="230394" indent="-230394" rtl="0">
              <a:spcAft>
                <a:spcPts val="600"/>
              </a:spcAft>
              <a:defRPr sz="1200"/>
            </a:lvl4pPr>
            <a:lvl5pPr marL="230394" indent="-228594" rtl="0">
              <a:spcAft>
                <a:spcPts val="600"/>
              </a:spcAft>
              <a:buFont typeface="Arial" panose="020B0604020202020204" pitchFamily="34" charset="0"/>
              <a:buChar char="•"/>
              <a:tabLst/>
              <a:defRPr sz="1200"/>
            </a:lvl5pPr>
          </a:lstStyle>
          <a:p>
            <a:pPr lvl="0"/>
            <a:r>
              <a:rPr lang="pt-BR"/>
              <a:t>Click to edit Master text styles</a:t>
            </a:r>
          </a:p>
          <a:p>
            <a:pPr lvl="1"/>
            <a:r>
              <a:rPr lang="pt-BR"/>
              <a:t>Second level</a:t>
            </a:r>
          </a:p>
          <a:p>
            <a:pPr lvl="2"/>
            <a:r>
              <a:rPr lang="pt-BR"/>
              <a:t>Third level</a:t>
            </a:r>
          </a:p>
          <a:p>
            <a:pPr lvl="3"/>
            <a:r>
              <a:rPr lang="pt-BR"/>
              <a:t>Fourth level</a:t>
            </a:r>
          </a:p>
          <a:p>
            <a:pPr lvl="4"/>
            <a:r>
              <a:rPr lang="pt-BR"/>
              <a:t>Fifth level</a:t>
            </a:r>
            <a:endParaRPr lang="pt-BR" dirty="0"/>
          </a:p>
        </p:txBody>
      </p:sp>
      <p:sp>
        <p:nvSpPr>
          <p:cNvPr id="46" name="Text Placeholder 4">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3428995" y="381002"/>
            <a:ext cx="2285996" cy="912223"/>
          </a:xfrm>
          <a:prstGeom prst="rect">
            <a:avLst/>
          </a:prstGeom>
        </p:spPr>
        <p:txBody>
          <a:bodyPr anchor="ctr"/>
          <a:lstStyle>
            <a:lvl1pPr marL="0" indent="0" rtl="0" fontAlgn="ctr" hangingPunct="0">
              <a:spcAft>
                <a:spcPts val="0"/>
              </a:spcAft>
              <a:buNone/>
              <a:defRPr lang="en-US" sz="5333" b="1" i="0" kern="1200" dirty="0">
                <a:solidFill>
                  <a:schemeClr val="bg2"/>
                </a:solidFill>
                <a:latin typeface="Graphik Semibold" panose="020B0503030202060203" pitchFamily="34" charset="77"/>
                <a:ea typeface="+mn-ea"/>
                <a:cs typeface="+mn-cs"/>
              </a:defRPr>
            </a:lvl1pPr>
            <a:lvl2pPr>
              <a:defRPr/>
            </a:lvl2pPr>
            <a:lvl3pPr>
              <a:defRPr/>
            </a:lvl3pPr>
            <a:lvl4pPr>
              <a:defRPr/>
            </a:lvl4pPr>
            <a:lvl5pPr>
              <a:defRPr/>
            </a:lvl5pPr>
          </a:lstStyle>
          <a:p>
            <a:pPr marL="228594" lvl="0" indent="-228594" algn="l" defTabSz="914377" rtl="0" eaLnBrk="1" latinLnBrk="0" hangingPunct="1">
              <a:lnSpc>
                <a:spcPct val="100000"/>
              </a:lnSpc>
              <a:spcBef>
                <a:spcPts val="0"/>
              </a:spcBef>
              <a:spcAft>
                <a:spcPts val="1200"/>
              </a:spcAft>
            </a:pPr>
            <a:r>
              <a:rPr lang="pt-BR"/>
              <a:t>00x</a:t>
            </a:r>
            <a:endParaRPr lang="pt-BR" dirty="0"/>
          </a:p>
        </p:txBody>
      </p:sp>
      <p:sp>
        <p:nvSpPr>
          <p:cNvPr id="11" name="Text Placeholder 6">
            <a:extLst>
              <a:ext uri="{FF2B5EF4-FFF2-40B4-BE49-F238E27FC236}">
                <a16:creationId xmlns:a16="http://schemas.microsoft.com/office/drawing/2014/main" id="{9A7B63BD-36F9-7F57-E2CF-44D615E0F874}"/>
              </a:ext>
            </a:extLst>
          </p:cNvPr>
          <p:cNvSpPr>
            <a:spLocks noGrp="1"/>
          </p:cNvSpPr>
          <p:nvPr>
            <p:ph type="body" sz="quarter" idx="31"/>
          </p:nvPr>
        </p:nvSpPr>
        <p:spPr>
          <a:xfrm>
            <a:off x="3428995" y="1472692"/>
            <a:ext cx="2286000" cy="1439333"/>
          </a:xfrm>
        </p:spPr>
        <p:txBody>
          <a:bodyPr/>
          <a:lstStyle>
            <a:lvl1pPr rtl="0">
              <a:spcAft>
                <a:spcPts val="600"/>
              </a:spcAft>
              <a:defRPr sz="1800" i="0">
                <a:latin typeface="Graphik Semibold" panose="020B0703030202060203" pitchFamily="34" charset="0"/>
              </a:defRPr>
            </a:lvl1pPr>
            <a:lvl2pPr marL="0" indent="0" rtl="0">
              <a:spcAft>
                <a:spcPts val="600"/>
              </a:spcAft>
              <a:buNone/>
              <a:defRPr sz="1200"/>
            </a:lvl2pPr>
            <a:lvl3pPr marL="230394" indent="-230394" rtl="0">
              <a:spcAft>
                <a:spcPts val="600"/>
              </a:spcAft>
              <a:buFont typeface="Arial" panose="020B0604020202020204" pitchFamily="34" charset="0"/>
              <a:buChar char="•"/>
              <a:tabLst/>
              <a:defRPr sz="1200"/>
            </a:lvl3pPr>
            <a:lvl4pPr marL="230394" indent="-230394" rtl="0">
              <a:spcAft>
                <a:spcPts val="600"/>
              </a:spcAft>
              <a:defRPr sz="1200"/>
            </a:lvl4pPr>
            <a:lvl5pPr marL="230394" indent="-228594" rtl="0">
              <a:spcAft>
                <a:spcPts val="600"/>
              </a:spcAft>
              <a:buFont typeface="Arial" panose="020B0604020202020204" pitchFamily="34" charset="0"/>
              <a:buChar char="•"/>
              <a:tabLst/>
              <a:defRPr sz="1200"/>
            </a:lvl5pPr>
          </a:lstStyle>
          <a:p>
            <a:pPr lvl="0"/>
            <a:r>
              <a:rPr lang="pt-BR"/>
              <a:t>Click to edit Master text styles</a:t>
            </a:r>
          </a:p>
          <a:p>
            <a:pPr lvl="1"/>
            <a:r>
              <a:rPr lang="pt-BR"/>
              <a:t>Second level</a:t>
            </a:r>
          </a:p>
          <a:p>
            <a:pPr lvl="2"/>
            <a:r>
              <a:rPr lang="pt-BR"/>
              <a:t>Third level</a:t>
            </a:r>
          </a:p>
          <a:p>
            <a:pPr lvl="3"/>
            <a:r>
              <a:rPr lang="pt-BR"/>
              <a:t>Fourth level</a:t>
            </a:r>
          </a:p>
          <a:p>
            <a:pPr lvl="4"/>
            <a:r>
              <a:rPr lang="pt-BR"/>
              <a:t>Fifth level</a:t>
            </a:r>
            <a:endParaRPr lang="pt-BR" dirty="0"/>
          </a:p>
        </p:txBody>
      </p:sp>
      <p:sp>
        <p:nvSpPr>
          <p:cNvPr id="48" name="Text Placeholder 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571503" y="3398051"/>
            <a:ext cx="2285996" cy="912223"/>
          </a:xfrm>
          <a:prstGeom prst="rect">
            <a:avLst/>
          </a:prstGeom>
        </p:spPr>
        <p:txBody>
          <a:bodyPr anchor="ctr"/>
          <a:lstStyle>
            <a:lvl1pPr marL="0" indent="0" algn="l" rtl="0" fontAlgn="ctr" hangingPunct="0">
              <a:spcAft>
                <a:spcPts val="0"/>
              </a:spcAft>
              <a:buNone/>
              <a:defRPr lang="en-US" sz="5333" b="1" i="0" kern="1200" dirty="0">
                <a:solidFill>
                  <a:schemeClr val="bg2"/>
                </a:solidFill>
                <a:latin typeface="Graphik Semibold" panose="020B0503030202060203" pitchFamily="34" charset="77"/>
                <a:ea typeface="+mn-ea"/>
                <a:cs typeface="+mn-cs"/>
              </a:defRPr>
            </a:lvl1pPr>
            <a:lvl2pPr>
              <a:defRPr/>
            </a:lvl2pPr>
            <a:lvl3pPr>
              <a:defRPr/>
            </a:lvl3pPr>
            <a:lvl4pPr>
              <a:defRPr/>
            </a:lvl4pPr>
            <a:lvl5pPr>
              <a:defRPr/>
            </a:lvl5pPr>
          </a:lstStyle>
          <a:p>
            <a:pPr marL="228594" lvl="0" indent="-228594" algn="l" defTabSz="914377" rtl="0" eaLnBrk="1" latinLnBrk="0" hangingPunct="1">
              <a:lnSpc>
                <a:spcPct val="100000"/>
              </a:lnSpc>
              <a:spcBef>
                <a:spcPts val="0"/>
              </a:spcBef>
              <a:spcAft>
                <a:spcPts val="1200"/>
              </a:spcAft>
            </a:pPr>
            <a:r>
              <a:rPr lang="pt-BR"/>
              <a:t>00x</a:t>
            </a:r>
            <a:endParaRPr lang="pt-BR" dirty="0"/>
          </a:p>
        </p:txBody>
      </p:sp>
      <p:sp>
        <p:nvSpPr>
          <p:cNvPr id="9" name="Text Placeholder 6">
            <a:extLst>
              <a:ext uri="{FF2B5EF4-FFF2-40B4-BE49-F238E27FC236}">
                <a16:creationId xmlns:a16="http://schemas.microsoft.com/office/drawing/2014/main" id="{F970BA5E-9C63-BA7D-B45C-5186452F2409}"/>
              </a:ext>
            </a:extLst>
          </p:cNvPr>
          <p:cNvSpPr>
            <a:spLocks noGrp="1"/>
          </p:cNvSpPr>
          <p:nvPr>
            <p:ph type="body" sz="quarter" idx="30"/>
          </p:nvPr>
        </p:nvSpPr>
        <p:spPr>
          <a:xfrm>
            <a:off x="571503" y="4508500"/>
            <a:ext cx="2286000" cy="1439333"/>
          </a:xfrm>
        </p:spPr>
        <p:txBody>
          <a:bodyPr/>
          <a:lstStyle>
            <a:lvl1pPr rtl="0">
              <a:spcAft>
                <a:spcPts val="600"/>
              </a:spcAft>
              <a:defRPr sz="1800" i="0">
                <a:latin typeface="Graphik Semibold" panose="020B0703030202060203" pitchFamily="34" charset="0"/>
              </a:defRPr>
            </a:lvl1pPr>
            <a:lvl2pPr marL="0" indent="0" rtl="0">
              <a:spcAft>
                <a:spcPts val="600"/>
              </a:spcAft>
              <a:buNone/>
              <a:defRPr sz="1200"/>
            </a:lvl2pPr>
            <a:lvl3pPr marL="230394" indent="-230394" rtl="0">
              <a:spcAft>
                <a:spcPts val="600"/>
              </a:spcAft>
              <a:buFont typeface="Arial" panose="020B0604020202020204" pitchFamily="34" charset="0"/>
              <a:buChar char="•"/>
              <a:tabLst/>
              <a:defRPr sz="1200"/>
            </a:lvl3pPr>
            <a:lvl4pPr marL="230394" indent="-230394" rtl="0">
              <a:spcAft>
                <a:spcPts val="600"/>
              </a:spcAft>
              <a:defRPr sz="1200"/>
            </a:lvl4pPr>
            <a:lvl5pPr marL="230394" indent="-228594" rtl="0">
              <a:spcAft>
                <a:spcPts val="600"/>
              </a:spcAft>
              <a:buFont typeface="Arial" panose="020B0604020202020204" pitchFamily="34" charset="0"/>
              <a:buChar char="•"/>
              <a:tabLst/>
              <a:defRPr sz="1200"/>
            </a:lvl5pPr>
          </a:lstStyle>
          <a:p>
            <a:pPr lvl="0"/>
            <a:r>
              <a:rPr lang="pt-BR"/>
              <a:t>Click to edit Master text styles</a:t>
            </a:r>
          </a:p>
          <a:p>
            <a:pPr lvl="1"/>
            <a:r>
              <a:rPr lang="pt-BR"/>
              <a:t>Second level</a:t>
            </a:r>
          </a:p>
          <a:p>
            <a:pPr lvl="2"/>
            <a:r>
              <a:rPr lang="pt-BR"/>
              <a:t>Third level</a:t>
            </a:r>
          </a:p>
          <a:p>
            <a:pPr lvl="3"/>
            <a:r>
              <a:rPr lang="pt-BR"/>
              <a:t>Fourth level</a:t>
            </a:r>
          </a:p>
          <a:p>
            <a:pPr lvl="4"/>
            <a:r>
              <a:rPr lang="pt-BR"/>
              <a:t>Fifth level</a:t>
            </a:r>
            <a:endParaRPr lang="pt-BR" dirty="0"/>
          </a:p>
        </p:txBody>
      </p:sp>
      <p:sp>
        <p:nvSpPr>
          <p:cNvPr id="50" name="Text Placeholder 8">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3428995" y="3398051"/>
            <a:ext cx="2285996" cy="912223"/>
          </a:xfrm>
          <a:prstGeom prst="rect">
            <a:avLst/>
          </a:prstGeom>
        </p:spPr>
        <p:txBody>
          <a:bodyPr anchor="ctr"/>
          <a:lstStyle>
            <a:lvl1pPr marL="0" indent="0" algn="l" rtl="0" fontAlgn="ctr" hangingPunct="0">
              <a:spcAft>
                <a:spcPts val="0"/>
              </a:spcAft>
              <a:buNone/>
              <a:defRPr lang="en-US" sz="5333" b="1" i="0" kern="1200" dirty="0">
                <a:solidFill>
                  <a:schemeClr val="bg2"/>
                </a:solidFill>
                <a:latin typeface="Graphik Semibold" panose="020B0503030202060203" pitchFamily="34" charset="77"/>
                <a:ea typeface="+mn-ea"/>
                <a:cs typeface="+mn-cs"/>
              </a:defRPr>
            </a:lvl1pPr>
            <a:lvl2pPr>
              <a:defRPr/>
            </a:lvl2pPr>
            <a:lvl3pPr>
              <a:defRPr/>
            </a:lvl3pPr>
            <a:lvl4pPr>
              <a:defRPr/>
            </a:lvl4pPr>
            <a:lvl5pPr>
              <a:defRPr/>
            </a:lvl5pPr>
          </a:lstStyle>
          <a:p>
            <a:pPr marL="228594" lvl="0" indent="-228594" algn="l" defTabSz="914377" rtl="0" eaLnBrk="1" latinLnBrk="0" hangingPunct="1">
              <a:lnSpc>
                <a:spcPct val="100000"/>
              </a:lnSpc>
              <a:spcBef>
                <a:spcPts val="0"/>
              </a:spcBef>
              <a:spcAft>
                <a:spcPts val="1200"/>
              </a:spcAft>
            </a:pPr>
            <a:r>
              <a:rPr lang="pt-BR"/>
              <a:t>00x</a:t>
            </a:r>
            <a:endParaRPr lang="pt-BR" dirty="0"/>
          </a:p>
        </p:txBody>
      </p:sp>
      <p:sp>
        <p:nvSpPr>
          <p:cNvPr id="7" name="Text Placeholder 6">
            <a:extLst>
              <a:ext uri="{FF2B5EF4-FFF2-40B4-BE49-F238E27FC236}">
                <a16:creationId xmlns:a16="http://schemas.microsoft.com/office/drawing/2014/main" id="{23FAE69D-63C7-3796-16D2-0EA82AB27669}"/>
              </a:ext>
            </a:extLst>
          </p:cNvPr>
          <p:cNvSpPr>
            <a:spLocks noGrp="1"/>
          </p:cNvSpPr>
          <p:nvPr>
            <p:ph type="body" sz="quarter" idx="29"/>
          </p:nvPr>
        </p:nvSpPr>
        <p:spPr>
          <a:xfrm>
            <a:off x="3428995" y="4508500"/>
            <a:ext cx="2286000" cy="1439333"/>
          </a:xfrm>
        </p:spPr>
        <p:txBody>
          <a:bodyPr/>
          <a:lstStyle>
            <a:lvl1pPr rtl="0">
              <a:spcAft>
                <a:spcPts val="600"/>
              </a:spcAft>
              <a:defRPr sz="1800" i="0">
                <a:latin typeface="Graphik Semibold" panose="020B0703030202060203" pitchFamily="34" charset="0"/>
              </a:defRPr>
            </a:lvl1pPr>
            <a:lvl2pPr marL="0" indent="0" rtl="0">
              <a:spcAft>
                <a:spcPts val="600"/>
              </a:spcAft>
              <a:buNone/>
              <a:defRPr sz="1200"/>
            </a:lvl2pPr>
            <a:lvl3pPr marL="230394" indent="-230394" rtl="0">
              <a:spcAft>
                <a:spcPts val="600"/>
              </a:spcAft>
              <a:buFont typeface="Arial" panose="020B0604020202020204" pitchFamily="34" charset="0"/>
              <a:buChar char="•"/>
              <a:tabLst/>
              <a:defRPr sz="1200"/>
            </a:lvl3pPr>
            <a:lvl4pPr marL="230394" indent="-230394" rtl="0">
              <a:spcAft>
                <a:spcPts val="600"/>
              </a:spcAft>
              <a:defRPr sz="1200"/>
            </a:lvl4pPr>
            <a:lvl5pPr marL="230394" indent="-228594" rtl="0">
              <a:spcAft>
                <a:spcPts val="600"/>
              </a:spcAft>
              <a:buFont typeface="Arial" panose="020B0604020202020204" pitchFamily="34" charset="0"/>
              <a:buChar char="•"/>
              <a:tabLst/>
              <a:defRPr sz="1200"/>
            </a:lvl5pPr>
          </a:lstStyle>
          <a:p>
            <a:pPr lvl="0"/>
            <a:r>
              <a:rPr lang="pt-BR"/>
              <a:t>Click to edit Master text styles</a:t>
            </a:r>
          </a:p>
          <a:p>
            <a:pPr lvl="1"/>
            <a:r>
              <a:rPr lang="pt-BR"/>
              <a:t>Second level</a:t>
            </a:r>
          </a:p>
          <a:p>
            <a:pPr lvl="2"/>
            <a:r>
              <a:rPr lang="pt-BR"/>
              <a:t>Third level</a:t>
            </a:r>
          </a:p>
          <a:p>
            <a:pPr lvl="3"/>
            <a:r>
              <a:rPr lang="pt-BR"/>
              <a:t>Fourth level</a:t>
            </a:r>
          </a:p>
          <a:p>
            <a:pPr lvl="4"/>
            <a:r>
              <a:rPr lang="pt-BR"/>
              <a:t>Fifth level</a:t>
            </a:r>
            <a:endParaRPr lang="pt-BR" dirty="0"/>
          </a:p>
        </p:txBody>
      </p:sp>
      <p:cxnSp>
        <p:nvCxnSpPr>
          <p:cNvPr id="42" name="Straight Connector 41">
            <a:extLst>
              <a:ext uri="{FF2B5EF4-FFF2-40B4-BE49-F238E27FC236}">
                <a16:creationId xmlns:a16="http://schemas.microsoft.com/office/drawing/2014/main" id="{149C8D0A-C37D-4D9A-9703-8A0AFB18570C}"/>
              </a:ext>
              <a:ext uri="{C183D7F6-B498-43B3-948B-1728B52AA6E4}">
                <adec:decorative xmlns:adec="http://schemas.microsoft.com/office/drawing/2017/decorative" val="1"/>
              </a:ext>
            </a:extLst>
          </p:cNvPr>
          <p:cNvCxnSpPr>
            <a:cxnSpLocks/>
          </p:cNvCxnSpPr>
          <p:nvPr userDrawn="1"/>
        </p:nvCxnSpPr>
        <p:spPr>
          <a:xfrm>
            <a:off x="0" y="3076800"/>
            <a:ext cx="6096008" cy="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1BE5BBCC-C957-48B6-99B6-EF1F3E80F622}"/>
              </a:ext>
              <a:ext uri="{C183D7F6-B498-43B3-948B-1728B52AA6E4}">
                <adec:decorative xmlns:adec="http://schemas.microsoft.com/office/drawing/2017/decorative" val="1"/>
              </a:ext>
            </a:extLst>
          </p:cNvPr>
          <p:cNvCxnSpPr>
            <a:cxnSpLocks/>
          </p:cNvCxnSpPr>
          <p:nvPr userDrawn="1"/>
        </p:nvCxnSpPr>
        <p:spPr>
          <a:xfrm>
            <a:off x="3143247" y="-1"/>
            <a:ext cx="0" cy="619200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 name="Picture Placeholder 35">
            <a:extLst>
              <a:ext uri="{FF2B5EF4-FFF2-40B4-BE49-F238E27FC236}">
                <a16:creationId xmlns:a16="http://schemas.microsoft.com/office/drawing/2014/main" id="{EF1A1C24-C0B7-DF19-B492-C0ED29CE9AF6}"/>
              </a:ext>
            </a:extLst>
          </p:cNvPr>
          <p:cNvSpPr>
            <a:spLocks noGrp="1"/>
          </p:cNvSpPr>
          <p:nvPr>
            <p:ph type="pic" sz="quarter" idx="16" hasCustomPrompt="1"/>
          </p:nvPr>
        </p:nvSpPr>
        <p:spPr bwMode="gray">
          <a:xfrm>
            <a:off x="6095992" y="0"/>
            <a:ext cx="6096008" cy="6129340"/>
          </a:xfrm>
          <a:prstGeom prst="rect">
            <a:avLst/>
          </a:prstGeom>
          <a:solidFill>
            <a:schemeClr val="bg1">
              <a:lumMod val="95000"/>
            </a:schemeClr>
          </a:solidFill>
        </p:spPr>
        <p:txBody>
          <a:bodyPr tIns="457200" anchor="ctr"/>
          <a:lstStyle>
            <a:lvl1pPr marL="0" indent="0" algn="ctr" rtl="0">
              <a:buNone/>
              <a:defRPr sz="1400" b="0" i="0">
                <a:solidFill>
                  <a:schemeClr val="tx1"/>
                </a:solidFill>
                <a:latin typeface="Graphik" panose="020B0503030202060203" pitchFamily="34" charset="77"/>
              </a:defRPr>
            </a:lvl1pPr>
          </a:lstStyle>
          <a:p>
            <a:r>
              <a:rPr lang="pt-BR"/>
              <a:t>Drag picture to placeholder or click icon to add</a:t>
            </a:r>
            <a:endParaRPr lang="pt-BR" dirty="0"/>
          </a:p>
        </p:txBody>
      </p:sp>
      <p:sp>
        <p:nvSpPr>
          <p:cNvPr id="4" name="Bottom tag">
            <a:extLst>
              <a:ext uri="{FF2B5EF4-FFF2-40B4-BE49-F238E27FC236}">
                <a16:creationId xmlns:a16="http://schemas.microsoft.com/office/drawing/2014/main" id="{5F2E67CA-5DA7-3CD1-C175-808A139DD240}"/>
              </a:ext>
              <a:ext uri="{C183D7F6-B498-43B3-948B-1728B52AA6E4}">
                <adec:decorative xmlns:adec="http://schemas.microsoft.com/office/drawing/2017/decorative" val="1"/>
              </a:ext>
            </a:extLst>
          </p:cNvPr>
          <p:cNvSpPr/>
          <p:nvPr userDrawn="1"/>
        </p:nvSpPr>
        <p:spPr bwMode="white">
          <a:xfrm>
            <a:off x="0" y="6129340"/>
            <a:ext cx="12192000" cy="72866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pt-BR" sz="1351" b="0" i="0" dirty="0">
              <a:latin typeface="Graphik" panose="020B0503030202060203" pitchFamily="34" charset="77"/>
            </a:endParaRPr>
          </a:p>
        </p:txBody>
      </p:sp>
      <p:sp>
        <p:nvSpPr>
          <p:cNvPr id="5" name="slide number automatic">
            <a:extLst>
              <a:ext uri="{FF2B5EF4-FFF2-40B4-BE49-F238E27FC236}">
                <a16:creationId xmlns:a16="http://schemas.microsoft.com/office/drawing/2014/main" id="{C826E34F-821D-D174-AEA1-2830AED1A7A3}"/>
              </a:ext>
            </a:extLst>
          </p:cNvPr>
          <p:cNvSpPr txBox="1"/>
          <p:nvPr userDrawn="1"/>
        </p:nvSpPr>
        <p:spPr>
          <a:xfrm>
            <a:off x="11685965" y="6429853"/>
            <a:ext cx="125035" cy="123111"/>
          </a:xfrm>
          <a:prstGeom prst="rect">
            <a:avLst/>
          </a:prstGeom>
          <a:noFill/>
        </p:spPr>
        <p:txBody>
          <a:bodyPr wrap="none" lIns="0" tIns="0" rIns="0" bIns="0" rtlCol="0" anchor="ctr">
            <a:spAutoFit/>
          </a:bodyPr>
          <a:lstStyle/>
          <a:p>
            <a:pPr marL="0" marR="0" lvl="0" indent="0" algn="r" defTabSz="228594" rtl="0" eaLnBrk="1" fontAlgn="auto" latinLnBrk="0" hangingPunct="1">
              <a:lnSpc>
                <a:spcPct val="100000"/>
              </a:lnSpc>
              <a:spcBef>
                <a:spcPts val="0"/>
              </a:spcBef>
              <a:spcAft>
                <a:spcPts val="1200"/>
              </a:spcAft>
              <a:buClrTx/>
              <a:buSzTx/>
              <a:buFontTx/>
              <a:buNone/>
              <a:tabLst/>
              <a:defRPr/>
            </a:pPr>
            <a:fld id="{8A1971D9-5B62-3C46-9EC9-FDAAB88557B2}" type="slidenum">
              <a:rPr lang="pt-BR" sz="800" smtClean="0">
                <a:solidFill>
                  <a:schemeClr val="bg1">
                    <a:lumMod val="85000"/>
                    <a:alpha val="75000"/>
                  </a:schemeClr>
                </a:solidFill>
                <a:latin typeface="Graphik Semibold" panose="020B0703030202060203" pitchFamily="34" charset="0"/>
              </a:rPr>
              <a:pPr marL="0" marR="0" lvl="0" indent="0" algn="r" defTabSz="228594" rtl="0" eaLnBrk="1" fontAlgn="auto" latinLnBrk="0" hangingPunct="1">
                <a:lnSpc>
                  <a:spcPct val="100000"/>
                </a:lnSpc>
                <a:spcBef>
                  <a:spcPts val="0"/>
                </a:spcBef>
                <a:spcAft>
                  <a:spcPts val="1200"/>
                </a:spcAft>
                <a:buClrTx/>
                <a:buSzTx/>
                <a:buFontTx/>
                <a:buNone/>
                <a:tabLst/>
                <a:defRPr/>
              </a:pPr>
              <a:t>‹#›</a:t>
            </a:fld>
            <a:endParaRPr lang="pt-BR" sz="1351" noProof="0" dirty="0">
              <a:solidFill>
                <a:schemeClr val="bg1">
                  <a:lumMod val="85000"/>
                  <a:alpha val="75000"/>
                </a:schemeClr>
              </a:solidFill>
              <a:latin typeface="Graphik Semibold" panose="020B0703030202060203" pitchFamily="34" charset="0"/>
            </a:endParaRPr>
          </a:p>
        </p:txBody>
      </p:sp>
    </p:spTree>
    <p:extLst>
      <p:ext uri="{BB962C8B-B14F-4D97-AF65-F5344CB8AC3E}">
        <p14:creationId xmlns:p14="http://schemas.microsoft.com/office/powerpoint/2010/main" val="217919008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ntent: statistics dark  mode">
    <p:bg>
      <p:bgPr>
        <a:solidFill>
          <a:srgbClr val="000000"/>
        </a:solidFill>
        <a:effectLst/>
      </p:bgPr>
    </p:bg>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FFDC713-DB7D-616D-4DA5-C50AF79E3A06}"/>
              </a:ext>
            </a:extLst>
          </p:cNvPr>
          <p:cNvGraphicFramePr>
            <a:graphicFrameLocks noChangeAspect="1"/>
          </p:cNvGraphicFramePr>
          <p:nvPr userDrawn="1">
            <p:custDataLst>
              <p:tags r:id="rId1"/>
            </p:custDataLst>
            <p:extLst>
              <p:ext uri="{D42A27DB-BD31-4B8C-83A1-F6EECF244321}">
                <p14:modId xmlns:p14="http://schemas.microsoft.com/office/powerpoint/2010/main" val="3426641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13" name="think-cell data - do not delete" hidden="1">
                        <a:extLst>
                          <a:ext uri="{FF2B5EF4-FFF2-40B4-BE49-F238E27FC236}">
                            <a16:creationId xmlns:a16="http://schemas.microsoft.com/office/drawing/2014/main" id="{DFFDC713-DB7D-616D-4DA5-C50AF79E3A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60352A97-ED89-7C2F-0063-10DA374CB06F}"/>
              </a:ext>
            </a:extLst>
          </p:cNvPr>
          <p:cNvSpPr>
            <a:spLocks noGrp="1"/>
          </p:cNvSpPr>
          <p:nvPr>
            <p:ph type="title"/>
          </p:nvPr>
        </p:nvSpPr>
        <p:spPr>
          <a:xfrm>
            <a:off x="565461" y="376463"/>
            <a:ext cx="2285999" cy="931437"/>
          </a:xfrm>
        </p:spPr>
        <p:txBody>
          <a:bodyPr vert="horz" anchor="ctr">
            <a:noAutofit/>
          </a:bodyPr>
          <a:lstStyle>
            <a:lvl1pPr rtl="0">
              <a:lnSpc>
                <a:spcPct val="100000"/>
              </a:lnSpc>
              <a:defRPr sz="5330">
                <a:solidFill>
                  <a:schemeClr val="accent2"/>
                </a:solidFill>
              </a:defRPr>
            </a:lvl1pPr>
          </a:lstStyle>
          <a:p>
            <a:r>
              <a:rPr lang="pt-BR"/>
              <a:t>Click to edit Master title style</a:t>
            </a:r>
            <a:endParaRPr lang="pt-BR" dirty="0"/>
          </a:p>
        </p:txBody>
      </p:sp>
      <p:sp>
        <p:nvSpPr>
          <p:cNvPr id="11" name="Text Placeholder 6">
            <a:extLst>
              <a:ext uri="{FF2B5EF4-FFF2-40B4-BE49-F238E27FC236}">
                <a16:creationId xmlns:a16="http://schemas.microsoft.com/office/drawing/2014/main" id="{F6B6460F-92C4-7868-A99F-7C747B39009C}"/>
              </a:ext>
            </a:extLst>
          </p:cNvPr>
          <p:cNvSpPr>
            <a:spLocks noGrp="1"/>
          </p:cNvSpPr>
          <p:nvPr>
            <p:ph type="body" sz="quarter" idx="32"/>
          </p:nvPr>
        </p:nvSpPr>
        <p:spPr>
          <a:xfrm>
            <a:off x="571503" y="1472692"/>
            <a:ext cx="2286000" cy="1439333"/>
          </a:xfrm>
        </p:spPr>
        <p:txBody>
          <a:bodyPr/>
          <a:lstStyle>
            <a:lvl1pPr rtl="0">
              <a:spcAft>
                <a:spcPts val="600"/>
              </a:spcAft>
              <a:defRPr sz="1800" i="0">
                <a:solidFill>
                  <a:srgbClr val="FFFFFF"/>
                </a:solidFill>
                <a:latin typeface="Graphik Semibold" panose="020B0703030202060203" pitchFamily="34" charset="0"/>
              </a:defRPr>
            </a:lvl1pPr>
            <a:lvl2pPr marL="0" indent="0" rtl="0">
              <a:spcAft>
                <a:spcPts val="600"/>
              </a:spcAft>
              <a:buNone/>
              <a:defRPr sz="1200">
                <a:solidFill>
                  <a:srgbClr val="FFFFFF"/>
                </a:solidFill>
              </a:defRPr>
            </a:lvl2pPr>
            <a:lvl3pPr marL="230394" indent="-230394" rtl="0">
              <a:spcAft>
                <a:spcPts val="600"/>
              </a:spcAft>
              <a:buFont typeface="Arial" panose="020B0604020202020204" pitchFamily="34" charset="0"/>
              <a:buChar char="•"/>
              <a:tabLst/>
              <a:defRPr sz="1200">
                <a:solidFill>
                  <a:srgbClr val="FFFFFF"/>
                </a:solidFill>
              </a:defRPr>
            </a:lvl3pPr>
            <a:lvl4pPr marL="230394" indent="-230394" rtl="0">
              <a:spcAft>
                <a:spcPts val="600"/>
              </a:spcAft>
              <a:defRPr sz="1200">
                <a:solidFill>
                  <a:srgbClr val="FFFFFF"/>
                </a:solidFill>
              </a:defRPr>
            </a:lvl4pPr>
            <a:lvl5pPr marL="230394" indent="-228594" rtl="0">
              <a:spcAft>
                <a:spcPts val="600"/>
              </a:spcAft>
              <a:buFont typeface="Arial" panose="020B0604020202020204" pitchFamily="34" charset="0"/>
              <a:buChar char="•"/>
              <a:tabLst/>
              <a:defRPr sz="1200">
                <a:solidFill>
                  <a:srgbClr val="FFFFFF"/>
                </a:solidFill>
              </a:defRPr>
            </a:lvl5pPr>
          </a:lstStyle>
          <a:p>
            <a:pPr lvl="0"/>
            <a:r>
              <a:rPr lang="pt-BR"/>
              <a:t>Click to edit Master text styles</a:t>
            </a:r>
          </a:p>
          <a:p>
            <a:pPr lvl="1"/>
            <a:r>
              <a:rPr lang="pt-BR"/>
              <a:t>Second level</a:t>
            </a:r>
          </a:p>
          <a:p>
            <a:pPr lvl="2"/>
            <a:r>
              <a:rPr lang="pt-BR"/>
              <a:t>Third level</a:t>
            </a:r>
          </a:p>
          <a:p>
            <a:pPr lvl="3"/>
            <a:r>
              <a:rPr lang="pt-BR"/>
              <a:t>Fourth level</a:t>
            </a:r>
          </a:p>
          <a:p>
            <a:pPr lvl="4"/>
            <a:r>
              <a:rPr lang="pt-BR"/>
              <a:t>Fifth level</a:t>
            </a:r>
            <a:endParaRPr lang="pt-BR" dirty="0"/>
          </a:p>
        </p:txBody>
      </p:sp>
      <p:sp>
        <p:nvSpPr>
          <p:cNvPr id="46" name="Text Placeholder 4">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3428995" y="381002"/>
            <a:ext cx="2285996" cy="912223"/>
          </a:xfrm>
          <a:prstGeom prst="rect">
            <a:avLst/>
          </a:prstGeom>
        </p:spPr>
        <p:txBody>
          <a:bodyPr anchor="ctr"/>
          <a:lstStyle>
            <a:lvl1pPr marL="0" indent="0" rtl="0">
              <a:spcAft>
                <a:spcPts val="0"/>
              </a:spcAft>
              <a:buNone/>
              <a:defRPr lang="en-US" sz="5333" b="1" i="0" kern="1200" dirty="0">
                <a:solidFill>
                  <a:schemeClr val="accent2"/>
                </a:solidFill>
                <a:latin typeface="Graphik Semibold" panose="020B0503030202060203" pitchFamily="34" charset="77"/>
                <a:ea typeface="+mn-ea"/>
                <a:cs typeface="+mn-cs"/>
              </a:defRPr>
            </a:lvl1pPr>
            <a:lvl2pPr>
              <a:defRPr/>
            </a:lvl2pPr>
            <a:lvl3pPr>
              <a:defRPr/>
            </a:lvl3pPr>
            <a:lvl4pPr>
              <a:defRPr/>
            </a:lvl4pPr>
            <a:lvl5pPr>
              <a:defRPr/>
            </a:lvl5pPr>
          </a:lstStyle>
          <a:p>
            <a:pPr marL="228594" lvl="0" indent="-228594" algn="l" defTabSz="914377" rtl="0" eaLnBrk="1" latinLnBrk="0" hangingPunct="1">
              <a:lnSpc>
                <a:spcPct val="100000"/>
              </a:lnSpc>
              <a:spcBef>
                <a:spcPts val="0"/>
              </a:spcBef>
              <a:spcAft>
                <a:spcPts val="1200"/>
              </a:spcAft>
            </a:pPr>
            <a:r>
              <a:rPr lang="pt-BR"/>
              <a:t>00x</a:t>
            </a:r>
            <a:endParaRPr lang="pt-BR" dirty="0"/>
          </a:p>
        </p:txBody>
      </p:sp>
      <p:sp>
        <p:nvSpPr>
          <p:cNvPr id="9" name="Text Placeholder 6">
            <a:extLst>
              <a:ext uri="{FF2B5EF4-FFF2-40B4-BE49-F238E27FC236}">
                <a16:creationId xmlns:a16="http://schemas.microsoft.com/office/drawing/2014/main" id="{EAF65655-CFF6-96F8-B90D-8BE8496D6801}"/>
              </a:ext>
            </a:extLst>
          </p:cNvPr>
          <p:cNvSpPr>
            <a:spLocks noGrp="1"/>
          </p:cNvSpPr>
          <p:nvPr>
            <p:ph type="body" sz="quarter" idx="31"/>
          </p:nvPr>
        </p:nvSpPr>
        <p:spPr>
          <a:xfrm>
            <a:off x="3428995" y="1472692"/>
            <a:ext cx="2286000" cy="1439333"/>
          </a:xfrm>
        </p:spPr>
        <p:txBody>
          <a:bodyPr/>
          <a:lstStyle>
            <a:lvl1pPr rtl="0">
              <a:spcAft>
                <a:spcPts val="600"/>
              </a:spcAft>
              <a:defRPr sz="1800" i="0">
                <a:solidFill>
                  <a:srgbClr val="FFFFFF"/>
                </a:solidFill>
                <a:latin typeface="Graphik Semibold" panose="020B0703030202060203" pitchFamily="34" charset="0"/>
              </a:defRPr>
            </a:lvl1pPr>
            <a:lvl2pPr marL="0" indent="0" rtl="0">
              <a:spcAft>
                <a:spcPts val="600"/>
              </a:spcAft>
              <a:buNone/>
              <a:defRPr sz="1200">
                <a:solidFill>
                  <a:srgbClr val="FFFFFF"/>
                </a:solidFill>
              </a:defRPr>
            </a:lvl2pPr>
            <a:lvl3pPr marL="230394" indent="-230394" rtl="0">
              <a:spcAft>
                <a:spcPts val="600"/>
              </a:spcAft>
              <a:buFont typeface="Arial" panose="020B0604020202020204" pitchFamily="34" charset="0"/>
              <a:buChar char="•"/>
              <a:tabLst/>
              <a:defRPr sz="1200">
                <a:solidFill>
                  <a:srgbClr val="FFFFFF"/>
                </a:solidFill>
              </a:defRPr>
            </a:lvl3pPr>
            <a:lvl4pPr marL="230394" indent="-230394" rtl="0">
              <a:spcAft>
                <a:spcPts val="600"/>
              </a:spcAft>
              <a:defRPr sz="1200">
                <a:solidFill>
                  <a:srgbClr val="FFFFFF"/>
                </a:solidFill>
              </a:defRPr>
            </a:lvl4pPr>
            <a:lvl5pPr marL="230394" indent="-228594" rtl="0">
              <a:spcAft>
                <a:spcPts val="600"/>
              </a:spcAft>
              <a:buFont typeface="Arial" panose="020B0604020202020204" pitchFamily="34" charset="0"/>
              <a:buChar char="•"/>
              <a:tabLst/>
              <a:defRPr sz="1200">
                <a:solidFill>
                  <a:srgbClr val="FFFFFF"/>
                </a:solidFill>
              </a:defRPr>
            </a:lvl5pPr>
          </a:lstStyle>
          <a:p>
            <a:pPr lvl="0"/>
            <a:r>
              <a:rPr lang="pt-BR"/>
              <a:t>Click to edit Master text styles</a:t>
            </a:r>
          </a:p>
          <a:p>
            <a:pPr lvl="1"/>
            <a:r>
              <a:rPr lang="pt-BR"/>
              <a:t>Second level</a:t>
            </a:r>
          </a:p>
          <a:p>
            <a:pPr lvl="2"/>
            <a:r>
              <a:rPr lang="pt-BR"/>
              <a:t>Third level</a:t>
            </a:r>
          </a:p>
          <a:p>
            <a:pPr lvl="3"/>
            <a:r>
              <a:rPr lang="pt-BR"/>
              <a:t>Fourth level</a:t>
            </a:r>
          </a:p>
          <a:p>
            <a:pPr lvl="4"/>
            <a:r>
              <a:rPr lang="pt-BR"/>
              <a:t>Fifth level</a:t>
            </a:r>
            <a:endParaRPr lang="pt-BR" dirty="0"/>
          </a:p>
        </p:txBody>
      </p:sp>
      <p:sp>
        <p:nvSpPr>
          <p:cNvPr id="48" name="Text Placeholder 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571503" y="3398051"/>
            <a:ext cx="2285996" cy="912223"/>
          </a:xfrm>
          <a:prstGeom prst="rect">
            <a:avLst/>
          </a:prstGeom>
        </p:spPr>
        <p:txBody>
          <a:bodyPr anchor="ctr"/>
          <a:lstStyle>
            <a:lvl1pPr marL="0" indent="0" rtl="0">
              <a:spcAft>
                <a:spcPts val="0"/>
              </a:spcAft>
              <a:buNone/>
              <a:defRPr lang="en-US" sz="5333" b="1" i="0" kern="1200" dirty="0">
                <a:solidFill>
                  <a:schemeClr val="accent2"/>
                </a:solidFill>
                <a:latin typeface="Graphik Semibold" panose="020B0503030202060203" pitchFamily="34" charset="77"/>
                <a:ea typeface="+mn-ea"/>
                <a:cs typeface="+mn-cs"/>
              </a:defRPr>
            </a:lvl1pPr>
            <a:lvl2pPr>
              <a:defRPr/>
            </a:lvl2pPr>
            <a:lvl3pPr>
              <a:defRPr/>
            </a:lvl3pPr>
            <a:lvl4pPr>
              <a:defRPr/>
            </a:lvl4pPr>
            <a:lvl5pPr>
              <a:defRPr/>
            </a:lvl5pPr>
          </a:lstStyle>
          <a:p>
            <a:pPr marL="228594" lvl="0" indent="-228594" algn="l" defTabSz="914377" rtl="0" eaLnBrk="1" latinLnBrk="0" hangingPunct="1">
              <a:lnSpc>
                <a:spcPct val="100000"/>
              </a:lnSpc>
              <a:spcBef>
                <a:spcPts val="0"/>
              </a:spcBef>
              <a:spcAft>
                <a:spcPts val="1200"/>
              </a:spcAft>
            </a:pPr>
            <a:r>
              <a:rPr lang="pt-BR"/>
              <a:t>00x</a:t>
            </a:r>
            <a:endParaRPr lang="pt-BR" dirty="0"/>
          </a:p>
        </p:txBody>
      </p:sp>
      <p:sp>
        <p:nvSpPr>
          <p:cNvPr id="7" name="Text Placeholder 6">
            <a:extLst>
              <a:ext uri="{FF2B5EF4-FFF2-40B4-BE49-F238E27FC236}">
                <a16:creationId xmlns:a16="http://schemas.microsoft.com/office/drawing/2014/main" id="{54F0D47A-40F3-3312-FD52-DB56907BD070}"/>
              </a:ext>
            </a:extLst>
          </p:cNvPr>
          <p:cNvSpPr>
            <a:spLocks noGrp="1"/>
          </p:cNvSpPr>
          <p:nvPr>
            <p:ph type="body" sz="quarter" idx="30"/>
          </p:nvPr>
        </p:nvSpPr>
        <p:spPr>
          <a:xfrm>
            <a:off x="571503" y="4508500"/>
            <a:ext cx="2286000" cy="1439333"/>
          </a:xfrm>
        </p:spPr>
        <p:txBody>
          <a:bodyPr/>
          <a:lstStyle>
            <a:lvl1pPr rtl="0">
              <a:spcAft>
                <a:spcPts val="600"/>
              </a:spcAft>
              <a:defRPr sz="1800" i="0">
                <a:solidFill>
                  <a:srgbClr val="FFFFFF"/>
                </a:solidFill>
                <a:latin typeface="Graphik Semibold" panose="020B0703030202060203" pitchFamily="34" charset="0"/>
              </a:defRPr>
            </a:lvl1pPr>
            <a:lvl2pPr marL="0" indent="0" rtl="0">
              <a:spcAft>
                <a:spcPts val="600"/>
              </a:spcAft>
              <a:buNone/>
              <a:defRPr sz="1200">
                <a:solidFill>
                  <a:srgbClr val="FFFFFF"/>
                </a:solidFill>
              </a:defRPr>
            </a:lvl2pPr>
            <a:lvl3pPr marL="230394" indent="-230394" rtl="0">
              <a:spcAft>
                <a:spcPts val="600"/>
              </a:spcAft>
              <a:buFont typeface="Arial" panose="020B0604020202020204" pitchFamily="34" charset="0"/>
              <a:buChar char="•"/>
              <a:tabLst/>
              <a:defRPr sz="1200">
                <a:solidFill>
                  <a:srgbClr val="FFFFFF"/>
                </a:solidFill>
              </a:defRPr>
            </a:lvl3pPr>
            <a:lvl4pPr marL="230394" indent="-230394" rtl="0">
              <a:spcAft>
                <a:spcPts val="600"/>
              </a:spcAft>
              <a:defRPr sz="1200">
                <a:solidFill>
                  <a:srgbClr val="FFFFFF"/>
                </a:solidFill>
              </a:defRPr>
            </a:lvl4pPr>
            <a:lvl5pPr marL="230394" indent="-228594" rtl="0">
              <a:spcAft>
                <a:spcPts val="600"/>
              </a:spcAft>
              <a:buFont typeface="Arial" panose="020B0604020202020204" pitchFamily="34" charset="0"/>
              <a:buChar char="•"/>
              <a:tabLst/>
              <a:defRPr sz="1200">
                <a:solidFill>
                  <a:srgbClr val="FFFFFF"/>
                </a:solidFill>
              </a:defRPr>
            </a:lvl5pPr>
          </a:lstStyle>
          <a:p>
            <a:pPr lvl="0"/>
            <a:r>
              <a:rPr lang="pt-BR"/>
              <a:t>Click to edit Master text styles</a:t>
            </a:r>
          </a:p>
          <a:p>
            <a:pPr lvl="1"/>
            <a:r>
              <a:rPr lang="pt-BR"/>
              <a:t>Second level</a:t>
            </a:r>
          </a:p>
          <a:p>
            <a:pPr lvl="2"/>
            <a:r>
              <a:rPr lang="pt-BR"/>
              <a:t>Third level</a:t>
            </a:r>
          </a:p>
          <a:p>
            <a:pPr lvl="3"/>
            <a:r>
              <a:rPr lang="pt-BR"/>
              <a:t>Fourth level</a:t>
            </a:r>
          </a:p>
          <a:p>
            <a:pPr lvl="4"/>
            <a:r>
              <a:rPr lang="pt-BR"/>
              <a:t>Fifth level</a:t>
            </a:r>
            <a:endParaRPr lang="pt-BR" dirty="0"/>
          </a:p>
        </p:txBody>
      </p:sp>
      <p:sp>
        <p:nvSpPr>
          <p:cNvPr id="50" name="Text Placeholder 8">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3428995" y="3398051"/>
            <a:ext cx="2285996" cy="912223"/>
          </a:xfrm>
          <a:prstGeom prst="rect">
            <a:avLst/>
          </a:prstGeom>
        </p:spPr>
        <p:txBody>
          <a:bodyPr anchor="ctr"/>
          <a:lstStyle>
            <a:lvl1pPr marL="0" indent="0" rtl="0">
              <a:spcAft>
                <a:spcPts val="0"/>
              </a:spcAft>
              <a:buNone/>
              <a:defRPr lang="en-US" sz="5333" b="1" i="0" kern="1200" dirty="0">
                <a:solidFill>
                  <a:schemeClr val="accent2"/>
                </a:solidFill>
                <a:latin typeface="Graphik Semibold" panose="020B0503030202060203" pitchFamily="34" charset="77"/>
                <a:ea typeface="+mn-ea"/>
                <a:cs typeface="+mn-cs"/>
              </a:defRPr>
            </a:lvl1pPr>
            <a:lvl2pPr>
              <a:defRPr/>
            </a:lvl2pPr>
            <a:lvl3pPr>
              <a:defRPr/>
            </a:lvl3pPr>
            <a:lvl4pPr>
              <a:defRPr/>
            </a:lvl4pPr>
            <a:lvl5pPr>
              <a:defRPr/>
            </a:lvl5pPr>
          </a:lstStyle>
          <a:p>
            <a:pPr marL="228594" lvl="0" indent="-228594" algn="l" defTabSz="914377" rtl="0" eaLnBrk="1" latinLnBrk="0" hangingPunct="1">
              <a:lnSpc>
                <a:spcPct val="100000"/>
              </a:lnSpc>
              <a:spcBef>
                <a:spcPts val="0"/>
              </a:spcBef>
              <a:spcAft>
                <a:spcPts val="1200"/>
              </a:spcAft>
            </a:pPr>
            <a:r>
              <a:rPr lang="pt-BR"/>
              <a:t>00x</a:t>
            </a:r>
            <a:endParaRPr lang="pt-BR" dirty="0"/>
          </a:p>
        </p:txBody>
      </p:sp>
      <p:sp>
        <p:nvSpPr>
          <p:cNvPr id="5" name="Text Placeholder 6">
            <a:extLst>
              <a:ext uri="{FF2B5EF4-FFF2-40B4-BE49-F238E27FC236}">
                <a16:creationId xmlns:a16="http://schemas.microsoft.com/office/drawing/2014/main" id="{4C6AFAE1-C867-607D-7626-06B37DD8931A}"/>
              </a:ext>
            </a:extLst>
          </p:cNvPr>
          <p:cNvSpPr>
            <a:spLocks noGrp="1"/>
          </p:cNvSpPr>
          <p:nvPr>
            <p:ph type="body" sz="quarter" idx="29"/>
          </p:nvPr>
        </p:nvSpPr>
        <p:spPr>
          <a:xfrm>
            <a:off x="3428995" y="4508500"/>
            <a:ext cx="2286000" cy="1439333"/>
          </a:xfrm>
        </p:spPr>
        <p:txBody>
          <a:bodyPr/>
          <a:lstStyle>
            <a:lvl1pPr rtl="0">
              <a:spcAft>
                <a:spcPts val="600"/>
              </a:spcAft>
              <a:defRPr sz="1800" i="0">
                <a:solidFill>
                  <a:srgbClr val="FFFFFF"/>
                </a:solidFill>
                <a:latin typeface="Graphik Semibold" panose="020B0703030202060203" pitchFamily="34" charset="0"/>
              </a:defRPr>
            </a:lvl1pPr>
            <a:lvl2pPr marL="0" indent="0" rtl="0">
              <a:spcAft>
                <a:spcPts val="600"/>
              </a:spcAft>
              <a:buNone/>
              <a:defRPr sz="1200">
                <a:solidFill>
                  <a:srgbClr val="FFFFFF"/>
                </a:solidFill>
              </a:defRPr>
            </a:lvl2pPr>
            <a:lvl3pPr marL="230394" indent="-230394" rtl="0">
              <a:spcAft>
                <a:spcPts val="600"/>
              </a:spcAft>
              <a:buFont typeface="Arial" panose="020B0604020202020204" pitchFamily="34" charset="0"/>
              <a:buChar char="•"/>
              <a:tabLst/>
              <a:defRPr sz="1200">
                <a:solidFill>
                  <a:srgbClr val="FFFFFF"/>
                </a:solidFill>
              </a:defRPr>
            </a:lvl3pPr>
            <a:lvl4pPr marL="230394" indent="-230394" rtl="0">
              <a:spcAft>
                <a:spcPts val="600"/>
              </a:spcAft>
              <a:defRPr sz="1200">
                <a:solidFill>
                  <a:srgbClr val="FFFFFF"/>
                </a:solidFill>
              </a:defRPr>
            </a:lvl4pPr>
            <a:lvl5pPr marL="230394" indent="-228594" rtl="0">
              <a:spcAft>
                <a:spcPts val="600"/>
              </a:spcAft>
              <a:buFont typeface="Arial" panose="020B0604020202020204" pitchFamily="34" charset="0"/>
              <a:buChar char="•"/>
              <a:tabLst/>
              <a:defRPr sz="1200">
                <a:solidFill>
                  <a:srgbClr val="FFFFFF"/>
                </a:solidFill>
              </a:defRPr>
            </a:lvl5pPr>
          </a:lstStyle>
          <a:p>
            <a:pPr lvl="0"/>
            <a:r>
              <a:rPr lang="pt-BR"/>
              <a:t>Click to edit Master text styles</a:t>
            </a:r>
          </a:p>
          <a:p>
            <a:pPr lvl="1"/>
            <a:r>
              <a:rPr lang="pt-BR"/>
              <a:t>Second level</a:t>
            </a:r>
          </a:p>
          <a:p>
            <a:pPr lvl="2"/>
            <a:r>
              <a:rPr lang="pt-BR"/>
              <a:t>Third level</a:t>
            </a:r>
          </a:p>
          <a:p>
            <a:pPr lvl="3"/>
            <a:r>
              <a:rPr lang="pt-BR"/>
              <a:t>Fourth level</a:t>
            </a:r>
          </a:p>
          <a:p>
            <a:pPr lvl="4"/>
            <a:r>
              <a:rPr lang="pt-BR"/>
              <a:t>Fifth level</a:t>
            </a:r>
            <a:endParaRPr lang="pt-BR" dirty="0"/>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92" y="0"/>
            <a:ext cx="6096008" cy="6129340"/>
          </a:xfrm>
          <a:prstGeom prst="rect">
            <a:avLst/>
          </a:prstGeom>
          <a:solidFill>
            <a:schemeClr val="bg1">
              <a:lumMod val="95000"/>
            </a:schemeClr>
          </a:solidFill>
        </p:spPr>
        <p:txBody>
          <a:bodyPr tIns="457200" anchor="ctr"/>
          <a:lstStyle>
            <a:lvl1pPr marL="0" indent="0" algn="ctr" rtl="0">
              <a:buNone/>
              <a:defRPr sz="1400" b="0" i="0">
                <a:solidFill>
                  <a:schemeClr val="tx1"/>
                </a:solidFill>
                <a:latin typeface="Graphik" panose="020B0503030202060203" pitchFamily="34" charset="77"/>
              </a:defRPr>
            </a:lvl1pPr>
          </a:lstStyle>
          <a:p>
            <a:r>
              <a:rPr lang="pt-BR"/>
              <a:t>Drag picture to placeholder or click icon to add</a:t>
            </a:r>
            <a:endParaRPr lang="pt-BR" dirty="0"/>
          </a:p>
        </p:txBody>
      </p:sp>
      <p:cxnSp>
        <p:nvCxnSpPr>
          <p:cNvPr id="42" name="Straight Connector 41">
            <a:extLst>
              <a:ext uri="{FF2B5EF4-FFF2-40B4-BE49-F238E27FC236}">
                <a16:creationId xmlns:a16="http://schemas.microsoft.com/office/drawing/2014/main" id="{149C8D0A-C37D-4D9A-9703-8A0AFB18570C}"/>
              </a:ext>
              <a:ext uri="{C183D7F6-B498-43B3-948B-1728B52AA6E4}">
                <adec:decorative xmlns:adec="http://schemas.microsoft.com/office/drawing/2017/decorative" val="1"/>
              </a:ext>
            </a:extLst>
          </p:cNvPr>
          <p:cNvCxnSpPr>
            <a:cxnSpLocks/>
          </p:cNvCxnSpPr>
          <p:nvPr userDrawn="1"/>
        </p:nvCxnSpPr>
        <p:spPr>
          <a:xfrm>
            <a:off x="0" y="3076800"/>
            <a:ext cx="6096008" cy="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1BE5BBCC-C957-48B6-99B6-EF1F3E80F622}"/>
              </a:ext>
              <a:ext uri="{C183D7F6-B498-43B3-948B-1728B52AA6E4}">
                <adec:decorative xmlns:adec="http://schemas.microsoft.com/office/drawing/2017/decorative" val="1"/>
              </a:ext>
            </a:extLst>
          </p:cNvPr>
          <p:cNvCxnSpPr>
            <a:cxnSpLocks/>
          </p:cNvCxnSpPr>
          <p:nvPr userDrawn="1"/>
        </p:nvCxnSpPr>
        <p:spPr>
          <a:xfrm>
            <a:off x="3143247" y="-1"/>
            <a:ext cx="0" cy="619200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 name="Bottom tag">
            <a:extLst>
              <a:ext uri="{FF2B5EF4-FFF2-40B4-BE49-F238E27FC236}">
                <a16:creationId xmlns:a16="http://schemas.microsoft.com/office/drawing/2014/main" id="{C7D43BFE-04FF-915B-AF75-EF92EB85EE07}"/>
              </a:ext>
              <a:ext uri="{C183D7F6-B498-43B3-948B-1728B52AA6E4}">
                <adec:decorative xmlns:adec="http://schemas.microsoft.com/office/drawing/2017/decorative" val="1"/>
              </a:ext>
            </a:extLst>
          </p:cNvPr>
          <p:cNvSpPr/>
          <p:nvPr userDrawn="1"/>
        </p:nvSpPr>
        <p:spPr bwMode="white">
          <a:xfrm>
            <a:off x="0" y="6129340"/>
            <a:ext cx="12192000" cy="72866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pt-BR" sz="1351" b="0" i="0" dirty="0">
              <a:latin typeface="Graphik" panose="020B0503030202060203" pitchFamily="34" charset="77"/>
            </a:endParaRPr>
          </a:p>
        </p:txBody>
      </p:sp>
      <p:cxnSp>
        <p:nvCxnSpPr>
          <p:cNvPr id="2" name="Straight Connector 1">
            <a:extLst>
              <a:ext uri="{FF2B5EF4-FFF2-40B4-BE49-F238E27FC236}">
                <a16:creationId xmlns:a16="http://schemas.microsoft.com/office/drawing/2014/main" id="{D50DFD68-7311-16D8-3418-1A322FD33528}"/>
              </a:ext>
              <a:ext uri="{C183D7F6-B498-43B3-948B-1728B52AA6E4}">
                <adec:decorative xmlns:adec="http://schemas.microsoft.com/office/drawing/2017/decorative" val="1"/>
              </a:ext>
            </a:extLst>
          </p:cNvPr>
          <p:cNvCxnSpPr>
            <a:cxnSpLocks/>
          </p:cNvCxnSpPr>
          <p:nvPr userDrawn="1"/>
        </p:nvCxnSpPr>
        <p:spPr>
          <a:xfrm>
            <a:off x="0" y="6124800"/>
            <a:ext cx="12192000" cy="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 name="slide number automatic">
            <a:extLst>
              <a:ext uri="{FF2B5EF4-FFF2-40B4-BE49-F238E27FC236}">
                <a16:creationId xmlns:a16="http://schemas.microsoft.com/office/drawing/2014/main" id="{FC53484B-EB21-70B6-32DD-8344CAE70A1C}"/>
              </a:ext>
            </a:extLst>
          </p:cNvPr>
          <p:cNvSpPr txBox="1"/>
          <p:nvPr userDrawn="1"/>
        </p:nvSpPr>
        <p:spPr>
          <a:xfrm>
            <a:off x="11685965" y="6429853"/>
            <a:ext cx="125035" cy="123111"/>
          </a:xfrm>
          <a:prstGeom prst="rect">
            <a:avLst/>
          </a:prstGeom>
          <a:noFill/>
        </p:spPr>
        <p:txBody>
          <a:bodyPr wrap="none" lIns="0" tIns="0" rIns="0" bIns="0" rtlCol="0" anchor="ctr">
            <a:spAutoFit/>
          </a:bodyPr>
          <a:lstStyle/>
          <a:p>
            <a:pPr marL="0" marR="0" lvl="0" indent="0" algn="r" defTabSz="228594" rtl="0" eaLnBrk="1" fontAlgn="auto" latinLnBrk="0" hangingPunct="1">
              <a:lnSpc>
                <a:spcPct val="100000"/>
              </a:lnSpc>
              <a:spcBef>
                <a:spcPts val="0"/>
              </a:spcBef>
              <a:spcAft>
                <a:spcPts val="1200"/>
              </a:spcAft>
              <a:buClrTx/>
              <a:buSzTx/>
              <a:buFontTx/>
              <a:buNone/>
              <a:tabLst/>
              <a:defRPr/>
            </a:pPr>
            <a:fld id="{8A1971D9-5B62-3C46-9EC9-FDAAB88557B2}" type="slidenum">
              <a:rPr lang="pt-BR" sz="800" smtClean="0">
                <a:solidFill>
                  <a:schemeClr val="bg1">
                    <a:lumMod val="85000"/>
                    <a:alpha val="75000"/>
                  </a:schemeClr>
                </a:solidFill>
                <a:latin typeface="Graphik Semibold" panose="020B0703030202060203" pitchFamily="34" charset="0"/>
              </a:rPr>
              <a:pPr marL="0" marR="0" lvl="0" indent="0" algn="r" defTabSz="228594" rtl="0" eaLnBrk="1" fontAlgn="auto" latinLnBrk="0" hangingPunct="1">
                <a:lnSpc>
                  <a:spcPct val="100000"/>
                </a:lnSpc>
                <a:spcBef>
                  <a:spcPts val="0"/>
                </a:spcBef>
                <a:spcAft>
                  <a:spcPts val="1200"/>
                </a:spcAft>
                <a:buClrTx/>
                <a:buSzTx/>
                <a:buFontTx/>
                <a:buNone/>
                <a:tabLst/>
                <a:defRPr/>
              </a:pPr>
              <a:t>‹#›</a:t>
            </a:fld>
            <a:endParaRPr lang="pt-BR" sz="1351" noProof="0" dirty="0">
              <a:solidFill>
                <a:schemeClr val="bg1">
                  <a:lumMod val="85000"/>
                  <a:alpha val="75000"/>
                </a:schemeClr>
              </a:solidFill>
              <a:latin typeface="Graphik Semibold" panose="020B0703030202060203" pitchFamily="34" charset="0"/>
            </a:endParaRPr>
          </a:p>
        </p:txBody>
      </p:sp>
    </p:spTree>
    <p:extLst>
      <p:ext uri="{BB962C8B-B14F-4D97-AF65-F5344CB8AC3E}">
        <p14:creationId xmlns:p14="http://schemas.microsoft.com/office/powerpoint/2010/main" val="204914714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Salutation: gradient">
    <p:bg>
      <p:bgPr>
        <a:solidFill>
          <a:schemeClr val="accent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1178445-30AF-4A1A-2112-87CFE67F7EF4}"/>
              </a:ext>
            </a:extLst>
          </p:cNvPr>
          <p:cNvGraphicFramePr>
            <a:graphicFrameLocks noChangeAspect="1"/>
          </p:cNvGraphicFramePr>
          <p:nvPr userDrawn="1">
            <p:custDataLst>
              <p:tags r:id="rId1"/>
            </p:custDataLst>
            <p:extLst>
              <p:ext uri="{D42A27DB-BD31-4B8C-83A1-F6EECF244321}">
                <p14:modId xmlns:p14="http://schemas.microsoft.com/office/powerpoint/2010/main" val="767702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3" name="think-cell data - do not delete" hidden="1">
                        <a:extLst>
                          <a:ext uri="{FF2B5EF4-FFF2-40B4-BE49-F238E27FC236}">
                            <a16:creationId xmlns:a16="http://schemas.microsoft.com/office/drawing/2014/main" id="{81178445-30AF-4A1A-2112-87CFE67F7E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descr="A purple and black background&#10;&#10;AI-generated content may be incorrect.">
            <a:extLst>
              <a:ext uri="{FF2B5EF4-FFF2-40B4-BE49-F238E27FC236}">
                <a16:creationId xmlns:a16="http://schemas.microsoft.com/office/drawing/2014/main" id="{1E54F49D-2B2F-7CDD-DC94-B6FF9A694BDA}"/>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rot="5400000">
            <a:off x="2667000" y="-2667000"/>
            <a:ext cx="6858000" cy="12192000"/>
          </a:xfrm>
          <a:prstGeom prst="rect">
            <a:avLst/>
          </a:prstGeom>
        </p:spPr>
      </p:pic>
      <p:sp>
        <p:nvSpPr>
          <p:cNvPr id="4" name="slide number automatic">
            <a:extLst>
              <a:ext uri="{FF2B5EF4-FFF2-40B4-BE49-F238E27FC236}">
                <a16:creationId xmlns:a16="http://schemas.microsoft.com/office/drawing/2014/main" id="{6DD78C6E-A2CA-C7D3-D53E-97A08AAAEAD8}"/>
              </a:ext>
            </a:extLst>
          </p:cNvPr>
          <p:cNvSpPr txBox="1"/>
          <p:nvPr userDrawn="1"/>
        </p:nvSpPr>
        <p:spPr>
          <a:xfrm>
            <a:off x="11685965" y="6429853"/>
            <a:ext cx="125035" cy="123111"/>
          </a:xfrm>
          <a:prstGeom prst="rect">
            <a:avLst/>
          </a:prstGeom>
          <a:noFill/>
        </p:spPr>
        <p:txBody>
          <a:bodyPr wrap="none" lIns="0" tIns="0" rIns="0" bIns="0" rtlCol="0" anchor="ctr">
            <a:spAutoFit/>
          </a:bodyPr>
          <a:lstStyle/>
          <a:p>
            <a:pPr marL="0" marR="0" lvl="0" indent="0" algn="r" defTabSz="228594" rtl="0" eaLnBrk="1" fontAlgn="auto" latinLnBrk="0" hangingPunct="1">
              <a:lnSpc>
                <a:spcPct val="100000"/>
              </a:lnSpc>
              <a:spcBef>
                <a:spcPts val="0"/>
              </a:spcBef>
              <a:spcAft>
                <a:spcPts val="1200"/>
              </a:spcAft>
              <a:buClrTx/>
              <a:buSzTx/>
              <a:buFontTx/>
              <a:buNone/>
              <a:tabLst/>
              <a:defRPr/>
            </a:pPr>
            <a:fld id="{8A1971D9-5B62-3C46-9EC9-FDAAB88557B2}" type="slidenum">
              <a:rPr lang="pt-BR" sz="800" smtClean="0">
                <a:solidFill>
                  <a:schemeClr val="tx1">
                    <a:lumMod val="85000"/>
                    <a:alpha val="75000"/>
                  </a:schemeClr>
                </a:solidFill>
                <a:latin typeface="Graphik Semibold" panose="020B0703030202060203" pitchFamily="34" charset="0"/>
              </a:rPr>
              <a:pPr marL="0" marR="0" lvl="0" indent="0" algn="r" defTabSz="228594" rtl="0" eaLnBrk="1" fontAlgn="auto" latinLnBrk="0" hangingPunct="1">
                <a:lnSpc>
                  <a:spcPct val="100000"/>
                </a:lnSpc>
                <a:spcBef>
                  <a:spcPts val="0"/>
                </a:spcBef>
                <a:spcAft>
                  <a:spcPts val="1200"/>
                </a:spcAft>
                <a:buClrTx/>
                <a:buSzTx/>
                <a:buFontTx/>
                <a:buNone/>
                <a:tabLst/>
                <a:defRPr/>
              </a:pPr>
              <a:t>‹#›</a:t>
            </a:fld>
            <a:endParaRPr lang="pt-BR" sz="1351" noProof="0" dirty="0">
              <a:solidFill>
                <a:schemeClr val="tx1">
                  <a:lumMod val="85000"/>
                  <a:alpha val="75000"/>
                </a:schemeClr>
              </a:solidFill>
              <a:latin typeface="Graphik Semibold" panose="020B0703030202060203" pitchFamily="34" charset="0"/>
            </a:endParaRPr>
          </a:p>
        </p:txBody>
      </p:sp>
      <p:sp>
        <p:nvSpPr>
          <p:cNvPr id="8" name="Title 1">
            <a:extLst>
              <a:ext uri="{FF2B5EF4-FFF2-40B4-BE49-F238E27FC236}">
                <a16:creationId xmlns:a16="http://schemas.microsoft.com/office/drawing/2014/main" id="{4772D35A-1963-BF72-AA80-2201D2B0173F}"/>
              </a:ext>
            </a:extLst>
          </p:cNvPr>
          <p:cNvSpPr>
            <a:spLocks noGrp="1"/>
          </p:cNvSpPr>
          <p:nvPr>
            <p:ph type="title"/>
          </p:nvPr>
        </p:nvSpPr>
        <p:spPr>
          <a:xfrm>
            <a:off x="1191348" y="3429000"/>
            <a:ext cx="14688316" cy="984885"/>
          </a:xfrm>
          <a:prstGeom prst="rect">
            <a:avLst/>
          </a:prstGeom>
        </p:spPr>
        <p:txBody>
          <a:bodyPr vert="horz" wrap="none" anchor="ctr"/>
          <a:lstStyle>
            <a:lvl1pPr algn="l" rtl="0">
              <a:defRPr sz="8000">
                <a:solidFill>
                  <a:schemeClr val="tx1"/>
                </a:solidFill>
              </a:defRPr>
            </a:lvl1pPr>
          </a:lstStyle>
          <a:p>
            <a:r>
              <a:rPr lang="pt-BR"/>
              <a:t>Click to edit Master title style</a:t>
            </a:r>
            <a:endParaRPr lang="pt-BR" dirty="0"/>
          </a:p>
        </p:txBody>
      </p:sp>
    </p:spTree>
    <p:extLst>
      <p:ext uri="{BB962C8B-B14F-4D97-AF65-F5344CB8AC3E}">
        <p14:creationId xmlns:p14="http://schemas.microsoft.com/office/powerpoint/2010/main" val="234068795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1620" userDrawn="1">
          <p15:clr>
            <a:srgbClr val="C35E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Salutation: purple">
    <p:bg>
      <p:bgPr>
        <a:solidFill>
          <a:schemeClr val="accent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6D216A8-16CF-A49A-FECB-0284EAFBD328}"/>
              </a:ext>
            </a:extLst>
          </p:cNvPr>
          <p:cNvGraphicFramePr>
            <a:graphicFrameLocks noChangeAspect="1"/>
          </p:cNvGraphicFramePr>
          <p:nvPr userDrawn="1">
            <p:custDataLst>
              <p:tags r:id="rId1"/>
            </p:custDataLst>
            <p:extLst>
              <p:ext uri="{D42A27DB-BD31-4B8C-83A1-F6EECF244321}">
                <p14:modId xmlns:p14="http://schemas.microsoft.com/office/powerpoint/2010/main" val="1198874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5" name="think-cell data - do not delete" hidden="1">
                        <a:extLst>
                          <a:ext uri="{FF2B5EF4-FFF2-40B4-BE49-F238E27FC236}">
                            <a16:creationId xmlns:a16="http://schemas.microsoft.com/office/drawing/2014/main" id="{26D216A8-16CF-A49A-FECB-0284EAFBD3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9406901E-2FDA-B887-CCF5-FADFC0C3B943}"/>
              </a:ext>
            </a:extLst>
          </p:cNvPr>
          <p:cNvSpPr>
            <a:spLocks noGrp="1"/>
          </p:cNvSpPr>
          <p:nvPr>
            <p:ph type="title" hasCustomPrompt="1"/>
          </p:nvPr>
        </p:nvSpPr>
        <p:spPr>
          <a:xfrm>
            <a:off x="6096000" y="2599460"/>
            <a:ext cx="4895849" cy="984885"/>
          </a:xfrm>
          <a:prstGeom prst="rect">
            <a:avLst/>
          </a:prstGeom>
        </p:spPr>
        <p:txBody>
          <a:bodyPr vert="horz" anchor="ctr"/>
          <a:lstStyle>
            <a:lvl1pPr algn="l" rtl="0">
              <a:defRPr sz="4000">
                <a:solidFill>
                  <a:schemeClr val="tx1"/>
                </a:solidFill>
              </a:defRPr>
            </a:lvl1pPr>
          </a:lstStyle>
          <a:p>
            <a:r>
              <a:rPr lang="pt-BR"/>
              <a:t>Click to edit salutation style</a:t>
            </a:r>
            <a:endParaRPr lang="pt-BR" dirty="0"/>
          </a:p>
        </p:txBody>
      </p:sp>
      <p:sp>
        <p:nvSpPr>
          <p:cNvPr id="7" name="slide number automatic">
            <a:extLst>
              <a:ext uri="{FF2B5EF4-FFF2-40B4-BE49-F238E27FC236}">
                <a16:creationId xmlns:a16="http://schemas.microsoft.com/office/drawing/2014/main" id="{540D3C9F-6433-4B02-3A65-24CE972551FF}"/>
              </a:ext>
            </a:extLst>
          </p:cNvPr>
          <p:cNvSpPr txBox="1"/>
          <p:nvPr userDrawn="1"/>
        </p:nvSpPr>
        <p:spPr>
          <a:xfrm>
            <a:off x="11685965" y="6429853"/>
            <a:ext cx="125035" cy="123111"/>
          </a:xfrm>
          <a:prstGeom prst="rect">
            <a:avLst/>
          </a:prstGeom>
          <a:noFill/>
        </p:spPr>
        <p:txBody>
          <a:bodyPr wrap="none" lIns="0" tIns="0" rIns="0" bIns="0" rtlCol="0" anchor="ctr">
            <a:spAutoFit/>
          </a:bodyPr>
          <a:lstStyle/>
          <a:p>
            <a:pPr marL="0" marR="0" lvl="0" indent="0" algn="r" defTabSz="228594" rtl="0" eaLnBrk="1" fontAlgn="auto" latinLnBrk="0" hangingPunct="1">
              <a:lnSpc>
                <a:spcPct val="100000"/>
              </a:lnSpc>
              <a:spcBef>
                <a:spcPts val="0"/>
              </a:spcBef>
              <a:spcAft>
                <a:spcPts val="1200"/>
              </a:spcAft>
              <a:buClrTx/>
              <a:buSzTx/>
              <a:buFontTx/>
              <a:buNone/>
              <a:tabLst/>
              <a:defRPr/>
            </a:pPr>
            <a:fld id="{8A1971D9-5B62-3C46-9EC9-FDAAB88557B2}" type="slidenum">
              <a:rPr lang="pt-BR" sz="800" smtClean="0">
                <a:solidFill>
                  <a:schemeClr val="tx1">
                    <a:lumMod val="85000"/>
                    <a:alpha val="75000"/>
                  </a:schemeClr>
                </a:solidFill>
                <a:latin typeface="Graphik Semibold" panose="020B0703030202060203" pitchFamily="34" charset="0"/>
              </a:rPr>
              <a:pPr marL="0" marR="0" lvl="0" indent="0" algn="r" defTabSz="228594" rtl="0" eaLnBrk="1" fontAlgn="auto" latinLnBrk="0" hangingPunct="1">
                <a:lnSpc>
                  <a:spcPct val="100000"/>
                </a:lnSpc>
                <a:spcBef>
                  <a:spcPts val="0"/>
                </a:spcBef>
                <a:spcAft>
                  <a:spcPts val="1200"/>
                </a:spcAft>
                <a:buClrTx/>
                <a:buSzTx/>
                <a:buFontTx/>
                <a:buNone/>
                <a:tabLst/>
                <a:defRPr/>
              </a:pPr>
              <a:t>‹#›</a:t>
            </a:fld>
            <a:endParaRPr lang="pt-BR" sz="1351" noProof="0" dirty="0">
              <a:solidFill>
                <a:schemeClr val="tx1">
                  <a:lumMod val="85000"/>
                  <a:alpha val="75000"/>
                </a:schemeClr>
              </a:solidFill>
              <a:latin typeface="Graphik Semibold" panose="020B0703030202060203" pitchFamily="34" charset="0"/>
            </a:endParaRPr>
          </a:p>
        </p:txBody>
      </p:sp>
    </p:spTree>
    <p:extLst>
      <p:ext uri="{BB962C8B-B14F-4D97-AF65-F5344CB8AC3E}">
        <p14:creationId xmlns:p14="http://schemas.microsoft.com/office/powerpoint/2010/main" val="42819322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1620" userDrawn="1">
          <p15:clr>
            <a:srgbClr val="C35E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65265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dark mode">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55719E4-D9CA-3ABD-FD5E-05C0FB5213B8}"/>
              </a:ext>
            </a:extLst>
          </p:cNvPr>
          <p:cNvGraphicFramePr>
            <a:graphicFrameLocks noChangeAspect="1"/>
          </p:cNvGraphicFramePr>
          <p:nvPr userDrawn="1">
            <p:custDataLst>
              <p:tags r:id="rId1"/>
            </p:custDataLst>
            <p:extLst>
              <p:ext uri="{D42A27DB-BD31-4B8C-83A1-F6EECF244321}">
                <p14:modId xmlns:p14="http://schemas.microsoft.com/office/powerpoint/2010/main" val="2405503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9" name="think-cell data - do not delete" hidden="1">
                        <a:extLst>
                          <a:ext uri="{FF2B5EF4-FFF2-40B4-BE49-F238E27FC236}">
                            <a16:creationId xmlns:a16="http://schemas.microsoft.com/office/drawing/2014/main" id="{755719E4-D9CA-3ABD-FD5E-05C0FB5213B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58DFF95F-BC04-BCE4-81EC-25C099CB74A3}"/>
              </a:ext>
            </a:extLst>
          </p:cNvPr>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121920" bIns="121920" rtlCol="0" anchor="ctr"/>
          <a:lstStyle/>
          <a:p>
            <a:pPr algn="ctr" rtl="0"/>
            <a:endParaRPr lang="pt-BR" sz="2400" dirty="0"/>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561600" y="2187403"/>
            <a:ext cx="3091443" cy="393954"/>
          </a:xfrm>
          <a:prstGeom prst="rect">
            <a:avLst/>
          </a:prstGeom>
        </p:spPr>
        <p:txBody>
          <a:bodyPr vert="horz" anchor="b"/>
          <a:lstStyle>
            <a:lvl1pPr rtl="0">
              <a:defRPr sz="3200">
                <a:solidFill>
                  <a:schemeClr val="accent2"/>
                </a:solidFill>
              </a:defRPr>
            </a:lvl1pPr>
          </a:lstStyle>
          <a:p>
            <a:r>
              <a:rPr lang="pt-BR"/>
              <a:t>Agenda title</a:t>
            </a:r>
            <a:endParaRPr lang="pt-BR" dirty="0"/>
          </a:p>
        </p:txBody>
      </p:sp>
      <p:sp>
        <p:nvSpPr>
          <p:cNvPr id="29" name="Text Placeholder 3">
            <a:extLst>
              <a:ext uri="{FF2B5EF4-FFF2-40B4-BE49-F238E27FC236}">
                <a16:creationId xmlns:a16="http://schemas.microsoft.com/office/drawing/2014/main" id="{2F4C171E-3D12-FC48-87BB-B5005B4EE338}"/>
              </a:ext>
            </a:extLst>
          </p:cNvPr>
          <p:cNvSpPr>
            <a:spLocks noGrp="1"/>
          </p:cNvSpPr>
          <p:nvPr>
            <p:ph type="body" sz="quarter" idx="31" hasCustomPrompt="1"/>
          </p:nvPr>
        </p:nvSpPr>
        <p:spPr>
          <a:xfrm>
            <a:off x="4426241" y="1371602"/>
            <a:ext cx="405128" cy="485340"/>
          </a:xfrm>
          <a:prstGeom prst="rect">
            <a:avLst/>
          </a:prstGeom>
        </p:spPr>
        <p:txBody>
          <a:bodyPr anchor="ctr"/>
          <a:lstStyle>
            <a:lvl1pPr marL="0" marR="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sz="1800" b="0">
                <a:solidFill>
                  <a:schemeClr val="accent2"/>
                </a:solidFill>
                <a:latin typeface="Graphik Semibold" panose="020B0703030202060203" pitchFamily="34" charset="0"/>
              </a:defRPr>
            </a:lvl1pPr>
          </a:lstStyle>
          <a:p>
            <a:pPr marL="0" marR="0" lvl="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a:pPr>
            <a:r>
              <a:rPr lang="pt-BR"/>
              <a:t>##</a:t>
            </a:r>
            <a:endParaRPr lang="pt-BR" dirty="0"/>
          </a:p>
        </p:txBody>
      </p:sp>
      <p:sp>
        <p:nvSpPr>
          <p:cNvPr id="18" name="Text Placeholder 4">
            <a:extLst>
              <a:ext uri="{FF2B5EF4-FFF2-40B4-BE49-F238E27FC236}">
                <a16:creationId xmlns:a16="http://schemas.microsoft.com/office/drawing/2014/main" id="{257C0C72-781A-F24F-B1F2-0A290409F1F6}"/>
              </a:ext>
            </a:extLst>
          </p:cNvPr>
          <p:cNvSpPr>
            <a:spLocks noGrp="1"/>
          </p:cNvSpPr>
          <p:nvPr>
            <p:ph type="body" sz="quarter" idx="16" hasCustomPrompt="1"/>
          </p:nvPr>
        </p:nvSpPr>
        <p:spPr>
          <a:xfrm>
            <a:off x="4966974" y="1371602"/>
            <a:ext cx="2783175" cy="485340"/>
          </a:xfrm>
          <a:prstGeom prst="rect">
            <a:avLst/>
          </a:prstGeom>
        </p:spPr>
        <p:txBody>
          <a:bodyPr anchor="ctr"/>
          <a:lstStyle>
            <a:lvl1pPr rtl="0">
              <a:spcAft>
                <a:spcPts val="0"/>
              </a:spcAft>
              <a:buNone/>
              <a:defRPr sz="1600" b="0" i="0">
                <a:solidFill>
                  <a:schemeClr val="bg1"/>
                </a:solidFill>
                <a:latin typeface="Graphik" panose="020B0503030202060203" pitchFamily="34" charset="77"/>
              </a:defRPr>
            </a:lvl1pPr>
          </a:lstStyle>
          <a:p>
            <a:pPr lvl="0"/>
            <a:r>
              <a:rPr lang="pt-BR"/>
              <a:t>Insert agenda item</a:t>
            </a:r>
            <a:endParaRPr lang="pt-BR" dirty="0"/>
          </a:p>
        </p:txBody>
      </p:sp>
      <p:sp>
        <p:nvSpPr>
          <p:cNvPr id="30" name="Text Placeholder 5">
            <a:extLst>
              <a:ext uri="{FF2B5EF4-FFF2-40B4-BE49-F238E27FC236}">
                <a16:creationId xmlns:a16="http://schemas.microsoft.com/office/drawing/2014/main" id="{E8AE9E02-9423-4748-8AD7-2BBB3B94A799}"/>
              </a:ext>
            </a:extLst>
          </p:cNvPr>
          <p:cNvSpPr>
            <a:spLocks noGrp="1"/>
          </p:cNvSpPr>
          <p:nvPr>
            <p:ph type="body" sz="quarter" idx="32" hasCustomPrompt="1"/>
          </p:nvPr>
        </p:nvSpPr>
        <p:spPr>
          <a:xfrm>
            <a:off x="4426241" y="1976479"/>
            <a:ext cx="405128" cy="485340"/>
          </a:xfrm>
          <a:prstGeom prst="rect">
            <a:avLst/>
          </a:prstGeom>
        </p:spPr>
        <p:txBody>
          <a:bodyPr anchor="ctr"/>
          <a:lstStyle>
            <a:lvl1pPr marL="0" marR="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sz="1800" b="0">
                <a:solidFill>
                  <a:schemeClr val="accent2"/>
                </a:solidFill>
                <a:latin typeface="Graphik Semibold" panose="020B0703030202060203" pitchFamily="34" charset="0"/>
              </a:defRPr>
            </a:lvl1pPr>
          </a:lstStyle>
          <a:p>
            <a:pPr marL="0" marR="0" lvl="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a:pPr>
            <a:r>
              <a:rPr lang="pt-BR"/>
              <a:t>##</a:t>
            </a:r>
            <a:endParaRPr lang="pt-BR" dirty="0"/>
          </a:p>
        </p:txBody>
      </p:sp>
      <p:sp>
        <p:nvSpPr>
          <p:cNvPr id="57" name="Text Placeholder 6">
            <a:extLst>
              <a:ext uri="{FF2B5EF4-FFF2-40B4-BE49-F238E27FC236}">
                <a16:creationId xmlns:a16="http://schemas.microsoft.com/office/drawing/2014/main" id="{A5D4C4AC-7870-A641-AF65-6F3ECB9DA9CA}"/>
              </a:ext>
            </a:extLst>
          </p:cNvPr>
          <p:cNvSpPr>
            <a:spLocks noGrp="1"/>
          </p:cNvSpPr>
          <p:nvPr>
            <p:ph type="body" sz="quarter" idx="18" hasCustomPrompt="1"/>
          </p:nvPr>
        </p:nvSpPr>
        <p:spPr>
          <a:xfrm>
            <a:off x="4966974" y="1976479"/>
            <a:ext cx="2783175" cy="485340"/>
          </a:xfrm>
          <a:prstGeom prst="rect">
            <a:avLst/>
          </a:prstGeom>
        </p:spPr>
        <p:txBody>
          <a:bodyPr anchor="ctr"/>
          <a:lstStyle>
            <a:lvl1pPr rtl="0">
              <a:spcAft>
                <a:spcPts val="0"/>
              </a:spcAft>
              <a:buNone/>
              <a:defRPr sz="1600" b="0" i="0">
                <a:solidFill>
                  <a:schemeClr val="bg1"/>
                </a:solidFill>
                <a:latin typeface="Graphik" panose="020B0503030202060203" pitchFamily="34" charset="77"/>
              </a:defRPr>
            </a:lvl1pPr>
          </a:lstStyle>
          <a:p>
            <a:pPr lvl="0"/>
            <a:r>
              <a:rPr lang="pt-BR"/>
              <a:t>Insert agenda item</a:t>
            </a:r>
            <a:endParaRPr lang="pt-BR" dirty="0"/>
          </a:p>
        </p:txBody>
      </p:sp>
      <p:sp>
        <p:nvSpPr>
          <p:cNvPr id="31" name="Text Placeholder 7">
            <a:extLst>
              <a:ext uri="{FF2B5EF4-FFF2-40B4-BE49-F238E27FC236}">
                <a16:creationId xmlns:a16="http://schemas.microsoft.com/office/drawing/2014/main" id="{7C692F47-FBF4-5842-A0CA-4B8B48DE4638}"/>
              </a:ext>
            </a:extLst>
          </p:cNvPr>
          <p:cNvSpPr>
            <a:spLocks noGrp="1"/>
          </p:cNvSpPr>
          <p:nvPr>
            <p:ph type="body" sz="quarter" idx="33" hasCustomPrompt="1"/>
          </p:nvPr>
        </p:nvSpPr>
        <p:spPr>
          <a:xfrm>
            <a:off x="4426241" y="2581358"/>
            <a:ext cx="405128" cy="485340"/>
          </a:xfrm>
          <a:prstGeom prst="rect">
            <a:avLst/>
          </a:prstGeom>
        </p:spPr>
        <p:txBody>
          <a:bodyPr anchor="ctr"/>
          <a:lstStyle>
            <a:lvl1pPr marL="0" marR="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sz="1800" b="0">
                <a:solidFill>
                  <a:schemeClr val="accent2"/>
                </a:solidFill>
                <a:latin typeface="Graphik Semibold" panose="020B0703030202060203" pitchFamily="34" charset="0"/>
              </a:defRPr>
            </a:lvl1pPr>
          </a:lstStyle>
          <a:p>
            <a:pPr marL="0" marR="0" lvl="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a:pPr>
            <a:r>
              <a:rPr lang="pt-BR"/>
              <a:t>##</a:t>
            </a:r>
            <a:endParaRPr lang="pt-BR" dirty="0"/>
          </a:p>
        </p:txBody>
      </p:sp>
      <p:sp>
        <p:nvSpPr>
          <p:cNvPr id="59" name="Text Placeholder 8">
            <a:extLst>
              <a:ext uri="{FF2B5EF4-FFF2-40B4-BE49-F238E27FC236}">
                <a16:creationId xmlns:a16="http://schemas.microsoft.com/office/drawing/2014/main" id="{9F332AA7-2896-E24E-B21D-90FED54D4335}"/>
              </a:ext>
            </a:extLst>
          </p:cNvPr>
          <p:cNvSpPr>
            <a:spLocks noGrp="1"/>
          </p:cNvSpPr>
          <p:nvPr>
            <p:ph type="body" sz="quarter" idx="20" hasCustomPrompt="1"/>
          </p:nvPr>
        </p:nvSpPr>
        <p:spPr>
          <a:xfrm>
            <a:off x="4966974" y="2581358"/>
            <a:ext cx="2783175" cy="485340"/>
          </a:xfrm>
          <a:prstGeom prst="rect">
            <a:avLst/>
          </a:prstGeom>
        </p:spPr>
        <p:txBody>
          <a:bodyPr anchor="ctr"/>
          <a:lstStyle>
            <a:lvl1pPr rtl="0">
              <a:spcAft>
                <a:spcPts val="0"/>
              </a:spcAft>
              <a:buNone/>
              <a:defRPr sz="1600" b="0" i="0">
                <a:solidFill>
                  <a:schemeClr val="bg1"/>
                </a:solidFill>
                <a:latin typeface="Graphik" panose="020B0503030202060203" pitchFamily="34" charset="77"/>
              </a:defRPr>
            </a:lvl1pPr>
          </a:lstStyle>
          <a:p>
            <a:pPr lvl="0"/>
            <a:r>
              <a:rPr lang="pt-BR"/>
              <a:t>Insert agenda item</a:t>
            </a:r>
            <a:endParaRPr lang="pt-BR" dirty="0"/>
          </a:p>
        </p:txBody>
      </p:sp>
      <p:sp>
        <p:nvSpPr>
          <p:cNvPr id="32" name="Text Placeholder 9">
            <a:extLst>
              <a:ext uri="{FF2B5EF4-FFF2-40B4-BE49-F238E27FC236}">
                <a16:creationId xmlns:a16="http://schemas.microsoft.com/office/drawing/2014/main" id="{BDE48124-A481-074B-9AD4-22EC49D172D0}"/>
              </a:ext>
            </a:extLst>
          </p:cNvPr>
          <p:cNvSpPr>
            <a:spLocks noGrp="1"/>
          </p:cNvSpPr>
          <p:nvPr>
            <p:ph type="body" sz="quarter" idx="34" hasCustomPrompt="1"/>
          </p:nvPr>
        </p:nvSpPr>
        <p:spPr>
          <a:xfrm>
            <a:off x="4426241" y="3186235"/>
            <a:ext cx="405128" cy="485340"/>
          </a:xfrm>
          <a:prstGeom prst="rect">
            <a:avLst/>
          </a:prstGeom>
        </p:spPr>
        <p:txBody>
          <a:bodyPr anchor="ctr"/>
          <a:lstStyle>
            <a:lvl1pPr marL="0" marR="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sz="1800" b="0">
                <a:solidFill>
                  <a:schemeClr val="accent2"/>
                </a:solidFill>
                <a:latin typeface="Graphik Semibold" panose="020B0703030202060203" pitchFamily="34" charset="0"/>
              </a:defRPr>
            </a:lvl1pPr>
          </a:lstStyle>
          <a:p>
            <a:pPr marL="0" marR="0" lvl="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a:pPr>
            <a:r>
              <a:rPr lang="pt-BR"/>
              <a:t>##</a:t>
            </a:r>
            <a:endParaRPr lang="pt-BR" dirty="0"/>
          </a:p>
        </p:txBody>
      </p:sp>
      <p:sp>
        <p:nvSpPr>
          <p:cNvPr id="61" name="Text Placeholder 10">
            <a:extLst>
              <a:ext uri="{FF2B5EF4-FFF2-40B4-BE49-F238E27FC236}">
                <a16:creationId xmlns:a16="http://schemas.microsoft.com/office/drawing/2014/main" id="{25D7BCB2-FC6B-2A46-AC11-482A4F731116}"/>
              </a:ext>
            </a:extLst>
          </p:cNvPr>
          <p:cNvSpPr>
            <a:spLocks noGrp="1"/>
          </p:cNvSpPr>
          <p:nvPr>
            <p:ph type="body" sz="quarter" idx="22" hasCustomPrompt="1"/>
          </p:nvPr>
        </p:nvSpPr>
        <p:spPr>
          <a:xfrm>
            <a:off x="4966974" y="3186235"/>
            <a:ext cx="2783175" cy="485340"/>
          </a:xfrm>
          <a:prstGeom prst="rect">
            <a:avLst/>
          </a:prstGeom>
        </p:spPr>
        <p:txBody>
          <a:bodyPr anchor="ctr"/>
          <a:lstStyle>
            <a:lvl1pPr rtl="0">
              <a:spcAft>
                <a:spcPts val="0"/>
              </a:spcAft>
              <a:buNone/>
              <a:defRPr sz="1600" b="0" i="0">
                <a:solidFill>
                  <a:schemeClr val="bg1"/>
                </a:solidFill>
                <a:latin typeface="Graphik" panose="020B0503030202060203" pitchFamily="34" charset="77"/>
              </a:defRPr>
            </a:lvl1pPr>
          </a:lstStyle>
          <a:p>
            <a:pPr lvl="0"/>
            <a:r>
              <a:rPr lang="pt-BR"/>
              <a:t>Insert agenda item</a:t>
            </a:r>
            <a:endParaRPr lang="pt-BR" dirty="0"/>
          </a:p>
        </p:txBody>
      </p:sp>
      <p:sp>
        <p:nvSpPr>
          <p:cNvPr id="33" name="Text Placeholder 11">
            <a:extLst>
              <a:ext uri="{FF2B5EF4-FFF2-40B4-BE49-F238E27FC236}">
                <a16:creationId xmlns:a16="http://schemas.microsoft.com/office/drawing/2014/main" id="{98E2B4B4-ED02-4945-B581-1A8D48D031AA}"/>
              </a:ext>
            </a:extLst>
          </p:cNvPr>
          <p:cNvSpPr>
            <a:spLocks noGrp="1"/>
          </p:cNvSpPr>
          <p:nvPr>
            <p:ph type="body" sz="quarter" idx="35" hasCustomPrompt="1"/>
          </p:nvPr>
        </p:nvSpPr>
        <p:spPr>
          <a:xfrm>
            <a:off x="4426241" y="3791114"/>
            <a:ext cx="405128" cy="485340"/>
          </a:xfrm>
          <a:prstGeom prst="rect">
            <a:avLst/>
          </a:prstGeom>
        </p:spPr>
        <p:txBody>
          <a:bodyPr anchor="ctr"/>
          <a:lstStyle>
            <a:lvl1pPr marL="0" marR="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sz="1800" b="0">
                <a:solidFill>
                  <a:schemeClr val="accent2"/>
                </a:solidFill>
                <a:latin typeface="Graphik Semibold" panose="020B0703030202060203" pitchFamily="34" charset="0"/>
              </a:defRPr>
            </a:lvl1pPr>
          </a:lstStyle>
          <a:p>
            <a:pPr marL="0" marR="0" lvl="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a:pPr>
            <a:r>
              <a:rPr lang="pt-BR"/>
              <a:t>##</a:t>
            </a:r>
            <a:endParaRPr lang="pt-BR" dirty="0"/>
          </a:p>
        </p:txBody>
      </p:sp>
      <p:sp>
        <p:nvSpPr>
          <p:cNvPr id="63" name="Text Placeholder 12">
            <a:extLst>
              <a:ext uri="{FF2B5EF4-FFF2-40B4-BE49-F238E27FC236}">
                <a16:creationId xmlns:a16="http://schemas.microsoft.com/office/drawing/2014/main" id="{FD74906C-72A4-CF4A-A4F6-B28AE864B9B7}"/>
              </a:ext>
            </a:extLst>
          </p:cNvPr>
          <p:cNvSpPr>
            <a:spLocks noGrp="1"/>
          </p:cNvSpPr>
          <p:nvPr>
            <p:ph type="body" sz="quarter" idx="24" hasCustomPrompt="1"/>
          </p:nvPr>
        </p:nvSpPr>
        <p:spPr>
          <a:xfrm>
            <a:off x="4966974" y="3791114"/>
            <a:ext cx="2783175" cy="485340"/>
          </a:xfrm>
          <a:prstGeom prst="rect">
            <a:avLst/>
          </a:prstGeom>
        </p:spPr>
        <p:txBody>
          <a:bodyPr anchor="ctr"/>
          <a:lstStyle>
            <a:lvl1pPr rtl="0">
              <a:spcAft>
                <a:spcPts val="0"/>
              </a:spcAft>
              <a:buNone/>
              <a:defRPr sz="1600" b="0" i="0">
                <a:solidFill>
                  <a:schemeClr val="bg1"/>
                </a:solidFill>
                <a:latin typeface="Graphik" panose="020B0503030202060203" pitchFamily="34" charset="77"/>
              </a:defRPr>
            </a:lvl1pPr>
          </a:lstStyle>
          <a:p>
            <a:pPr lvl="0"/>
            <a:r>
              <a:rPr lang="pt-BR"/>
              <a:t>Insert agenda item</a:t>
            </a:r>
            <a:endParaRPr lang="pt-BR" dirty="0"/>
          </a:p>
        </p:txBody>
      </p:sp>
      <p:sp>
        <p:nvSpPr>
          <p:cNvPr id="34" name="Text Placeholder 13">
            <a:extLst>
              <a:ext uri="{FF2B5EF4-FFF2-40B4-BE49-F238E27FC236}">
                <a16:creationId xmlns:a16="http://schemas.microsoft.com/office/drawing/2014/main" id="{B70B7DFE-5DE8-0F42-BF3C-DA43110C0D0E}"/>
              </a:ext>
            </a:extLst>
          </p:cNvPr>
          <p:cNvSpPr>
            <a:spLocks noGrp="1"/>
          </p:cNvSpPr>
          <p:nvPr>
            <p:ph type="body" sz="quarter" idx="36" hasCustomPrompt="1"/>
          </p:nvPr>
        </p:nvSpPr>
        <p:spPr>
          <a:xfrm>
            <a:off x="4426241" y="4395991"/>
            <a:ext cx="405128" cy="485340"/>
          </a:xfrm>
          <a:prstGeom prst="rect">
            <a:avLst/>
          </a:prstGeom>
        </p:spPr>
        <p:txBody>
          <a:bodyPr anchor="ctr"/>
          <a:lstStyle>
            <a:lvl1pPr marL="0" marR="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sz="1800" b="0">
                <a:solidFill>
                  <a:schemeClr val="accent2"/>
                </a:solidFill>
                <a:latin typeface="Graphik Semibold" panose="020B0703030202060203" pitchFamily="34" charset="0"/>
              </a:defRPr>
            </a:lvl1pPr>
          </a:lstStyle>
          <a:p>
            <a:pPr marL="0" marR="0" lvl="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a:pPr>
            <a:r>
              <a:rPr lang="pt-BR"/>
              <a:t>##</a:t>
            </a:r>
            <a:endParaRPr lang="pt-BR" dirty="0"/>
          </a:p>
        </p:txBody>
      </p:sp>
      <p:sp>
        <p:nvSpPr>
          <p:cNvPr id="65" name="Text Placeholder 14">
            <a:extLst>
              <a:ext uri="{FF2B5EF4-FFF2-40B4-BE49-F238E27FC236}">
                <a16:creationId xmlns:a16="http://schemas.microsoft.com/office/drawing/2014/main" id="{F28AA3EC-0083-2742-A4D0-0B32569FD766}"/>
              </a:ext>
            </a:extLst>
          </p:cNvPr>
          <p:cNvSpPr>
            <a:spLocks noGrp="1"/>
          </p:cNvSpPr>
          <p:nvPr>
            <p:ph type="body" sz="quarter" idx="26" hasCustomPrompt="1"/>
          </p:nvPr>
        </p:nvSpPr>
        <p:spPr>
          <a:xfrm>
            <a:off x="4966974" y="4395991"/>
            <a:ext cx="2783175" cy="485340"/>
          </a:xfrm>
          <a:prstGeom prst="rect">
            <a:avLst/>
          </a:prstGeom>
        </p:spPr>
        <p:txBody>
          <a:bodyPr anchor="ctr"/>
          <a:lstStyle>
            <a:lvl1pPr rtl="0">
              <a:spcAft>
                <a:spcPts val="0"/>
              </a:spcAft>
              <a:buNone/>
              <a:defRPr sz="1600" b="0" i="0">
                <a:solidFill>
                  <a:schemeClr val="bg1"/>
                </a:solidFill>
                <a:latin typeface="Graphik" panose="020B0503030202060203" pitchFamily="34" charset="77"/>
              </a:defRPr>
            </a:lvl1pPr>
          </a:lstStyle>
          <a:p>
            <a:pPr lvl="0"/>
            <a:r>
              <a:rPr lang="pt-BR"/>
              <a:t>Insert agenda item</a:t>
            </a:r>
            <a:endParaRPr lang="pt-BR" dirty="0"/>
          </a:p>
        </p:txBody>
      </p:sp>
      <p:sp>
        <p:nvSpPr>
          <p:cNvPr id="35" name="Text Placeholder 15">
            <a:extLst>
              <a:ext uri="{FF2B5EF4-FFF2-40B4-BE49-F238E27FC236}">
                <a16:creationId xmlns:a16="http://schemas.microsoft.com/office/drawing/2014/main" id="{D63FCDAD-F7F9-774F-8EC9-A0777820ED0F}"/>
              </a:ext>
            </a:extLst>
          </p:cNvPr>
          <p:cNvSpPr>
            <a:spLocks noGrp="1"/>
          </p:cNvSpPr>
          <p:nvPr>
            <p:ph type="body" sz="quarter" idx="37" hasCustomPrompt="1"/>
          </p:nvPr>
        </p:nvSpPr>
        <p:spPr>
          <a:xfrm>
            <a:off x="4426241" y="5000870"/>
            <a:ext cx="405128" cy="485340"/>
          </a:xfrm>
          <a:prstGeom prst="rect">
            <a:avLst/>
          </a:prstGeom>
        </p:spPr>
        <p:txBody>
          <a:bodyPr anchor="ctr"/>
          <a:lstStyle>
            <a:lvl1pPr marL="0" marR="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sz="1800" b="0">
                <a:solidFill>
                  <a:schemeClr val="accent2"/>
                </a:solidFill>
                <a:latin typeface="Graphik Semibold" panose="020B0703030202060203" pitchFamily="34" charset="0"/>
              </a:defRPr>
            </a:lvl1pPr>
          </a:lstStyle>
          <a:p>
            <a:pPr marL="0" marR="0" lvl="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a:pPr>
            <a:r>
              <a:rPr lang="pt-BR"/>
              <a:t>##</a:t>
            </a:r>
            <a:endParaRPr lang="pt-BR" dirty="0"/>
          </a:p>
        </p:txBody>
      </p:sp>
      <p:sp>
        <p:nvSpPr>
          <p:cNvPr id="67" name="Text Placeholder 16">
            <a:extLst>
              <a:ext uri="{FF2B5EF4-FFF2-40B4-BE49-F238E27FC236}">
                <a16:creationId xmlns:a16="http://schemas.microsoft.com/office/drawing/2014/main" id="{D46DA866-B19E-684E-8A23-EEA295487841}"/>
              </a:ext>
            </a:extLst>
          </p:cNvPr>
          <p:cNvSpPr>
            <a:spLocks noGrp="1"/>
          </p:cNvSpPr>
          <p:nvPr>
            <p:ph type="body" sz="quarter" idx="28" hasCustomPrompt="1"/>
          </p:nvPr>
        </p:nvSpPr>
        <p:spPr>
          <a:xfrm>
            <a:off x="4966974" y="5000870"/>
            <a:ext cx="2783175" cy="485340"/>
          </a:xfrm>
          <a:prstGeom prst="rect">
            <a:avLst/>
          </a:prstGeom>
        </p:spPr>
        <p:txBody>
          <a:bodyPr anchor="ctr"/>
          <a:lstStyle>
            <a:lvl1pPr rtl="0">
              <a:spcAft>
                <a:spcPts val="0"/>
              </a:spcAft>
              <a:buNone/>
              <a:defRPr sz="1600" b="0" i="0">
                <a:solidFill>
                  <a:schemeClr val="bg1"/>
                </a:solidFill>
                <a:latin typeface="Graphik" panose="020B0503030202060203" pitchFamily="34" charset="77"/>
              </a:defRPr>
            </a:lvl1pPr>
          </a:lstStyle>
          <a:p>
            <a:pPr lvl="0"/>
            <a:r>
              <a:rPr lang="pt-BR"/>
              <a:t>Insert agenda item</a:t>
            </a:r>
            <a:endParaRPr lang="pt-BR" dirty="0"/>
          </a:p>
        </p:txBody>
      </p:sp>
      <p:sp>
        <p:nvSpPr>
          <p:cNvPr id="36" name="Text Placeholder 17">
            <a:extLst>
              <a:ext uri="{FF2B5EF4-FFF2-40B4-BE49-F238E27FC236}">
                <a16:creationId xmlns:a16="http://schemas.microsoft.com/office/drawing/2014/main" id="{AE66CCF5-C5F4-5645-A851-E4A7D572FDA7}"/>
              </a:ext>
            </a:extLst>
          </p:cNvPr>
          <p:cNvSpPr>
            <a:spLocks noGrp="1"/>
          </p:cNvSpPr>
          <p:nvPr>
            <p:ph type="body" sz="quarter" idx="38" hasCustomPrompt="1"/>
          </p:nvPr>
        </p:nvSpPr>
        <p:spPr>
          <a:xfrm>
            <a:off x="4426241" y="5605747"/>
            <a:ext cx="405128" cy="485340"/>
          </a:xfrm>
          <a:prstGeom prst="rect">
            <a:avLst/>
          </a:prstGeom>
        </p:spPr>
        <p:txBody>
          <a:bodyPr anchor="ctr"/>
          <a:lstStyle>
            <a:lvl1pPr marL="0" marR="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sz="1800" b="0">
                <a:solidFill>
                  <a:schemeClr val="accent2"/>
                </a:solidFill>
                <a:latin typeface="Graphik Semibold" panose="020B0703030202060203" pitchFamily="34" charset="0"/>
              </a:defRPr>
            </a:lvl1pPr>
          </a:lstStyle>
          <a:p>
            <a:pPr marL="0" marR="0" lvl="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a:pPr>
            <a:r>
              <a:rPr lang="pt-BR"/>
              <a:t>##</a:t>
            </a:r>
            <a:endParaRPr lang="pt-BR" dirty="0"/>
          </a:p>
        </p:txBody>
      </p:sp>
      <p:sp>
        <p:nvSpPr>
          <p:cNvPr id="69" name="Text Placeholder 18">
            <a:extLst>
              <a:ext uri="{FF2B5EF4-FFF2-40B4-BE49-F238E27FC236}">
                <a16:creationId xmlns:a16="http://schemas.microsoft.com/office/drawing/2014/main" id="{A4A135E2-DF01-5543-BA57-DFBCCC446A3A}"/>
              </a:ext>
            </a:extLst>
          </p:cNvPr>
          <p:cNvSpPr>
            <a:spLocks noGrp="1"/>
          </p:cNvSpPr>
          <p:nvPr>
            <p:ph type="body" sz="quarter" idx="30" hasCustomPrompt="1"/>
          </p:nvPr>
        </p:nvSpPr>
        <p:spPr>
          <a:xfrm>
            <a:off x="4966974" y="5605747"/>
            <a:ext cx="2783175" cy="485340"/>
          </a:xfrm>
          <a:prstGeom prst="rect">
            <a:avLst/>
          </a:prstGeom>
        </p:spPr>
        <p:txBody>
          <a:bodyPr anchor="ctr"/>
          <a:lstStyle>
            <a:lvl1pPr rtl="0">
              <a:spcAft>
                <a:spcPts val="0"/>
              </a:spcAft>
              <a:buNone/>
              <a:defRPr sz="1600" b="0" i="0">
                <a:solidFill>
                  <a:schemeClr val="bg1"/>
                </a:solidFill>
                <a:latin typeface="Graphik" panose="020B0503030202060203" pitchFamily="34" charset="77"/>
              </a:defRPr>
            </a:lvl1pPr>
          </a:lstStyle>
          <a:p>
            <a:pPr lvl="0"/>
            <a:r>
              <a:rPr lang="pt-BR"/>
              <a:t>Insert agenda item</a:t>
            </a:r>
            <a:endParaRPr lang="pt-BR" dirty="0"/>
          </a:p>
        </p:txBody>
      </p:sp>
      <p:sp>
        <p:nvSpPr>
          <p:cNvPr id="94" name="Text Placeholder 19">
            <a:extLst>
              <a:ext uri="{FF2B5EF4-FFF2-40B4-BE49-F238E27FC236}">
                <a16:creationId xmlns:a16="http://schemas.microsoft.com/office/drawing/2014/main" id="{ED51288A-4DF8-0D4F-8BBC-90AE60B66177}"/>
              </a:ext>
            </a:extLst>
          </p:cNvPr>
          <p:cNvSpPr>
            <a:spLocks noGrp="1"/>
          </p:cNvSpPr>
          <p:nvPr>
            <p:ph type="body" sz="quarter" idx="47" hasCustomPrompt="1"/>
          </p:nvPr>
        </p:nvSpPr>
        <p:spPr>
          <a:xfrm>
            <a:off x="8317231" y="1371602"/>
            <a:ext cx="405128" cy="485340"/>
          </a:xfrm>
          <a:prstGeom prst="rect">
            <a:avLst/>
          </a:prstGeom>
        </p:spPr>
        <p:txBody>
          <a:bodyPr anchor="ctr"/>
          <a:lstStyle>
            <a:lvl1pPr marL="0" marR="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sz="1800" b="0">
                <a:solidFill>
                  <a:schemeClr val="accent2"/>
                </a:solidFill>
                <a:latin typeface="Graphik Semibold" panose="020B0703030202060203" pitchFamily="34" charset="0"/>
              </a:defRPr>
            </a:lvl1pPr>
          </a:lstStyle>
          <a:p>
            <a:pPr marL="0" marR="0" lvl="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a:pPr>
            <a:r>
              <a:rPr lang="pt-BR"/>
              <a:t>##</a:t>
            </a:r>
            <a:endParaRPr lang="pt-BR" dirty="0"/>
          </a:p>
        </p:txBody>
      </p:sp>
      <p:sp>
        <p:nvSpPr>
          <p:cNvPr id="86" name="Text Placeholder 20">
            <a:extLst>
              <a:ext uri="{FF2B5EF4-FFF2-40B4-BE49-F238E27FC236}">
                <a16:creationId xmlns:a16="http://schemas.microsoft.com/office/drawing/2014/main" id="{C10680BC-1106-B24D-A63E-02912A27325E}"/>
              </a:ext>
            </a:extLst>
          </p:cNvPr>
          <p:cNvSpPr>
            <a:spLocks noGrp="1"/>
          </p:cNvSpPr>
          <p:nvPr>
            <p:ph type="body" sz="quarter" idx="39" hasCustomPrompt="1"/>
          </p:nvPr>
        </p:nvSpPr>
        <p:spPr>
          <a:xfrm>
            <a:off x="8857963" y="1371602"/>
            <a:ext cx="2783175" cy="485340"/>
          </a:xfrm>
          <a:prstGeom prst="rect">
            <a:avLst/>
          </a:prstGeom>
        </p:spPr>
        <p:txBody>
          <a:bodyPr anchor="ctr"/>
          <a:lstStyle>
            <a:lvl1pPr rtl="0">
              <a:spcAft>
                <a:spcPts val="0"/>
              </a:spcAft>
              <a:buNone/>
              <a:defRPr sz="1600" b="0" i="0">
                <a:solidFill>
                  <a:schemeClr val="bg1"/>
                </a:solidFill>
                <a:latin typeface="Graphik" panose="020B0503030202060203" pitchFamily="34" charset="77"/>
              </a:defRPr>
            </a:lvl1pPr>
          </a:lstStyle>
          <a:p>
            <a:pPr lvl="0"/>
            <a:r>
              <a:rPr lang="pt-BR"/>
              <a:t>Insert agenda item</a:t>
            </a:r>
            <a:endParaRPr lang="pt-BR" dirty="0"/>
          </a:p>
        </p:txBody>
      </p:sp>
      <p:sp>
        <p:nvSpPr>
          <p:cNvPr id="95" name="Text Placeholder 21">
            <a:extLst>
              <a:ext uri="{FF2B5EF4-FFF2-40B4-BE49-F238E27FC236}">
                <a16:creationId xmlns:a16="http://schemas.microsoft.com/office/drawing/2014/main" id="{B55123CE-2705-2A4C-88D5-5BEECF04606C}"/>
              </a:ext>
            </a:extLst>
          </p:cNvPr>
          <p:cNvSpPr>
            <a:spLocks noGrp="1"/>
          </p:cNvSpPr>
          <p:nvPr>
            <p:ph type="body" sz="quarter" idx="48" hasCustomPrompt="1"/>
          </p:nvPr>
        </p:nvSpPr>
        <p:spPr>
          <a:xfrm>
            <a:off x="8317231" y="1976479"/>
            <a:ext cx="405128" cy="485340"/>
          </a:xfrm>
          <a:prstGeom prst="rect">
            <a:avLst/>
          </a:prstGeom>
        </p:spPr>
        <p:txBody>
          <a:bodyPr anchor="ctr"/>
          <a:lstStyle>
            <a:lvl1pPr marL="0" marR="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sz="1800" b="0">
                <a:solidFill>
                  <a:schemeClr val="accent2"/>
                </a:solidFill>
                <a:latin typeface="Graphik Semibold" panose="020B0703030202060203" pitchFamily="34" charset="0"/>
              </a:defRPr>
            </a:lvl1pPr>
          </a:lstStyle>
          <a:p>
            <a:pPr marL="0" marR="0" lvl="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a:pPr>
            <a:r>
              <a:rPr lang="pt-BR"/>
              <a:t>##</a:t>
            </a:r>
            <a:endParaRPr lang="pt-BR" dirty="0"/>
          </a:p>
        </p:txBody>
      </p:sp>
      <p:sp>
        <p:nvSpPr>
          <p:cNvPr id="87" name="Text Placeholder 22">
            <a:extLst>
              <a:ext uri="{FF2B5EF4-FFF2-40B4-BE49-F238E27FC236}">
                <a16:creationId xmlns:a16="http://schemas.microsoft.com/office/drawing/2014/main" id="{194D437D-E8B7-694E-B60A-5A3D6E811713}"/>
              </a:ext>
            </a:extLst>
          </p:cNvPr>
          <p:cNvSpPr>
            <a:spLocks noGrp="1"/>
          </p:cNvSpPr>
          <p:nvPr>
            <p:ph type="body" sz="quarter" idx="40" hasCustomPrompt="1"/>
          </p:nvPr>
        </p:nvSpPr>
        <p:spPr>
          <a:xfrm>
            <a:off x="8857963" y="1976479"/>
            <a:ext cx="2783175" cy="485340"/>
          </a:xfrm>
          <a:prstGeom prst="rect">
            <a:avLst/>
          </a:prstGeom>
        </p:spPr>
        <p:txBody>
          <a:bodyPr anchor="ctr"/>
          <a:lstStyle>
            <a:lvl1pPr rtl="0">
              <a:spcAft>
                <a:spcPts val="0"/>
              </a:spcAft>
              <a:buNone/>
              <a:defRPr sz="1600" b="0" i="0">
                <a:solidFill>
                  <a:schemeClr val="bg1"/>
                </a:solidFill>
                <a:latin typeface="Graphik" panose="020B0503030202060203" pitchFamily="34" charset="77"/>
              </a:defRPr>
            </a:lvl1pPr>
          </a:lstStyle>
          <a:p>
            <a:pPr lvl="0"/>
            <a:r>
              <a:rPr lang="pt-BR"/>
              <a:t>Insert agenda item</a:t>
            </a:r>
            <a:endParaRPr lang="pt-BR" dirty="0"/>
          </a:p>
        </p:txBody>
      </p:sp>
      <p:sp>
        <p:nvSpPr>
          <p:cNvPr id="96" name="Text Placeholder 23">
            <a:extLst>
              <a:ext uri="{FF2B5EF4-FFF2-40B4-BE49-F238E27FC236}">
                <a16:creationId xmlns:a16="http://schemas.microsoft.com/office/drawing/2014/main" id="{95340386-A048-C64F-B858-E874FB9006DC}"/>
              </a:ext>
            </a:extLst>
          </p:cNvPr>
          <p:cNvSpPr>
            <a:spLocks noGrp="1"/>
          </p:cNvSpPr>
          <p:nvPr>
            <p:ph type="body" sz="quarter" idx="49" hasCustomPrompt="1"/>
          </p:nvPr>
        </p:nvSpPr>
        <p:spPr>
          <a:xfrm>
            <a:off x="8317231" y="2581358"/>
            <a:ext cx="405128" cy="485340"/>
          </a:xfrm>
          <a:prstGeom prst="rect">
            <a:avLst/>
          </a:prstGeom>
        </p:spPr>
        <p:txBody>
          <a:bodyPr anchor="ctr"/>
          <a:lstStyle>
            <a:lvl1pPr marL="0" marR="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sz="1800" b="0">
                <a:solidFill>
                  <a:schemeClr val="accent2"/>
                </a:solidFill>
                <a:latin typeface="Graphik Semibold" panose="020B0703030202060203" pitchFamily="34" charset="0"/>
              </a:defRPr>
            </a:lvl1pPr>
          </a:lstStyle>
          <a:p>
            <a:pPr marL="0" marR="0" lvl="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a:pPr>
            <a:r>
              <a:rPr lang="pt-BR"/>
              <a:t>##</a:t>
            </a:r>
            <a:endParaRPr lang="pt-BR" dirty="0"/>
          </a:p>
        </p:txBody>
      </p:sp>
      <p:sp>
        <p:nvSpPr>
          <p:cNvPr id="88" name="Text Placeholder 24">
            <a:extLst>
              <a:ext uri="{FF2B5EF4-FFF2-40B4-BE49-F238E27FC236}">
                <a16:creationId xmlns:a16="http://schemas.microsoft.com/office/drawing/2014/main" id="{D743CFF4-B173-B648-86A6-5021F5FB8C07}"/>
              </a:ext>
            </a:extLst>
          </p:cNvPr>
          <p:cNvSpPr>
            <a:spLocks noGrp="1"/>
          </p:cNvSpPr>
          <p:nvPr>
            <p:ph type="body" sz="quarter" idx="41" hasCustomPrompt="1"/>
          </p:nvPr>
        </p:nvSpPr>
        <p:spPr>
          <a:xfrm>
            <a:off x="8857963" y="2581358"/>
            <a:ext cx="2783175" cy="485340"/>
          </a:xfrm>
          <a:prstGeom prst="rect">
            <a:avLst/>
          </a:prstGeom>
        </p:spPr>
        <p:txBody>
          <a:bodyPr anchor="ctr"/>
          <a:lstStyle>
            <a:lvl1pPr rtl="0">
              <a:spcAft>
                <a:spcPts val="0"/>
              </a:spcAft>
              <a:buNone/>
              <a:defRPr sz="1600" b="0" i="0">
                <a:solidFill>
                  <a:schemeClr val="bg1"/>
                </a:solidFill>
                <a:latin typeface="Graphik" panose="020B0503030202060203" pitchFamily="34" charset="77"/>
              </a:defRPr>
            </a:lvl1pPr>
          </a:lstStyle>
          <a:p>
            <a:pPr lvl="0"/>
            <a:r>
              <a:rPr lang="pt-BR"/>
              <a:t>Insert agenda item</a:t>
            </a:r>
            <a:endParaRPr lang="pt-BR" dirty="0"/>
          </a:p>
        </p:txBody>
      </p:sp>
      <p:sp>
        <p:nvSpPr>
          <p:cNvPr id="97" name="Text Placeholder 25">
            <a:extLst>
              <a:ext uri="{FF2B5EF4-FFF2-40B4-BE49-F238E27FC236}">
                <a16:creationId xmlns:a16="http://schemas.microsoft.com/office/drawing/2014/main" id="{389D3522-38D0-6A46-B023-28998ECDD0FA}"/>
              </a:ext>
            </a:extLst>
          </p:cNvPr>
          <p:cNvSpPr>
            <a:spLocks noGrp="1"/>
          </p:cNvSpPr>
          <p:nvPr>
            <p:ph type="body" sz="quarter" idx="50" hasCustomPrompt="1"/>
          </p:nvPr>
        </p:nvSpPr>
        <p:spPr>
          <a:xfrm>
            <a:off x="8317231" y="3186235"/>
            <a:ext cx="405128" cy="485340"/>
          </a:xfrm>
          <a:prstGeom prst="rect">
            <a:avLst/>
          </a:prstGeom>
        </p:spPr>
        <p:txBody>
          <a:bodyPr anchor="ctr"/>
          <a:lstStyle>
            <a:lvl1pPr marL="0" marR="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sz="1800" b="0">
                <a:solidFill>
                  <a:schemeClr val="accent2"/>
                </a:solidFill>
                <a:latin typeface="Graphik Semibold" panose="020B0703030202060203" pitchFamily="34" charset="0"/>
              </a:defRPr>
            </a:lvl1pPr>
          </a:lstStyle>
          <a:p>
            <a:pPr marL="0" marR="0" lvl="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a:pPr>
            <a:r>
              <a:rPr lang="pt-BR"/>
              <a:t>##</a:t>
            </a:r>
            <a:endParaRPr lang="pt-BR" dirty="0"/>
          </a:p>
        </p:txBody>
      </p:sp>
      <p:sp>
        <p:nvSpPr>
          <p:cNvPr id="89" name="Text Placeholder 26">
            <a:extLst>
              <a:ext uri="{FF2B5EF4-FFF2-40B4-BE49-F238E27FC236}">
                <a16:creationId xmlns:a16="http://schemas.microsoft.com/office/drawing/2014/main" id="{67B9EDF9-023B-A84C-B540-ABBA3E3BA5C0}"/>
              </a:ext>
            </a:extLst>
          </p:cNvPr>
          <p:cNvSpPr>
            <a:spLocks noGrp="1"/>
          </p:cNvSpPr>
          <p:nvPr>
            <p:ph type="body" sz="quarter" idx="42" hasCustomPrompt="1"/>
          </p:nvPr>
        </p:nvSpPr>
        <p:spPr>
          <a:xfrm>
            <a:off x="8857963" y="3186235"/>
            <a:ext cx="2783175" cy="485340"/>
          </a:xfrm>
          <a:prstGeom prst="rect">
            <a:avLst/>
          </a:prstGeom>
        </p:spPr>
        <p:txBody>
          <a:bodyPr anchor="ctr"/>
          <a:lstStyle>
            <a:lvl1pPr rtl="0">
              <a:spcAft>
                <a:spcPts val="0"/>
              </a:spcAft>
              <a:buNone/>
              <a:defRPr sz="1600" b="0" i="0">
                <a:solidFill>
                  <a:schemeClr val="bg1"/>
                </a:solidFill>
                <a:latin typeface="Graphik" panose="020B0503030202060203" pitchFamily="34" charset="77"/>
              </a:defRPr>
            </a:lvl1pPr>
          </a:lstStyle>
          <a:p>
            <a:pPr lvl="0"/>
            <a:r>
              <a:rPr lang="pt-BR"/>
              <a:t>Insert agenda item</a:t>
            </a:r>
            <a:endParaRPr lang="pt-BR" dirty="0"/>
          </a:p>
        </p:txBody>
      </p:sp>
      <p:sp>
        <p:nvSpPr>
          <p:cNvPr id="98" name="Text Placeholder 27">
            <a:extLst>
              <a:ext uri="{FF2B5EF4-FFF2-40B4-BE49-F238E27FC236}">
                <a16:creationId xmlns:a16="http://schemas.microsoft.com/office/drawing/2014/main" id="{DFF1DA35-A5DD-8E48-B33F-D2FC79AD9AF0}"/>
              </a:ext>
            </a:extLst>
          </p:cNvPr>
          <p:cNvSpPr>
            <a:spLocks noGrp="1"/>
          </p:cNvSpPr>
          <p:nvPr>
            <p:ph type="body" sz="quarter" idx="51" hasCustomPrompt="1"/>
          </p:nvPr>
        </p:nvSpPr>
        <p:spPr>
          <a:xfrm>
            <a:off x="8317231" y="3791114"/>
            <a:ext cx="405128" cy="485340"/>
          </a:xfrm>
          <a:prstGeom prst="rect">
            <a:avLst/>
          </a:prstGeom>
        </p:spPr>
        <p:txBody>
          <a:bodyPr anchor="ctr"/>
          <a:lstStyle>
            <a:lvl1pPr marL="0" marR="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sz="1800" b="0">
                <a:solidFill>
                  <a:schemeClr val="accent2"/>
                </a:solidFill>
                <a:latin typeface="Graphik Semibold" panose="020B0703030202060203" pitchFamily="34" charset="0"/>
              </a:defRPr>
            </a:lvl1pPr>
          </a:lstStyle>
          <a:p>
            <a:pPr marL="0" marR="0" lvl="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a:pPr>
            <a:r>
              <a:rPr lang="pt-BR"/>
              <a:t>##</a:t>
            </a:r>
            <a:endParaRPr lang="pt-BR" dirty="0"/>
          </a:p>
        </p:txBody>
      </p:sp>
      <p:sp>
        <p:nvSpPr>
          <p:cNvPr id="90" name="Text Placeholder 28">
            <a:extLst>
              <a:ext uri="{FF2B5EF4-FFF2-40B4-BE49-F238E27FC236}">
                <a16:creationId xmlns:a16="http://schemas.microsoft.com/office/drawing/2014/main" id="{EA82EDEB-3F03-7A48-BC36-8C7437083F46}"/>
              </a:ext>
            </a:extLst>
          </p:cNvPr>
          <p:cNvSpPr>
            <a:spLocks noGrp="1"/>
          </p:cNvSpPr>
          <p:nvPr>
            <p:ph type="body" sz="quarter" idx="43" hasCustomPrompt="1"/>
          </p:nvPr>
        </p:nvSpPr>
        <p:spPr>
          <a:xfrm>
            <a:off x="8857963" y="3791114"/>
            <a:ext cx="2783175" cy="485340"/>
          </a:xfrm>
          <a:prstGeom prst="rect">
            <a:avLst/>
          </a:prstGeom>
        </p:spPr>
        <p:txBody>
          <a:bodyPr anchor="ctr"/>
          <a:lstStyle>
            <a:lvl1pPr rtl="0">
              <a:spcAft>
                <a:spcPts val="0"/>
              </a:spcAft>
              <a:buNone/>
              <a:defRPr sz="1600" b="0" i="0">
                <a:solidFill>
                  <a:schemeClr val="bg1"/>
                </a:solidFill>
                <a:latin typeface="Graphik" panose="020B0503030202060203" pitchFamily="34" charset="77"/>
              </a:defRPr>
            </a:lvl1pPr>
          </a:lstStyle>
          <a:p>
            <a:pPr lvl="0"/>
            <a:r>
              <a:rPr lang="pt-BR"/>
              <a:t>Insert agenda item</a:t>
            </a:r>
            <a:endParaRPr lang="pt-BR" dirty="0"/>
          </a:p>
        </p:txBody>
      </p:sp>
      <p:sp>
        <p:nvSpPr>
          <p:cNvPr id="99" name="Text Placeholder 29">
            <a:extLst>
              <a:ext uri="{FF2B5EF4-FFF2-40B4-BE49-F238E27FC236}">
                <a16:creationId xmlns:a16="http://schemas.microsoft.com/office/drawing/2014/main" id="{2DD1FA43-908E-6A4A-8D78-19F781C138B2}"/>
              </a:ext>
            </a:extLst>
          </p:cNvPr>
          <p:cNvSpPr>
            <a:spLocks noGrp="1"/>
          </p:cNvSpPr>
          <p:nvPr>
            <p:ph type="body" sz="quarter" idx="52" hasCustomPrompt="1"/>
          </p:nvPr>
        </p:nvSpPr>
        <p:spPr>
          <a:xfrm>
            <a:off x="8317231" y="4395991"/>
            <a:ext cx="405128" cy="485340"/>
          </a:xfrm>
          <a:prstGeom prst="rect">
            <a:avLst/>
          </a:prstGeom>
        </p:spPr>
        <p:txBody>
          <a:bodyPr anchor="ctr"/>
          <a:lstStyle>
            <a:lvl1pPr marL="0" marR="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sz="1800" b="0">
                <a:solidFill>
                  <a:schemeClr val="accent2"/>
                </a:solidFill>
                <a:latin typeface="Graphik Semibold" panose="020B0703030202060203" pitchFamily="34" charset="0"/>
              </a:defRPr>
            </a:lvl1pPr>
          </a:lstStyle>
          <a:p>
            <a:pPr marL="0" marR="0" lvl="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a:pPr>
            <a:r>
              <a:rPr lang="pt-BR"/>
              <a:t>##</a:t>
            </a:r>
            <a:endParaRPr lang="pt-BR" dirty="0"/>
          </a:p>
        </p:txBody>
      </p:sp>
      <p:sp>
        <p:nvSpPr>
          <p:cNvPr id="91" name="Text Placeholder 30">
            <a:extLst>
              <a:ext uri="{FF2B5EF4-FFF2-40B4-BE49-F238E27FC236}">
                <a16:creationId xmlns:a16="http://schemas.microsoft.com/office/drawing/2014/main" id="{8D7A3AD2-4413-D941-B944-D1D235AC6689}"/>
              </a:ext>
            </a:extLst>
          </p:cNvPr>
          <p:cNvSpPr>
            <a:spLocks noGrp="1"/>
          </p:cNvSpPr>
          <p:nvPr>
            <p:ph type="body" sz="quarter" idx="44" hasCustomPrompt="1"/>
          </p:nvPr>
        </p:nvSpPr>
        <p:spPr>
          <a:xfrm>
            <a:off x="8857963" y="4395991"/>
            <a:ext cx="2783175" cy="485340"/>
          </a:xfrm>
          <a:prstGeom prst="rect">
            <a:avLst/>
          </a:prstGeom>
        </p:spPr>
        <p:txBody>
          <a:bodyPr anchor="ctr"/>
          <a:lstStyle>
            <a:lvl1pPr rtl="0">
              <a:spcAft>
                <a:spcPts val="0"/>
              </a:spcAft>
              <a:buNone/>
              <a:defRPr sz="1600" b="0" i="0">
                <a:solidFill>
                  <a:schemeClr val="bg1"/>
                </a:solidFill>
                <a:latin typeface="Graphik" panose="020B0503030202060203" pitchFamily="34" charset="77"/>
              </a:defRPr>
            </a:lvl1pPr>
          </a:lstStyle>
          <a:p>
            <a:pPr lvl="0"/>
            <a:r>
              <a:rPr lang="pt-BR"/>
              <a:t>Insert agenda item</a:t>
            </a:r>
            <a:endParaRPr lang="pt-BR" dirty="0"/>
          </a:p>
        </p:txBody>
      </p:sp>
      <p:sp>
        <p:nvSpPr>
          <p:cNvPr id="100" name="Text Placeholder 31">
            <a:extLst>
              <a:ext uri="{FF2B5EF4-FFF2-40B4-BE49-F238E27FC236}">
                <a16:creationId xmlns:a16="http://schemas.microsoft.com/office/drawing/2014/main" id="{B42DF6FB-CEA5-344B-B42D-A5B8AF0712F6}"/>
              </a:ext>
            </a:extLst>
          </p:cNvPr>
          <p:cNvSpPr>
            <a:spLocks noGrp="1"/>
          </p:cNvSpPr>
          <p:nvPr>
            <p:ph type="body" sz="quarter" idx="53" hasCustomPrompt="1"/>
          </p:nvPr>
        </p:nvSpPr>
        <p:spPr>
          <a:xfrm>
            <a:off x="8317231" y="5000870"/>
            <a:ext cx="405128" cy="485340"/>
          </a:xfrm>
          <a:prstGeom prst="rect">
            <a:avLst/>
          </a:prstGeom>
        </p:spPr>
        <p:txBody>
          <a:bodyPr anchor="ctr"/>
          <a:lstStyle>
            <a:lvl1pPr marL="0" marR="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sz="1800" b="0">
                <a:solidFill>
                  <a:schemeClr val="accent2"/>
                </a:solidFill>
                <a:latin typeface="Graphik Semibold" panose="020B0703030202060203" pitchFamily="34" charset="0"/>
              </a:defRPr>
            </a:lvl1pPr>
          </a:lstStyle>
          <a:p>
            <a:pPr marL="0" marR="0" lvl="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a:pPr>
            <a:r>
              <a:rPr lang="pt-BR"/>
              <a:t>##</a:t>
            </a:r>
            <a:endParaRPr lang="pt-BR" dirty="0"/>
          </a:p>
        </p:txBody>
      </p:sp>
      <p:sp>
        <p:nvSpPr>
          <p:cNvPr id="92" name="Text Placeholder 32">
            <a:extLst>
              <a:ext uri="{FF2B5EF4-FFF2-40B4-BE49-F238E27FC236}">
                <a16:creationId xmlns:a16="http://schemas.microsoft.com/office/drawing/2014/main" id="{F5014509-24B5-6040-8686-31A95601E0B3}"/>
              </a:ext>
            </a:extLst>
          </p:cNvPr>
          <p:cNvSpPr>
            <a:spLocks noGrp="1"/>
          </p:cNvSpPr>
          <p:nvPr>
            <p:ph type="body" sz="quarter" idx="45" hasCustomPrompt="1"/>
          </p:nvPr>
        </p:nvSpPr>
        <p:spPr>
          <a:xfrm>
            <a:off x="8857963" y="5000870"/>
            <a:ext cx="2783175" cy="485340"/>
          </a:xfrm>
          <a:prstGeom prst="rect">
            <a:avLst/>
          </a:prstGeom>
        </p:spPr>
        <p:txBody>
          <a:bodyPr anchor="ctr"/>
          <a:lstStyle>
            <a:lvl1pPr rtl="0">
              <a:spcAft>
                <a:spcPts val="0"/>
              </a:spcAft>
              <a:buNone/>
              <a:defRPr sz="1600" b="0" i="0">
                <a:solidFill>
                  <a:schemeClr val="bg1"/>
                </a:solidFill>
                <a:latin typeface="Graphik" panose="020B0503030202060203" pitchFamily="34" charset="77"/>
              </a:defRPr>
            </a:lvl1pPr>
          </a:lstStyle>
          <a:p>
            <a:pPr lvl="0"/>
            <a:r>
              <a:rPr lang="pt-BR"/>
              <a:t>Insert agenda item</a:t>
            </a:r>
            <a:endParaRPr lang="pt-BR" dirty="0"/>
          </a:p>
        </p:txBody>
      </p:sp>
      <p:sp>
        <p:nvSpPr>
          <p:cNvPr id="101" name="Text Placeholder 33">
            <a:extLst>
              <a:ext uri="{FF2B5EF4-FFF2-40B4-BE49-F238E27FC236}">
                <a16:creationId xmlns:a16="http://schemas.microsoft.com/office/drawing/2014/main" id="{DD7618EA-1B4E-9D4F-BE9D-ED39BC26377B}"/>
              </a:ext>
            </a:extLst>
          </p:cNvPr>
          <p:cNvSpPr>
            <a:spLocks noGrp="1"/>
          </p:cNvSpPr>
          <p:nvPr>
            <p:ph type="body" sz="quarter" idx="54" hasCustomPrompt="1"/>
          </p:nvPr>
        </p:nvSpPr>
        <p:spPr>
          <a:xfrm>
            <a:off x="8317231" y="5605747"/>
            <a:ext cx="405128" cy="485340"/>
          </a:xfrm>
          <a:prstGeom prst="rect">
            <a:avLst/>
          </a:prstGeom>
        </p:spPr>
        <p:txBody>
          <a:bodyPr anchor="ctr"/>
          <a:lstStyle>
            <a:lvl1pPr marL="0" marR="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sz="1800" b="0">
                <a:solidFill>
                  <a:schemeClr val="accent2"/>
                </a:solidFill>
                <a:latin typeface="Graphik Semibold" panose="020B0703030202060203" pitchFamily="34" charset="0"/>
              </a:defRPr>
            </a:lvl1pPr>
          </a:lstStyle>
          <a:p>
            <a:pPr marL="0" marR="0" lvl="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a:pPr>
            <a:r>
              <a:rPr lang="pt-BR"/>
              <a:t>##</a:t>
            </a:r>
            <a:endParaRPr lang="pt-BR" dirty="0"/>
          </a:p>
        </p:txBody>
      </p:sp>
      <p:sp>
        <p:nvSpPr>
          <p:cNvPr id="93" name="Text Placeholder 34">
            <a:extLst>
              <a:ext uri="{FF2B5EF4-FFF2-40B4-BE49-F238E27FC236}">
                <a16:creationId xmlns:a16="http://schemas.microsoft.com/office/drawing/2014/main" id="{02B9D5CB-DA36-724C-A996-6331344816A3}"/>
              </a:ext>
            </a:extLst>
          </p:cNvPr>
          <p:cNvSpPr>
            <a:spLocks noGrp="1"/>
          </p:cNvSpPr>
          <p:nvPr>
            <p:ph type="body" sz="quarter" idx="46" hasCustomPrompt="1"/>
          </p:nvPr>
        </p:nvSpPr>
        <p:spPr>
          <a:xfrm>
            <a:off x="8857963" y="5605747"/>
            <a:ext cx="2783175" cy="485340"/>
          </a:xfrm>
          <a:prstGeom prst="rect">
            <a:avLst/>
          </a:prstGeom>
        </p:spPr>
        <p:txBody>
          <a:bodyPr anchor="ctr"/>
          <a:lstStyle>
            <a:lvl1pPr rtl="0">
              <a:spcAft>
                <a:spcPts val="0"/>
              </a:spcAft>
              <a:buNone/>
              <a:defRPr sz="1600" b="0" i="0">
                <a:solidFill>
                  <a:schemeClr val="bg1"/>
                </a:solidFill>
                <a:latin typeface="Graphik" panose="020B0503030202060203" pitchFamily="34" charset="77"/>
              </a:defRPr>
            </a:lvl1pPr>
          </a:lstStyle>
          <a:p>
            <a:pPr lvl="0"/>
            <a:r>
              <a:rPr lang="pt-BR"/>
              <a:t>Insert agenda item</a:t>
            </a:r>
            <a:endParaRPr lang="pt-BR" dirty="0"/>
          </a:p>
        </p:txBody>
      </p:sp>
      <p:cxnSp>
        <p:nvCxnSpPr>
          <p:cNvPr id="4" name="Straight Connector 3">
            <a:extLst>
              <a:ext uri="{FF2B5EF4-FFF2-40B4-BE49-F238E27FC236}">
                <a16:creationId xmlns:a16="http://schemas.microsoft.com/office/drawing/2014/main" id="{D72EABDE-2DC7-B441-8D65-EC926DD10B85}"/>
              </a:ext>
              <a:ext uri="{C183D7F6-B498-43B3-948B-1728B52AA6E4}">
                <adec:decorative xmlns:adec="http://schemas.microsoft.com/office/drawing/2017/decorative" val="1"/>
              </a:ext>
            </a:extLst>
          </p:cNvPr>
          <p:cNvCxnSpPr/>
          <p:nvPr userDrawn="1"/>
        </p:nvCxnSpPr>
        <p:spPr>
          <a:xfrm>
            <a:off x="4045241" y="1371603"/>
            <a:ext cx="0" cy="4719487"/>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 name="Text Placeholder 2">
            <a:extLst>
              <a:ext uri="{FF2B5EF4-FFF2-40B4-BE49-F238E27FC236}">
                <a16:creationId xmlns:a16="http://schemas.microsoft.com/office/drawing/2014/main" id="{B01AB161-4BFB-138B-C93C-DFFFE563CF59}"/>
              </a:ext>
            </a:extLst>
          </p:cNvPr>
          <p:cNvSpPr>
            <a:spLocks noGrp="1"/>
          </p:cNvSpPr>
          <p:nvPr>
            <p:ph type="body" sz="quarter" idx="14" hasCustomPrompt="1"/>
          </p:nvPr>
        </p:nvSpPr>
        <p:spPr>
          <a:xfrm>
            <a:off x="561600" y="2745679"/>
            <a:ext cx="3091443" cy="2415468"/>
          </a:xfrm>
          <a:prstGeom prst="rect">
            <a:avLst/>
          </a:prstGeom>
        </p:spPr>
        <p:txBody>
          <a:bodyPr/>
          <a:lstStyle>
            <a:lvl1pPr marL="0" indent="0" rtl="0">
              <a:lnSpc>
                <a:spcPct val="90000"/>
              </a:lnSpc>
              <a:buNone/>
              <a:defRPr sz="1600" b="0" i="0">
                <a:solidFill>
                  <a:schemeClr val="bg1"/>
                </a:solidFill>
                <a:latin typeface="Graphik" panose="020B0503030202060203" pitchFamily="34" charset="77"/>
              </a:defRPr>
            </a:lvl1pPr>
            <a:lvl2pPr marL="0" indent="0">
              <a:buNone/>
              <a:defRPr sz="1800"/>
            </a:lvl2pPr>
            <a:lvl3pPr marL="228594">
              <a:buFont typeface="Graphik" panose="020B0604020202020204" pitchFamily="34" charset="0"/>
              <a:buChar char="•"/>
              <a:defRPr sz="1800"/>
            </a:lvl3pPr>
            <a:lvl4pPr marL="457189">
              <a:buFont typeface="Graphik"/>
              <a:buChar char="–"/>
              <a:defRPr sz="1600"/>
            </a:lvl4pPr>
            <a:lvl5pPr marL="685783">
              <a:buFont typeface="Graphik" panose="020B0604020202020204" pitchFamily="34" charset="0"/>
              <a:buChar char="•"/>
              <a:defRPr sz="1600"/>
            </a:lvl5pPr>
          </a:lstStyle>
          <a:p>
            <a:pPr lvl="0"/>
            <a:r>
              <a:rPr lang="pt-BR"/>
              <a:t>Place subtitle here in Graphik regular</a:t>
            </a:r>
            <a:endParaRPr lang="pt-BR" dirty="0"/>
          </a:p>
        </p:txBody>
      </p:sp>
      <p:sp>
        <p:nvSpPr>
          <p:cNvPr id="7" name="slide number automatic">
            <a:extLst>
              <a:ext uri="{FF2B5EF4-FFF2-40B4-BE49-F238E27FC236}">
                <a16:creationId xmlns:a16="http://schemas.microsoft.com/office/drawing/2014/main" id="{EA0A3F89-649C-BCA9-F69D-4791BE39CE26}"/>
              </a:ext>
            </a:extLst>
          </p:cNvPr>
          <p:cNvSpPr txBox="1"/>
          <p:nvPr userDrawn="1"/>
        </p:nvSpPr>
        <p:spPr>
          <a:xfrm>
            <a:off x="11685965" y="6429853"/>
            <a:ext cx="125035" cy="123111"/>
          </a:xfrm>
          <a:prstGeom prst="rect">
            <a:avLst/>
          </a:prstGeom>
          <a:noFill/>
        </p:spPr>
        <p:txBody>
          <a:bodyPr wrap="none" lIns="0" tIns="0" rIns="0" bIns="0" rtlCol="0" anchor="ctr">
            <a:spAutoFit/>
          </a:bodyPr>
          <a:lstStyle/>
          <a:p>
            <a:pPr marL="0" marR="0" lvl="0" indent="0" algn="r" defTabSz="228594" rtl="0" eaLnBrk="1" fontAlgn="auto" latinLnBrk="0" hangingPunct="1">
              <a:lnSpc>
                <a:spcPct val="100000"/>
              </a:lnSpc>
              <a:spcBef>
                <a:spcPts val="0"/>
              </a:spcBef>
              <a:spcAft>
                <a:spcPts val="1200"/>
              </a:spcAft>
              <a:buClrTx/>
              <a:buSzTx/>
              <a:buFontTx/>
              <a:buNone/>
              <a:tabLst/>
              <a:defRPr/>
            </a:pPr>
            <a:fld id="{8A1971D9-5B62-3C46-9EC9-FDAAB88557B2}" type="slidenum">
              <a:rPr lang="pt-BR" sz="800" smtClean="0">
                <a:solidFill>
                  <a:schemeClr val="bg1">
                    <a:lumMod val="85000"/>
                    <a:alpha val="75000"/>
                  </a:schemeClr>
                </a:solidFill>
                <a:latin typeface="Graphik Semibold" panose="020B0703030202060203" pitchFamily="34" charset="0"/>
              </a:rPr>
              <a:pPr marL="0" marR="0" lvl="0" indent="0" algn="r" defTabSz="228594" rtl="0" eaLnBrk="1" fontAlgn="auto" latinLnBrk="0" hangingPunct="1">
                <a:lnSpc>
                  <a:spcPct val="100000"/>
                </a:lnSpc>
                <a:spcBef>
                  <a:spcPts val="0"/>
                </a:spcBef>
                <a:spcAft>
                  <a:spcPts val="1200"/>
                </a:spcAft>
                <a:buClrTx/>
                <a:buSzTx/>
                <a:buFontTx/>
                <a:buNone/>
                <a:tabLst/>
                <a:defRPr/>
              </a:pPr>
              <a:t>‹#›</a:t>
            </a:fld>
            <a:endParaRPr lang="pt-BR" sz="1351" noProof="0" dirty="0">
              <a:solidFill>
                <a:schemeClr val="bg1">
                  <a:lumMod val="85000"/>
                  <a:alpha val="75000"/>
                </a:schemeClr>
              </a:solidFill>
              <a:latin typeface="Graphik Semibold" panose="020B0703030202060203" pitchFamily="34" charset="0"/>
            </a:endParaRPr>
          </a:p>
        </p:txBody>
      </p:sp>
    </p:spTree>
    <p:extLst>
      <p:ext uri="{BB962C8B-B14F-4D97-AF65-F5344CB8AC3E}">
        <p14:creationId xmlns:p14="http://schemas.microsoft.com/office/powerpoint/2010/main" val="3442698307"/>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light mo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65711C1-C5A3-D27D-24DB-A8CBBD060630}"/>
              </a:ext>
            </a:extLst>
          </p:cNvPr>
          <p:cNvGraphicFramePr>
            <a:graphicFrameLocks noChangeAspect="1"/>
          </p:cNvGraphicFramePr>
          <p:nvPr userDrawn="1">
            <p:custDataLst>
              <p:tags r:id="rId1"/>
            </p:custDataLst>
            <p:extLst>
              <p:ext uri="{D42A27DB-BD31-4B8C-83A1-F6EECF244321}">
                <p14:modId xmlns:p14="http://schemas.microsoft.com/office/powerpoint/2010/main" val="1469145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3" name="think-cell data - do not delete" hidden="1">
                        <a:extLst>
                          <a:ext uri="{FF2B5EF4-FFF2-40B4-BE49-F238E27FC236}">
                            <a16:creationId xmlns:a16="http://schemas.microsoft.com/office/drawing/2014/main" id="{E65711C1-C5A3-D27D-24DB-A8CBBD06063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FA4FF600-954F-A932-EB0A-7C9AF337B5D8}"/>
              </a:ext>
            </a:extLst>
          </p:cNvPr>
          <p:cNvSpPr>
            <a:spLocks noGrp="1"/>
          </p:cNvSpPr>
          <p:nvPr>
            <p:ph type="title" hasCustomPrompt="1"/>
          </p:nvPr>
        </p:nvSpPr>
        <p:spPr>
          <a:xfrm>
            <a:off x="559848" y="2187404"/>
            <a:ext cx="3098568" cy="393954"/>
          </a:xfrm>
          <a:prstGeom prst="rect">
            <a:avLst/>
          </a:prstGeom>
        </p:spPr>
        <p:txBody>
          <a:bodyPr vert="horz" anchor="b"/>
          <a:lstStyle>
            <a:lvl1pPr rtl="0">
              <a:defRPr sz="3200">
                <a:solidFill>
                  <a:schemeClr val="tx1"/>
                </a:solidFill>
              </a:defRPr>
            </a:lvl1pPr>
          </a:lstStyle>
          <a:p>
            <a:r>
              <a:rPr lang="pt-BR"/>
              <a:t>Agenda title</a:t>
            </a:r>
            <a:endParaRPr lang="pt-BR" dirty="0"/>
          </a:p>
        </p:txBody>
      </p:sp>
      <p:sp>
        <p:nvSpPr>
          <p:cNvPr id="8" name="Text Placeholder 2">
            <a:extLst>
              <a:ext uri="{FF2B5EF4-FFF2-40B4-BE49-F238E27FC236}">
                <a16:creationId xmlns:a16="http://schemas.microsoft.com/office/drawing/2014/main" id="{15D79A3D-AC3D-4EB4-AFB4-D6CEFA4231AA}"/>
              </a:ext>
            </a:extLst>
          </p:cNvPr>
          <p:cNvSpPr>
            <a:spLocks noGrp="1"/>
          </p:cNvSpPr>
          <p:nvPr>
            <p:ph type="body" sz="quarter" idx="14" hasCustomPrompt="1"/>
          </p:nvPr>
        </p:nvSpPr>
        <p:spPr>
          <a:xfrm>
            <a:off x="559948" y="2745679"/>
            <a:ext cx="3093440" cy="2415468"/>
          </a:xfrm>
          <a:prstGeom prst="rect">
            <a:avLst/>
          </a:prstGeom>
        </p:spPr>
        <p:txBody>
          <a:bodyPr/>
          <a:lstStyle>
            <a:lvl1pPr marL="0" indent="0" rtl="0">
              <a:lnSpc>
                <a:spcPct val="90000"/>
              </a:lnSpc>
              <a:buNone/>
              <a:defRPr sz="1600" b="0" i="0">
                <a:solidFill>
                  <a:schemeClr val="tx1"/>
                </a:solidFill>
                <a:latin typeface="Graphik" panose="020B0503030202060203" pitchFamily="34" charset="77"/>
              </a:defRPr>
            </a:lvl1pPr>
            <a:lvl2pPr marL="0" indent="0">
              <a:buNone/>
              <a:defRPr sz="1800"/>
            </a:lvl2pPr>
            <a:lvl3pPr marL="228594">
              <a:buFont typeface="Graphik" panose="020B0604020202020204" pitchFamily="34" charset="0"/>
              <a:buChar char="•"/>
              <a:defRPr sz="1800"/>
            </a:lvl3pPr>
            <a:lvl4pPr marL="457189">
              <a:buFont typeface="Graphik"/>
              <a:buChar char="–"/>
              <a:defRPr sz="1600"/>
            </a:lvl4pPr>
            <a:lvl5pPr marL="685783">
              <a:buFont typeface="Graphik" panose="020B0604020202020204" pitchFamily="34" charset="0"/>
              <a:buChar char="•"/>
              <a:defRPr sz="1600"/>
            </a:lvl5pPr>
          </a:lstStyle>
          <a:p>
            <a:pPr lvl="0"/>
            <a:r>
              <a:rPr lang="pt-BR"/>
              <a:t>Place subtitle here in Graphik regular</a:t>
            </a:r>
            <a:endParaRPr lang="pt-BR" dirty="0"/>
          </a:p>
        </p:txBody>
      </p:sp>
      <p:sp>
        <p:nvSpPr>
          <p:cNvPr id="29" name="Text Placeholder 3">
            <a:extLst>
              <a:ext uri="{FF2B5EF4-FFF2-40B4-BE49-F238E27FC236}">
                <a16:creationId xmlns:a16="http://schemas.microsoft.com/office/drawing/2014/main" id="{2F4C171E-3D12-FC48-87BB-B5005B4EE338}"/>
              </a:ext>
            </a:extLst>
          </p:cNvPr>
          <p:cNvSpPr>
            <a:spLocks noGrp="1"/>
          </p:cNvSpPr>
          <p:nvPr>
            <p:ph type="body" sz="quarter" idx="31" hasCustomPrompt="1"/>
          </p:nvPr>
        </p:nvSpPr>
        <p:spPr>
          <a:xfrm>
            <a:off x="4426241" y="1371602"/>
            <a:ext cx="405128" cy="485340"/>
          </a:xfrm>
          <a:prstGeom prst="rect">
            <a:avLst/>
          </a:prstGeom>
        </p:spPr>
        <p:txBody>
          <a:bodyPr anchor="ctr"/>
          <a:lstStyle>
            <a:lvl1pPr marL="0" marR="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sz="1800" b="0">
                <a:solidFill>
                  <a:schemeClr val="bg2"/>
                </a:solidFill>
                <a:latin typeface="Graphik Semibold" panose="020B0703030202060203" pitchFamily="34" charset="0"/>
              </a:defRPr>
            </a:lvl1pPr>
          </a:lstStyle>
          <a:p>
            <a:pPr marL="0" marR="0" lvl="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a:pPr>
            <a:r>
              <a:rPr lang="pt-BR"/>
              <a:t>##</a:t>
            </a:r>
            <a:endParaRPr lang="pt-BR" dirty="0"/>
          </a:p>
        </p:txBody>
      </p:sp>
      <p:sp>
        <p:nvSpPr>
          <p:cNvPr id="18" name="Text Placeholder 4">
            <a:extLst>
              <a:ext uri="{FF2B5EF4-FFF2-40B4-BE49-F238E27FC236}">
                <a16:creationId xmlns:a16="http://schemas.microsoft.com/office/drawing/2014/main" id="{257C0C72-781A-F24F-B1F2-0A290409F1F6}"/>
              </a:ext>
            </a:extLst>
          </p:cNvPr>
          <p:cNvSpPr>
            <a:spLocks noGrp="1"/>
          </p:cNvSpPr>
          <p:nvPr>
            <p:ph type="body" sz="quarter" idx="16" hasCustomPrompt="1"/>
          </p:nvPr>
        </p:nvSpPr>
        <p:spPr>
          <a:xfrm>
            <a:off x="4966974" y="1371602"/>
            <a:ext cx="2783175" cy="485340"/>
          </a:xfrm>
          <a:prstGeom prst="rect">
            <a:avLst/>
          </a:prstGeom>
        </p:spPr>
        <p:txBody>
          <a:bodyPr anchor="ctr"/>
          <a:lstStyle>
            <a:lvl1pPr rtl="0">
              <a:spcAft>
                <a:spcPts val="0"/>
              </a:spcAft>
              <a:buNone/>
              <a:defRPr sz="1600" b="0" i="0">
                <a:latin typeface="Graphik" panose="020B0503030202060203" pitchFamily="34" charset="77"/>
              </a:defRPr>
            </a:lvl1pPr>
          </a:lstStyle>
          <a:p>
            <a:pPr lvl="0"/>
            <a:r>
              <a:rPr lang="pt-BR"/>
              <a:t>Insert agenda item</a:t>
            </a:r>
            <a:endParaRPr lang="pt-BR" dirty="0"/>
          </a:p>
        </p:txBody>
      </p:sp>
      <p:sp>
        <p:nvSpPr>
          <p:cNvPr id="30" name="Text Placeholder 5">
            <a:extLst>
              <a:ext uri="{FF2B5EF4-FFF2-40B4-BE49-F238E27FC236}">
                <a16:creationId xmlns:a16="http://schemas.microsoft.com/office/drawing/2014/main" id="{E8AE9E02-9423-4748-8AD7-2BBB3B94A799}"/>
              </a:ext>
            </a:extLst>
          </p:cNvPr>
          <p:cNvSpPr>
            <a:spLocks noGrp="1"/>
          </p:cNvSpPr>
          <p:nvPr>
            <p:ph type="body" sz="quarter" idx="32" hasCustomPrompt="1"/>
          </p:nvPr>
        </p:nvSpPr>
        <p:spPr>
          <a:xfrm>
            <a:off x="4426241" y="1976479"/>
            <a:ext cx="405128" cy="485340"/>
          </a:xfrm>
          <a:prstGeom prst="rect">
            <a:avLst/>
          </a:prstGeom>
        </p:spPr>
        <p:txBody>
          <a:bodyPr anchor="ctr"/>
          <a:lstStyle>
            <a:lvl1pPr marL="0" marR="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sz="1800" b="0">
                <a:solidFill>
                  <a:schemeClr val="bg2"/>
                </a:solidFill>
                <a:latin typeface="Graphik Semibold" panose="020B0703030202060203" pitchFamily="34" charset="0"/>
              </a:defRPr>
            </a:lvl1pPr>
          </a:lstStyle>
          <a:p>
            <a:pPr marL="0" marR="0" lvl="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a:pPr>
            <a:r>
              <a:rPr lang="pt-BR"/>
              <a:t>##</a:t>
            </a:r>
            <a:endParaRPr lang="pt-BR" dirty="0"/>
          </a:p>
        </p:txBody>
      </p:sp>
      <p:sp>
        <p:nvSpPr>
          <p:cNvPr id="57" name="Text Placeholder 6">
            <a:extLst>
              <a:ext uri="{FF2B5EF4-FFF2-40B4-BE49-F238E27FC236}">
                <a16:creationId xmlns:a16="http://schemas.microsoft.com/office/drawing/2014/main" id="{A5D4C4AC-7870-A641-AF65-6F3ECB9DA9CA}"/>
              </a:ext>
            </a:extLst>
          </p:cNvPr>
          <p:cNvSpPr>
            <a:spLocks noGrp="1"/>
          </p:cNvSpPr>
          <p:nvPr>
            <p:ph type="body" sz="quarter" idx="18" hasCustomPrompt="1"/>
          </p:nvPr>
        </p:nvSpPr>
        <p:spPr>
          <a:xfrm>
            <a:off x="4966974" y="1976479"/>
            <a:ext cx="2783175" cy="485340"/>
          </a:xfrm>
          <a:prstGeom prst="rect">
            <a:avLst/>
          </a:prstGeom>
        </p:spPr>
        <p:txBody>
          <a:bodyPr anchor="ctr"/>
          <a:lstStyle>
            <a:lvl1pPr rtl="0">
              <a:spcAft>
                <a:spcPts val="0"/>
              </a:spcAft>
              <a:buNone/>
              <a:defRPr sz="1600" b="0" i="0">
                <a:latin typeface="Graphik" panose="020B0503030202060203" pitchFamily="34" charset="77"/>
              </a:defRPr>
            </a:lvl1pPr>
          </a:lstStyle>
          <a:p>
            <a:pPr lvl="0"/>
            <a:r>
              <a:rPr lang="pt-BR"/>
              <a:t>Insert agenda item</a:t>
            </a:r>
            <a:endParaRPr lang="pt-BR" dirty="0"/>
          </a:p>
        </p:txBody>
      </p:sp>
      <p:sp>
        <p:nvSpPr>
          <p:cNvPr id="31" name="Text Placeholder 7">
            <a:extLst>
              <a:ext uri="{FF2B5EF4-FFF2-40B4-BE49-F238E27FC236}">
                <a16:creationId xmlns:a16="http://schemas.microsoft.com/office/drawing/2014/main" id="{7C692F47-FBF4-5842-A0CA-4B8B48DE4638}"/>
              </a:ext>
            </a:extLst>
          </p:cNvPr>
          <p:cNvSpPr>
            <a:spLocks noGrp="1"/>
          </p:cNvSpPr>
          <p:nvPr>
            <p:ph type="body" sz="quarter" idx="33" hasCustomPrompt="1"/>
          </p:nvPr>
        </p:nvSpPr>
        <p:spPr>
          <a:xfrm>
            <a:off x="4426241" y="2581358"/>
            <a:ext cx="405128" cy="485340"/>
          </a:xfrm>
          <a:prstGeom prst="rect">
            <a:avLst/>
          </a:prstGeom>
        </p:spPr>
        <p:txBody>
          <a:bodyPr anchor="ctr"/>
          <a:lstStyle>
            <a:lvl1pPr marL="0" marR="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sz="1800" b="0">
                <a:solidFill>
                  <a:schemeClr val="bg2"/>
                </a:solidFill>
                <a:latin typeface="Graphik Semibold" panose="020B0703030202060203" pitchFamily="34" charset="0"/>
              </a:defRPr>
            </a:lvl1pPr>
          </a:lstStyle>
          <a:p>
            <a:pPr marL="0" marR="0" lvl="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a:pPr>
            <a:r>
              <a:rPr lang="pt-BR"/>
              <a:t>##</a:t>
            </a:r>
            <a:endParaRPr lang="pt-BR" dirty="0"/>
          </a:p>
        </p:txBody>
      </p:sp>
      <p:sp>
        <p:nvSpPr>
          <p:cNvPr id="59" name="Text Placeholder 8">
            <a:extLst>
              <a:ext uri="{FF2B5EF4-FFF2-40B4-BE49-F238E27FC236}">
                <a16:creationId xmlns:a16="http://schemas.microsoft.com/office/drawing/2014/main" id="{9F332AA7-2896-E24E-B21D-90FED54D4335}"/>
              </a:ext>
            </a:extLst>
          </p:cNvPr>
          <p:cNvSpPr>
            <a:spLocks noGrp="1"/>
          </p:cNvSpPr>
          <p:nvPr>
            <p:ph type="body" sz="quarter" idx="20" hasCustomPrompt="1"/>
          </p:nvPr>
        </p:nvSpPr>
        <p:spPr>
          <a:xfrm>
            <a:off x="4966974" y="2581358"/>
            <a:ext cx="2783175" cy="485340"/>
          </a:xfrm>
          <a:prstGeom prst="rect">
            <a:avLst/>
          </a:prstGeom>
        </p:spPr>
        <p:txBody>
          <a:bodyPr anchor="ctr"/>
          <a:lstStyle>
            <a:lvl1pPr rtl="0">
              <a:spcAft>
                <a:spcPts val="0"/>
              </a:spcAft>
              <a:buNone/>
              <a:defRPr sz="1600" b="0" i="0">
                <a:latin typeface="Graphik" panose="020B0503030202060203" pitchFamily="34" charset="77"/>
              </a:defRPr>
            </a:lvl1pPr>
          </a:lstStyle>
          <a:p>
            <a:pPr lvl="0"/>
            <a:r>
              <a:rPr lang="pt-BR"/>
              <a:t>Insert agenda item</a:t>
            </a:r>
            <a:endParaRPr lang="pt-BR" dirty="0"/>
          </a:p>
        </p:txBody>
      </p:sp>
      <p:sp>
        <p:nvSpPr>
          <p:cNvPr id="32" name="Text Placeholder 9">
            <a:extLst>
              <a:ext uri="{FF2B5EF4-FFF2-40B4-BE49-F238E27FC236}">
                <a16:creationId xmlns:a16="http://schemas.microsoft.com/office/drawing/2014/main" id="{BDE48124-A481-074B-9AD4-22EC49D172D0}"/>
              </a:ext>
            </a:extLst>
          </p:cNvPr>
          <p:cNvSpPr>
            <a:spLocks noGrp="1"/>
          </p:cNvSpPr>
          <p:nvPr>
            <p:ph type="body" sz="quarter" idx="34" hasCustomPrompt="1"/>
          </p:nvPr>
        </p:nvSpPr>
        <p:spPr>
          <a:xfrm>
            <a:off x="4426241" y="3186235"/>
            <a:ext cx="405128" cy="485340"/>
          </a:xfrm>
          <a:prstGeom prst="rect">
            <a:avLst/>
          </a:prstGeom>
        </p:spPr>
        <p:txBody>
          <a:bodyPr anchor="ctr"/>
          <a:lstStyle>
            <a:lvl1pPr marL="0" marR="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sz="1800" b="0">
                <a:solidFill>
                  <a:schemeClr val="bg2"/>
                </a:solidFill>
                <a:latin typeface="Graphik Semibold" panose="020B0703030202060203" pitchFamily="34" charset="0"/>
              </a:defRPr>
            </a:lvl1pPr>
          </a:lstStyle>
          <a:p>
            <a:pPr marL="0" marR="0" lvl="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a:pPr>
            <a:r>
              <a:rPr lang="pt-BR"/>
              <a:t>##</a:t>
            </a:r>
            <a:endParaRPr lang="pt-BR" dirty="0"/>
          </a:p>
        </p:txBody>
      </p:sp>
      <p:sp>
        <p:nvSpPr>
          <p:cNvPr id="61" name="Text Placeholder 10">
            <a:extLst>
              <a:ext uri="{FF2B5EF4-FFF2-40B4-BE49-F238E27FC236}">
                <a16:creationId xmlns:a16="http://schemas.microsoft.com/office/drawing/2014/main" id="{25D7BCB2-FC6B-2A46-AC11-482A4F731116}"/>
              </a:ext>
            </a:extLst>
          </p:cNvPr>
          <p:cNvSpPr>
            <a:spLocks noGrp="1"/>
          </p:cNvSpPr>
          <p:nvPr>
            <p:ph type="body" sz="quarter" idx="22" hasCustomPrompt="1"/>
          </p:nvPr>
        </p:nvSpPr>
        <p:spPr>
          <a:xfrm>
            <a:off x="4966974" y="3186235"/>
            <a:ext cx="2783175" cy="485340"/>
          </a:xfrm>
          <a:prstGeom prst="rect">
            <a:avLst/>
          </a:prstGeom>
        </p:spPr>
        <p:txBody>
          <a:bodyPr anchor="ctr"/>
          <a:lstStyle>
            <a:lvl1pPr rtl="0">
              <a:spcAft>
                <a:spcPts val="0"/>
              </a:spcAft>
              <a:buNone/>
              <a:defRPr sz="1600" b="0" i="0">
                <a:latin typeface="Graphik" panose="020B0503030202060203" pitchFamily="34" charset="77"/>
              </a:defRPr>
            </a:lvl1pPr>
          </a:lstStyle>
          <a:p>
            <a:pPr lvl="0"/>
            <a:r>
              <a:rPr lang="pt-BR"/>
              <a:t>Insert agenda item</a:t>
            </a:r>
            <a:endParaRPr lang="pt-BR" dirty="0"/>
          </a:p>
        </p:txBody>
      </p:sp>
      <p:sp>
        <p:nvSpPr>
          <p:cNvPr id="33" name="Text Placeholder 11">
            <a:extLst>
              <a:ext uri="{FF2B5EF4-FFF2-40B4-BE49-F238E27FC236}">
                <a16:creationId xmlns:a16="http://schemas.microsoft.com/office/drawing/2014/main" id="{98E2B4B4-ED02-4945-B581-1A8D48D031AA}"/>
              </a:ext>
            </a:extLst>
          </p:cNvPr>
          <p:cNvSpPr>
            <a:spLocks noGrp="1"/>
          </p:cNvSpPr>
          <p:nvPr>
            <p:ph type="body" sz="quarter" idx="35" hasCustomPrompt="1"/>
          </p:nvPr>
        </p:nvSpPr>
        <p:spPr>
          <a:xfrm>
            <a:off x="4426241" y="3791114"/>
            <a:ext cx="405128" cy="485340"/>
          </a:xfrm>
          <a:prstGeom prst="rect">
            <a:avLst/>
          </a:prstGeom>
        </p:spPr>
        <p:txBody>
          <a:bodyPr anchor="ctr"/>
          <a:lstStyle>
            <a:lvl1pPr marL="0" marR="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sz="1800" b="0">
                <a:solidFill>
                  <a:schemeClr val="bg2"/>
                </a:solidFill>
                <a:latin typeface="Graphik Semibold" panose="020B0703030202060203" pitchFamily="34" charset="0"/>
              </a:defRPr>
            </a:lvl1pPr>
          </a:lstStyle>
          <a:p>
            <a:pPr marL="0" marR="0" lvl="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a:pPr>
            <a:r>
              <a:rPr lang="pt-BR"/>
              <a:t>##</a:t>
            </a:r>
            <a:endParaRPr lang="pt-BR" dirty="0"/>
          </a:p>
        </p:txBody>
      </p:sp>
      <p:sp>
        <p:nvSpPr>
          <p:cNvPr id="63" name="Text Placeholder 12">
            <a:extLst>
              <a:ext uri="{FF2B5EF4-FFF2-40B4-BE49-F238E27FC236}">
                <a16:creationId xmlns:a16="http://schemas.microsoft.com/office/drawing/2014/main" id="{FD74906C-72A4-CF4A-A4F6-B28AE864B9B7}"/>
              </a:ext>
            </a:extLst>
          </p:cNvPr>
          <p:cNvSpPr>
            <a:spLocks noGrp="1"/>
          </p:cNvSpPr>
          <p:nvPr>
            <p:ph type="body" sz="quarter" idx="24" hasCustomPrompt="1"/>
          </p:nvPr>
        </p:nvSpPr>
        <p:spPr>
          <a:xfrm>
            <a:off x="4966974" y="3791114"/>
            <a:ext cx="2783175" cy="485340"/>
          </a:xfrm>
          <a:prstGeom prst="rect">
            <a:avLst/>
          </a:prstGeom>
        </p:spPr>
        <p:txBody>
          <a:bodyPr anchor="ctr"/>
          <a:lstStyle>
            <a:lvl1pPr rtl="0">
              <a:spcAft>
                <a:spcPts val="0"/>
              </a:spcAft>
              <a:buNone/>
              <a:defRPr sz="1600" b="0" i="0">
                <a:latin typeface="Graphik" panose="020B0503030202060203" pitchFamily="34" charset="77"/>
              </a:defRPr>
            </a:lvl1pPr>
          </a:lstStyle>
          <a:p>
            <a:pPr lvl="0"/>
            <a:r>
              <a:rPr lang="pt-BR"/>
              <a:t>Insert agenda item</a:t>
            </a:r>
            <a:endParaRPr lang="pt-BR" dirty="0"/>
          </a:p>
        </p:txBody>
      </p:sp>
      <p:sp>
        <p:nvSpPr>
          <p:cNvPr id="34" name="Text Placeholder 13">
            <a:extLst>
              <a:ext uri="{FF2B5EF4-FFF2-40B4-BE49-F238E27FC236}">
                <a16:creationId xmlns:a16="http://schemas.microsoft.com/office/drawing/2014/main" id="{B70B7DFE-5DE8-0F42-BF3C-DA43110C0D0E}"/>
              </a:ext>
            </a:extLst>
          </p:cNvPr>
          <p:cNvSpPr>
            <a:spLocks noGrp="1"/>
          </p:cNvSpPr>
          <p:nvPr>
            <p:ph type="body" sz="quarter" idx="36" hasCustomPrompt="1"/>
          </p:nvPr>
        </p:nvSpPr>
        <p:spPr>
          <a:xfrm>
            <a:off x="4426241" y="4395991"/>
            <a:ext cx="405128" cy="485340"/>
          </a:xfrm>
          <a:prstGeom prst="rect">
            <a:avLst/>
          </a:prstGeom>
        </p:spPr>
        <p:txBody>
          <a:bodyPr anchor="ctr"/>
          <a:lstStyle>
            <a:lvl1pPr marL="0" marR="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sz="1800" b="0">
                <a:solidFill>
                  <a:schemeClr val="bg2"/>
                </a:solidFill>
                <a:latin typeface="Graphik Semibold" panose="020B0703030202060203" pitchFamily="34" charset="0"/>
              </a:defRPr>
            </a:lvl1pPr>
          </a:lstStyle>
          <a:p>
            <a:pPr marL="0" marR="0" lvl="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a:pPr>
            <a:r>
              <a:rPr lang="pt-BR"/>
              <a:t>##</a:t>
            </a:r>
            <a:endParaRPr lang="pt-BR" dirty="0"/>
          </a:p>
        </p:txBody>
      </p:sp>
      <p:sp>
        <p:nvSpPr>
          <p:cNvPr id="65" name="Text Placeholder 14">
            <a:extLst>
              <a:ext uri="{FF2B5EF4-FFF2-40B4-BE49-F238E27FC236}">
                <a16:creationId xmlns:a16="http://schemas.microsoft.com/office/drawing/2014/main" id="{F28AA3EC-0083-2742-A4D0-0B32569FD766}"/>
              </a:ext>
            </a:extLst>
          </p:cNvPr>
          <p:cNvSpPr>
            <a:spLocks noGrp="1"/>
          </p:cNvSpPr>
          <p:nvPr>
            <p:ph type="body" sz="quarter" idx="26" hasCustomPrompt="1"/>
          </p:nvPr>
        </p:nvSpPr>
        <p:spPr>
          <a:xfrm>
            <a:off x="4966974" y="4395991"/>
            <a:ext cx="2783175" cy="485340"/>
          </a:xfrm>
          <a:prstGeom prst="rect">
            <a:avLst/>
          </a:prstGeom>
        </p:spPr>
        <p:txBody>
          <a:bodyPr anchor="ctr"/>
          <a:lstStyle>
            <a:lvl1pPr rtl="0">
              <a:spcAft>
                <a:spcPts val="0"/>
              </a:spcAft>
              <a:buNone/>
              <a:defRPr sz="1600" b="0" i="0">
                <a:latin typeface="Graphik" panose="020B0503030202060203" pitchFamily="34" charset="77"/>
              </a:defRPr>
            </a:lvl1pPr>
          </a:lstStyle>
          <a:p>
            <a:pPr lvl="0"/>
            <a:r>
              <a:rPr lang="pt-BR"/>
              <a:t>Insert agenda item</a:t>
            </a:r>
            <a:endParaRPr lang="pt-BR" dirty="0"/>
          </a:p>
        </p:txBody>
      </p:sp>
      <p:sp>
        <p:nvSpPr>
          <p:cNvPr id="35" name="Text Placeholder 15">
            <a:extLst>
              <a:ext uri="{FF2B5EF4-FFF2-40B4-BE49-F238E27FC236}">
                <a16:creationId xmlns:a16="http://schemas.microsoft.com/office/drawing/2014/main" id="{D63FCDAD-F7F9-774F-8EC9-A0777820ED0F}"/>
              </a:ext>
            </a:extLst>
          </p:cNvPr>
          <p:cNvSpPr>
            <a:spLocks noGrp="1"/>
          </p:cNvSpPr>
          <p:nvPr>
            <p:ph type="body" sz="quarter" idx="37" hasCustomPrompt="1"/>
          </p:nvPr>
        </p:nvSpPr>
        <p:spPr>
          <a:xfrm>
            <a:off x="4426241" y="5000870"/>
            <a:ext cx="405128" cy="485340"/>
          </a:xfrm>
          <a:prstGeom prst="rect">
            <a:avLst/>
          </a:prstGeom>
        </p:spPr>
        <p:txBody>
          <a:bodyPr anchor="ctr"/>
          <a:lstStyle>
            <a:lvl1pPr marL="0" marR="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sz="1800" b="0">
                <a:solidFill>
                  <a:schemeClr val="bg2"/>
                </a:solidFill>
                <a:latin typeface="Graphik Semibold" panose="020B0703030202060203" pitchFamily="34" charset="0"/>
              </a:defRPr>
            </a:lvl1pPr>
          </a:lstStyle>
          <a:p>
            <a:pPr marL="0" marR="0" lvl="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a:pPr>
            <a:r>
              <a:rPr lang="pt-BR"/>
              <a:t>##</a:t>
            </a:r>
            <a:endParaRPr lang="pt-BR" dirty="0"/>
          </a:p>
        </p:txBody>
      </p:sp>
      <p:sp>
        <p:nvSpPr>
          <p:cNvPr id="67" name="Text Placeholder 16">
            <a:extLst>
              <a:ext uri="{FF2B5EF4-FFF2-40B4-BE49-F238E27FC236}">
                <a16:creationId xmlns:a16="http://schemas.microsoft.com/office/drawing/2014/main" id="{D46DA866-B19E-684E-8A23-EEA295487841}"/>
              </a:ext>
            </a:extLst>
          </p:cNvPr>
          <p:cNvSpPr>
            <a:spLocks noGrp="1"/>
          </p:cNvSpPr>
          <p:nvPr>
            <p:ph type="body" sz="quarter" idx="28" hasCustomPrompt="1"/>
          </p:nvPr>
        </p:nvSpPr>
        <p:spPr>
          <a:xfrm>
            <a:off x="4966974" y="5000870"/>
            <a:ext cx="2783175" cy="485340"/>
          </a:xfrm>
          <a:prstGeom prst="rect">
            <a:avLst/>
          </a:prstGeom>
        </p:spPr>
        <p:txBody>
          <a:bodyPr anchor="ctr"/>
          <a:lstStyle>
            <a:lvl1pPr rtl="0">
              <a:spcAft>
                <a:spcPts val="0"/>
              </a:spcAft>
              <a:buNone/>
              <a:defRPr sz="1600" b="0" i="0">
                <a:latin typeface="Graphik" panose="020B0503030202060203" pitchFamily="34" charset="77"/>
              </a:defRPr>
            </a:lvl1pPr>
          </a:lstStyle>
          <a:p>
            <a:pPr lvl="0"/>
            <a:r>
              <a:rPr lang="pt-BR"/>
              <a:t>Insert agenda item</a:t>
            </a:r>
            <a:endParaRPr lang="pt-BR" dirty="0"/>
          </a:p>
        </p:txBody>
      </p:sp>
      <p:sp>
        <p:nvSpPr>
          <p:cNvPr id="36" name="Text Placeholder 17">
            <a:extLst>
              <a:ext uri="{FF2B5EF4-FFF2-40B4-BE49-F238E27FC236}">
                <a16:creationId xmlns:a16="http://schemas.microsoft.com/office/drawing/2014/main" id="{AE66CCF5-C5F4-5645-A851-E4A7D572FDA7}"/>
              </a:ext>
            </a:extLst>
          </p:cNvPr>
          <p:cNvSpPr>
            <a:spLocks noGrp="1"/>
          </p:cNvSpPr>
          <p:nvPr>
            <p:ph type="body" sz="quarter" idx="38" hasCustomPrompt="1"/>
          </p:nvPr>
        </p:nvSpPr>
        <p:spPr>
          <a:xfrm>
            <a:off x="4426241" y="5605747"/>
            <a:ext cx="405128" cy="485340"/>
          </a:xfrm>
          <a:prstGeom prst="rect">
            <a:avLst/>
          </a:prstGeom>
        </p:spPr>
        <p:txBody>
          <a:bodyPr anchor="ctr"/>
          <a:lstStyle>
            <a:lvl1pPr marL="0" marR="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sz="1800" b="0">
                <a:solidFill>
                  <a:schemeClr val="bg2"/>
                </a:solidFill>
                <a:latin typeface="Graphik Semibold" panose="020B0703030202060203" pitchFamily="34" charset="0"/>
              </a:defRPr>
            </a:lvl1pPr>
          </a:lstStyle>
          <a:p>
            <a:pPr marL="0" marR="0" lvl="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a:pPr>
            <a:r>
              <a:rPr lang="pt-BR"/>
              <a:t>##</a:t>
            </a:r>
            <a:endParaRPr lang="pt-BR" dirty="0"/>
          </a:p>
        </p:txBody>
      </p:sp>
      <p:sp>
        <p:nvSpPr>
          <p:cNvPr id="69" name="Text Placeholder 18">
            <a:extLst>
              <a:ext uri="{FF2B5EF4-FFF2-40B4-BE49-F238E27FC236}">
                <a16:creationId xmlns:a16="http://schemas.microsoft.com/office/drawing/2014/main" id="{A4A135E2-DF01-5543-BA57-DFBCCC446A3A}"/>
              </a:ext>
            </a:extLst>
          </p:cNvPr>
          <p:cNvSpPr>
            <a:spLocks noGrp="1"/>
          </p:cNvSpPr>
          <p:nvPr>
            <p:ph type="body" sz="quarter" idx="30" hasCustomPrompt="1"/>
          </p:nvPr>
        </p:nvSpPr>
        <p:spPr>
          <a:xfrm>
            <a:off x="4966974" y="5605747"/>
            <a:ext cx="2783175" cy="485340"/>
          </a:xfrm>
          <a:prstGeom prst="rect">
            <a:avLst/>
          </a:prstGeom>
        </p:spPr>
        <p:txBody>
          <a:bodyPr anchor="ctr"/>
          <a:lstStyle>
            <a:lvl1pPr rtl="0">
              <a:spcAft>
                <a:spcPts val="0"/>
              </a:spcAft>
              <a:buNone/>
              <a:defRPr sz="1600" b="0" i="0">
                <a:latin typeface="Graphik" panose="020B0503030202060203" pitchFamily="34" charset="77"/>
              </a:defRPr>
            </a:lvl1pPr>
          </a:lstStyle>
          <a:p>
            <a:pPr lvl="0"/>
            <a:r>
              <a:rPr lang="pt-BR"/>
              <a:t>Insert agenda item</a:t>
            </a:r>
            <a:endParaRPr lang="pt-BR" dirty="0"/>
          </a:p>
        </p:txBody>
      </p:sp>
      <p:sp>
        <p:nvSpPr>
          <p:cNvPr id="94" name="Text Placeholder 19">
            <a:extLst>
              <a:ext uri="{FF2B5EF4-FFF2-40B4-BE49-F238E27FC236}">
                <a16:creationId xmlns:a16="http://schemas.microsoft.com/office/drawing/2014/main" id="{ED51288A-4DF8-0D4F-8BBC-90AE60B66177}"/>
              </a:ext>
            </a:extLst>
          </p:cNvPr>
          <p:cNvSpPr>
            <a:spLocks noGrp="1"/>
          </p:cNvSpPr>
          <p:nvPr>
            <p:ph type="body" sz="quarter" idx="47" hasCustomPrompt="1"/>
          </p:nvPr>
        </p:nvSpPr>
        <p:spPr>
          <a:xfrm>
            <a:off x="8317231" y="1371602"/>
            <a:ext cx="405128" cy="485340"/>
          </a:xfrm>
          <a:prstGeom prst="rect">
            <a:avLst/>
          </a:prstGeom>
        </p:spPr>
        <p:txBody>
          <a:bodyPr anchor="ctr"/>
          <a:lstStyle>
            <a:lvl1pPr marL="0" marR="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sz="1800" b="0">
                <a:solidFill>
                  <a:schemeClr val="bg2"/>
                </a:solidFill>
                <a:latin typeface="Graphik Semibold" panose="020B0703030202060203" pitchFamily="34" charset="0"/>
              </a:defRPr>
            </a:lvl1pPr>
          </a:lstStyle>
          <a:p>
            <a:pPr marL="0" marR="0" lvl="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a:pPr>
            <a:r>
              <a:rPr lang="pt-BR"/>
              <a:t>##</a:t>
            </a:r>
            <a:endParaRPr lang="pt-BR" dirty="0"/>
          </a:p>
        </p:txBody>
      </p:sp>
      <p:sp>
        <p:nvSpPr>
          <p:cNvPr id="86" name="Text Placeholder 20">
            <a:extLst>
              <a:ext uri="{FF2B5EF4-FFF2-40B4-BE49-F238E27FC236}">
                <a16:creationId xmlns:a16="http://schemas.microsoft.com/office/drawing/2014/main" id="{C10680BC-1106-B24D-A63E-02912A27325E}"/>
              </a:ext>
            </a:extLst>
          </p:cNvPr>
          <p:cNvSpPr>
            <a:spLocks noGrp="1"/>
          </p:cNvSpPr>
          <p:nvPr>
            <p:ph type="body" sz="quarter" idx="39" hasCustomPrompt="1"/>
          </p:nvPr>
        </p:nvSpPr>
        <p:spPr>
          <a:xfrm>
            <a:off x="8857963" y="1371602"/>
            <a:ext cx="2783175" cy="485340"/>
          </a:xfrm>
          <a:prstGeom prst="rect">
            <a:avLst/>
          </a:prstGeom>
        </p:spPr>
        <p:txBody>
          <a:bodyPr anchor="ctr"/>
          <a:lstStyle>
            <a:lvl1pPr rtl="0">
              <a:spcAft>
                <a:spcPts val="0"/>
              </a:spcAft>
              <a:buNone/>
              <a:defRPr sz="1600" b="0" i="0">
                <a:latin typeface="Graphik" panose="020B0503030202060203" pitchFamily="34" charset="77"/>
              </a:defRPr>
            </a:lvl1pPr>
          </a:lstStyle>
          <a:p>
            <a:pPr lvl="0"/>
            <a:r>
              <a:rPr lang="pt-BR"/>
              <a:t>Insert agenda item</a:t>
            </a:r>
            <a:endParaRPr lang="pt-BR" dirty="0"/>
          </a:p>
        </p:txBody>
      </p:sp>
      <p:sp>
        <p:nvSpPr>
          <p:cNvPr id="95" name="Text Placeholder 21">
            <a:extLst>
              <a:ext uri="{FF2B5EF4-FFF2-40B4-BE49-F238E27FC236}">
                <a16:creationId xmlns:a16="http://schemas.microsoft.com/office/drawing/2014/main" id="{B55123CE-2705-2A4C-88D5-5BEECF04606C}"/>
              </a:ext>
            </a:extLst>
          </p:cNvPr>
          <p:cNvSpPr>
            <a:spLocks noGrp="1"/>
          </p:cNvSpPr>
          <p:nvPr>
            <p:ph type="body" sz="quarter" idx="48" hasCustomPrompt="1"/>
          </p:nvPr>
        </p:nvSpPr>
        <p:spPr>
          <a:xfrm>
            <a:off x="8317231" y="1976479"/>
            <a:ext cx="405128" cy="485340"/>
          </a:xfrm>
          <a:prstGeom prst="rect">
            <a:avLst/>
          </a:prstGeom>
        </p:spPr>
        <p:txBody>
          <a:bodyPr anchor="ctr"/>
          <a:lstStyle>
            <a:lvl1pPr marL="0" marR="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sz="1800" b="0">
                <a:solidFill>
                  <a:schemeClr val="bg2"/>
                </a:solidFill>
                <a:latin typeface="Graphik Semibold" panose="020B0703030202060203" pitchFamily="34" charset="0"/>
              </a:defRPr>
            </a:lvl1pPr>
          </a:lstStyle>
          <a:p>
            <a:pPr marL="0" marR="0" lvl="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a:pPr>
            <a:r>
              <a:rPr lang="pt-BR"/>
              <a:t>##</a:t>
            </a:r>
            <a:endParaRPr lang="pt-BR" dirty="0"/>
          </a:p>
        </p:txBody>
      </p:sp>
      <p:sp>
        <p:nvSpPr>
          <p:cNvPr id="87" name="Text Placeholder 22">
            <a:extLst>
              <a:ext uri="{FF2B5EF4-FFF2-40B4-BE49-F238E27FC236}">
                <a16:creationId xmlns:a16="http://schemas.microsoft.com/office/drawing/2014/main" id="{194D437D-E8B7-694E-B60A-5A3D6E811713}"/>
              </a:ext>
            </a:extLst>
          </p:cNvPr>
          <p:cNvSpPr>
            <a:spLocks noGrp="1"/>
          </p:cNvSpPr>
          <p:nvPr>
            <p:ph type="body" sz="quarter" idx="40" hasCustomPrompt="1"/>
          </p:nvPr>
        </p:nvSpPr>
        <p:spPr>
          <a:xfrm>
            <a:off x="8857963" y="1976479"/>
            <a:ext cx="2783175" cy="485340"/>
          </a:xfrm>
          <a:prstGeom prst="rect">
            <a:avLst/>
          </a:prstGeom>
        </p:spPr>
        <p:txBody>
          <a:bodyPr anchor="ctr"/>
          <a:lstStyle>
            <a:lvl1pPr rtl="0">
              <a:spcAft>
                <a:spcPts val="0"/>
              </a:spcAft>
              <a:buNone/>
              <a:defRPr sz="1600" b="0" i="0">
                <a:latin typeface="Graphik" panose="020B0503030202060203" pitchFamily="34" charset="77"/>
              </a:defRPr>
            </a:lvl1pPr>
          </a:lstStyle>
          <a:p>
            <a:pPr lvl="0"/>
            <a:r>
              <a:rPr lang="pt-BR"/>
              <a:t>Insert agenda item</a:t>
            </a:r>
            <a:endParaRPr lang="pt-BR" dirty="0"/>
          </a:p>
        </p:txBody>
      </p:sp>
      <p:sp>
        <p:nvSpPr>
          <p:cNvPr id="96" name="Text Placeholder 23">
            <a:extLst>
              <a:ext uri="{FF2B5EF4-FFF2-40B4-BE49-F238E27FC236}">
                <a16:creationId xmlns:a16="http://schemas.microsoft.com/office/drawing/2014/main" id="{95340386-A048-C64F-B858-E874FB9006DC}"/>
              </a:ext>
            </a:extLst>
          </p:cNvPr>
          <p:cNvSpPr>
            <a:spLocks noGrp="1"/>
          </p:cNvSpPr>
          <p:nvPr>
            <p:ph type="body" sz="quarter" idx="49" hasCustomPrompt="1"/>
          </p:nvPr>
        </p:nvSpPr>
        <p:spPr>
          <a:xfrm>
            <a:off x="8317231" y="2581358"/>
            <a:ext cx="405128" cy="485340"/>
          </a:xfrm>
          <a:prstGeom prst="rect">
            <a:avLst/>
          </a:prstGeom>
        </p:spPr>
        <p:txBody>
          <a:bodyPr anchor="ctr"/>
          <a:lstStyle>
            <a:lvl1pPr marL="0" marR="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sz="1800" b="0">
                <a:solidFill>
                  <a:schemeClr val="bg2"/>
                </a:solidFill>
                <a:latin typeface="Graphik Semibold" panose="020B0703030202060203" pitchFamily="34" charset="0"/>
              </a:defRPr>
            </a:lvl1pPr>
          </a:lstStyle>
          <a:p>
            <a:pPr marL="0" marR="0" lvl="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a:pPr>
            <a:r>
              <a:rPr lang="pt-BR"/>
              <a:t>##</a:t>
            </a:r>
            <a:endParaRPr lang="pt-BR" dirty="0"/>
          </a:p>
        </p:txBody>
      </p:sp>
      <p:sp>
        <p:nvSpPr>
          <p:cNvPr id="88" name="Text Placeholder 24">
            <a:extLst>
              <a:ext uri="{FF2B5EF4-FFF2-40B4-BE49-F238E27FC236}">
                <a16:creationId xmlns:a16="http://schemas.microsoft.com/office/drawing/2014/main" id="{D743CFF4-B173-B648-86A6-5021F5FB8C07}"/>
              </a:ext>
            </a:extLst>
          </p:cNvPr>
          <p:cNvSpPr>
            <a:spLocks noGrp="1"/>
          </p:cNvSpPr>
          <p:nvPr>
            <p:ph type="body" sz="quarter" idx="41" hasCustomPrompt="1"/>
          </p:nvPr>
        </p:nvSpPr>
        <p:spPr>
          <a:xfrm>
            <a:off x="8857963" y="2581358"/>
            <a:ext cx="2783175" cy="485340"/>
          </a:xfrm>
          <a:prstGeom prst="rect">
            <a:avLst/>
          </a:prstGeom>
        </p:spPr>
        <p:txBody>
          <a:bodyPr anchor="ctr"/>
          <a:lstStyle>
            <a:lvl1pPr rtl="0">
              <a:spcAft>
                <a:spcPts val="0"/>
              </a:spcAft>
              <a:buNone/>
              <a:defRPr sz="1600" b="0" i="0">
                <a:latin typeface="Graphik" panose="020B0503030202060203" pitchFamily="34" charset="77"/>
              </a:defRPr>
            </a:lvl1pPr>
          </a:lstStyle>
          <a:p>
            <a:pPr lvl="0"/>
            <a:r>
              <a:rPr lang="pt-BR"/>
              <a:t>Insert agenda item</a:t>
            </a:r>
            <a:endParaRPr lang="pt-BR" dirty="0"/>
          </a:p>
        </p:txBody>
      </p:sp>
      <p:sp>
        <p:nvSpPr>
          <p:cNvPr id="97" name="Text Placeholder 25">
            <a:extLst>
              <a:ext uri="{FF2B5EF4-FFF2-40B4-BE49-F238E27FC236}">
                <a16:creationId xmlns:a16="http://schemas.microsoft.com/office/drawing/2014/main" id="{389D3522-38D0-6A46-B023-28998ECDD0FA}"/>
              </a:ext>
            </a:extLst>
          </p:cNvPr>
          <p:cNvSpPr>
            <a:spLocks noGrp="1"/>
          </p:cNvSpPr>
          <p:nvPr>
            <p:ph type="body" sz="quarter" idx="50" hasCustomPrompt="1"/>
          </p:nvPr>
        </p:nvSpPr>
        <p:spPr>
          <a:xfrm>
            <a:off x="8317231" y="3186235"/>
            <a:ext cx="405128" cy="485340"/>
          </a:xfrm>
          <a:prstGeom prst="rect">
            <a:avLst/>
          </a:prstGeom>
        </p:spPr>
        <p:txBody>
          <a:bodyPr anchor="ctr"/>
          <a:lstStyle>
            <a:lvl1pPr marL="0" marR="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sz="1800" b="0">
                <a:solidFill>
                  <a:schemeClr val="bg2"/>
                </a:solidFill>
                <a:latin typeface="Graphik Semibold" panose="020B0703030202060203" pitchFamily="34" charset="0"/>
              </a:defRPr>
            </a:lvl1pPr>
          </a:lstStyle>
          <a:p>
            <a:pPr marL="0" marR="0" lvl="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a:pPr>
            <a:r>
              <a:rPr lang="pt-BR"/>
              <a:t>##</a:t>
            </a:r>
            <a:endParaRPr lang="pt-BR" dirty="0"/>
          </a:p>
        </p:txBody>
      </p:sp>
      <p:sp>
        <p:nvSpPr>
          <p:cNvPr id="89" name="Text Placeholder 26">
            <a:extLst>
              <a:ext uri="{FF2B5EF4-FFF2-40B4-BE49-F238E27FC236}">
                <a16:creationId xmlns:a16="http://schemas.microsoft.com/office/drawing/2014/main" id="{67B9EDF9-023B-A84C-B540-ABBA3E3BA5C0}"/>
              </a:ext>
            </a:extLst>
          </p:cNvPr>
          <p:cNvSpPr>
            <a:spLocks noGrp="1"/>
          </p:cNvSpPr>
          <p:nvPr>
            <p:ph type="body" sz="quarter" idx="42" hasCustomPrompt="1"/>
          </p:nvPr>
        </p:nvSpPr>
        <p:spPr>
          <a:xfrm>
            <a:off x="8857963" y="3186235"/>
            <a:ext cx="2783175" cy="485340"/>
          </a:xfrm>
          <a:prstGeom prst="rect">
            <a:avLst/>
          </a:prstGeom>
        </p:spPr>
        <p:txBody>
          <a:bodyPr anchor="ctr"/>
          <a:lstStyle>
            <a:lvl1pPr rtl="0">
              <a:spcAft>
                <a:spcPts val="0"/>
              </a:spcAft>
              <a:buNone/>
              <a:defRPr sz="1600" b="0" i="0">
                <a:latin typeface="Graphik" panose="020B0503030202060203" pitchFamily="34" charset="77"/>
              </a:defRPr>
            </a:lvl1pPr>
          </a:lstStyle>
          <a:p>
            <a:pPr lvl="0"/>
            <a:r>
              <a:rPr lang="pt-BR"/>
              <a:t>Insert agenda item</a:t>
            </a:r>
            <a:endParaRPr lang="pt-BR" dirty="0"/>
          </a:p>
        </p:txBody>
      </p:sp>
      <p:sp>
        <p:nvSpPr>
          <p:cNvPr id="98" name="Text Placeholder 27">
            <a:extLst>
              <a:ext uri="{FF2B5EF4-FFF2-40B4-BE49-F238E27FC236}">
                <a16:creationId xmlns:a16="http://schemas.microsoft.com/office/drawing/2014/main" id="{DFF1DA35-A5DD-8E48-B33F-D2FC79AD9AF0}"/>
              </a:ext>
            </a:extLst>
          </p:cNvPr>
          <p:cNvSpPr>
            <a:spLocks noGrp="1"/>
          </p:cNvSpPr>
          <p:nvPr>
            <p:ph type="body" sz="quarter" idx="51" hasCustomPrompt="1"/>
          </p:nvPr>
        </p:nvSpPr>
        <p:spPr>
          <a:xfrm>
            <a:off x="8317231" y="3791114"/>
            <a:ext cx="405128" cy="485340"/>
          </a:xfrm>
          <a:prstGeom prst="rect">
            <a:avLst/>
          </a:prstGeom>
        </p:spPr>
        <p:txBody>
          <a:bodyPr anchor="ctr"/>
          <a:lstStyle>
            <a:lvl1pPr marL="0" marR="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sz="1800" b="0">
                <a:solidFill>
                  <a:schemeClr val="bg2"/>
                </a:solidFill>
                <a:latin typeface="Graphik Semibold" panose="020B0703030202060203" pitchFamily="34" charset="0"/>
              </a:defRPr>
            </a:lvl1pPr>
          </a:lstStyle>
          <a:p>
            <a:pPr marL="0" marR="0" lvl="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a:pPr>
            <a:r>
              <a:rPr lang="pt-BR"/>
              <a:t>##</a:t>
            </a:r>
            <a:endParaRPr lang="pt-BR" dirty="0"/>
          </a:p>
        </p:txBody>
      </p:sp>
      <p:sp>
        <p:nvSpPr>
          <p:cNvPr id="90" name="Text Placeholder 28">
            <a:extLst>
              <a:ext uri="{FF2B5EF4-FFF2-40B4-BE49-F238E27FC236}">
                <a16:creationId xmlns:a16="http://schemas.microsoft.com/office/drawing/2014/main" id="{EA82EDEB-3F03-7A48-BC36-8C7437083F46}"/>
              </a:ext>
            </a:extLst>
          </p:cNvPr>
          <p:cNvSpPr>
            <a:spLocks noGrp="1"/>
          </p:cNvSpPr>
          <p:nvPr>
            <p:ph type="body" sz="quarter" idx="43" hasCustomPrompt="1"/>
          </p:nvPr>
        </p:nvSpPr>
        <p:spPr>
          <a:xfrm>
            <a:off x="8857963" y="3791114"/>
            <a:ext cx="2783175" cy="485340"/>
          </a:xfrm>
          <a:prstGeom prst="rect">
            <a:avLst/>
          </a:prstGeom>
        </p:spPr>
        <p:txBody>
          <a:bodyPr anchor="ctr"/>
          <a:lstStyle>
            <a:lvl1pPr rtl="0">
              <a:spcAft>
                <a:spcPts val="0"/>
              </a:spcAft>
              <a:buNone/>
              <a:defRPr sz="1600" b="0" i="0">
                <a:latin typeface="Graphik" panose="020B0503030202060203" pitchFamily="34" charset="77"/>
              </a:defRPr>
            </a:lvl1pPr>
          </a:lstStyle>
          <a:p>
            <a:pPr lvl="0"/>
            <a:r>
              <a:rPr lang="pt-BR"/>
              <a:t>Insert agenda item</a:t>
            </a:r>
            <a:endParaRPr lang="pt-BR" dirty="0"/>
          </a:p>
        </p:txBody>
      </p:sp>
      <p:sp>
        <p:nvSpPr>
          <p:cNvPr id="99" name="Text Placeholder 29">
            <a:extLst>
              <a:ext uri="{FF2B5EF4-FFF2-40B4-BE49-F238E27FC236}">
                <a16:creationId xmlns:a16="http://schemas.microsoft.com/office/drawing/2014/main" id="{2DD1FA43-908E-6A4A-8D78-19F781C138B2}"/>
              </a:ext>
            </a:extLst>
          </p:cNvPr>
          <p:cNvSpPr>
            <a:spLocks noGrp="1"/>
          </p:cNvSpPr>
          <p:nvPr>
            <p:ph type="body" sz="quarter" idx="52" hasCustomPrompt="1"/>
          </p:nvPr>
        </p:nvSpPr>
        <p:spPr>
          <a:xfrm>
            <a:off x="8317231" y="4395991"/>
            <a:ext cx="405128" cy="485340"/>
          </a:xfrm>
          <a:prstGeom prst="rect">
            <a:avLst/>
          </a:prstGeom>
        </p:spPr>
        <p:txBody>
          <a:bodyPr anchor="ctr"/>
          <a:lstStyle>
            <a:lvl1pPr marL="0" marR="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sz="1800" b="0">
                <a:solidFill>
                  <a:schemeClr val="bg2"/>
                </a:solidFill>
                <a:latin typeface="Graphik Semibold" panose="020B0703030202060203" pitchFamily="34" charset="0"/>
              </a:defRPr>
            </a:lvl1pPr>
          </a:lstStyle>
          <a:p>
            <a:pPr marL="0" marR="0" lvl="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a:pPr>
            <a:r>
              <a:rPr lang="pt-BR"/>
              <a:t>##</a:t>
            </a:r>
            <a:endParaRPr lang="pt-BR" dirty="0"/>
          </a:p>
        </p:txBody>
      </p:sp>
      <p:sp>
        <p:nvSpPr>
          <p:cNvPr id="91" name="Text Placeholder 30">
            <a:extLst>
              <a:ext uri="{FF2B5EF4-FFF2-40B4-BE49-F238E27FC236}">
                <a16:creationId xmlns:a16="http://schemas.microsoft.com/office/drawing/2014/main" id="{8D7A3AD2-4413-D941-B944-D1D235AC6689}"/>
              </a:ext>
            </a:extLst>
          </p:cNvPr>
          <p:cNvSpPr>
            <a:spLocks noGrp="1"/>
          </p:cNvSpPr>
          <p:nvPr>
            <p:ph type="body" sz="quarter" idx="44" hasCustomPrompt="1"/>
          </p:nvPr>
        </p:nvSpPr>
        <p:spPr>
          <a:xfrm>
            <a:off x="8857963" y="4395991"/>
            <a:ext cx="2783175" cy="485340"/>
          </a:xfrm>
          <a:prstGeom prst="rect">
            <a:avLst/>
          </a:prstGeom>
        </p:spPr>
        <p:txBody>
          <a:bodyPr anchor="ctr"/>
          <a:lstStyle>
            <a:lvl1pPr rtl="0">
              <a:spcAft>
                <a:spcPts val="0"/>
              </a:spcAft>
              <a:buNone/>
              <a:defRPr sz="1600" b="0" i="0">
                <a:latin typeface="Graphik" panose="020B0503030202060203" pitchFamily="34" charset="77"/>
              </a:defRPr>
            </a:lvl1pPr>
          </a:lstStyle>
          <a:p>
            <a:pPr lvl="0"/>
            <a:r>
              <a:rPr lang="pt-BR"/>
              <a:t>Insert agenda item</a:t>
            </a:r>
            <a:endParaRPr lang="pt-BR" dirty="0"/>
          </a:p>
        </p:txBody>
      </p:sp>
      <p:sp>
        <p:nvSpPr>
          <p:cNvPr id="100" name="Text Placeholder 31">
            <a:extLst>
              <a:ext uri="{FF2B5EF4-FFF2-40B4-BE49-F238E27FC236}">
                <a16:creationId xmlns:a16="http://schemas.microsoft.com/office/drawing/2014/main" id="{B42DF6FB-CEA5-344B-B42D-A5B8AF0712F6}"/>
              </a:ext>
            </a:extLst>
          </p:cNvPr>
          <p:cNvSpPr>
            <a:spLocks noGrp="1"/>
          </p:cNvSpPr>
          <p:nvPr>
            <p:ph type="body" sz="quarter" idx="53" hasCustomPrompt="1"/>
          </p:nvPr>
        </p:nvSpPr>
        <p:spPr>
          <a:xfrm>
            <a:off x="8317231" y="5000870"/>
            <a:ext cx="405128" cy="485340"/>
          </a:xfrm>
          <a:prstGeom prst="rect">
            <a:avLst/>
          </a:prstGeom>
        </p:spPr>
        <p:txBody>
          <a:bodyPr anchor="ctr"/>
          <a:lstStyle>
            <a:lvl1pPr marL="0" marR="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sz="1800" b="0">
                <a:solidFill>
                  <a:schemeClr val="bg2"/>
                </a:solidFill>
                <a:latin typeface="Graphik Semibold" panose="020B0703030202060203" pitchFamily="34" charset="0"/>
              </a:defRPr>
            </a:lvl1pPr>
          </a:lstStyle>
          <a:p>
            <a:pPr marL="0" marR="0" lvl="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a:pPr>
            <a:r>
              <a:rPr lang="pt-BR"/>
              <a:t>##</a:t>
            </a:r>
            <a:endParaRPr lang="pt-BR" dirty="0"/>
          </a:p>
        </p:txBody>
      </p:sp>
      <p:sp>
        <p:nvSpPr>
          <p:cNvPr id="92" name="Text Placeholder 32">
            <a:extLst>
              <a:ext uri="{FF2B5EF4-FFF2-40B4-BE49-F238E27FC236}">
                <a16:creationId xmlns:a16="http://schemas.microsoft.com/office/drawing/2014/main" id="{F5014509-24B5-6040-8686-31A95601E0B3}"/>
              </a:ext>
            </a:extLst>
          </p:cNvPr>
          <p:cNvSpPr>
            <a:spLocks noGrp="1"/>
          </p:cNvSpPr>
          <p:nvPr>
            <p:ph type="body" sz="quarter" idx="45" hasCustomPrompt="1"/>
          </p:nvPr>
        </p:nvSpPr>
        <p:spPr>
          <a:xfrm>
            <a:off x="8857963" y="5000870"/>
            <a:ext cx="2783175" cy="485340"/>
          </a:xfrm>
          <a:prstGeom prst="rect">
            <a:avLst/>
          </a:prstGeom>
        </p:spPr>
        <p:txBody>
          <a:bodyPr anchor="ctr"/>
          <a:lstStyle>
            <a:lvl1pPr rtl="0">
              <a:spcAft>
                <a:spcPts val="0"/>
              </a:spcAft>
              <a:buNone/>
              <a:defRPr sz="1600" b="0" i="0">
                <a:latin typeface="Graphik" panose="020B0503030202060203" pitchFamily="34" charset="77"/>
              </a:defRPr>
            </a:lvl1pPr>
          </a:lstStyle>
          <a:p>
            <a:pPr lvl="0"/>
            <a:r>
              <a:rPr lang="pt-BR"/>
              <a:t>Insert agenda item</a:t>
            </a:r>
            <a:endParaRPr lang="pt-BR" dirty="0"/>
          </a:p>
        </p:txBody>
      </p:sp>
      <p:sp>
        <p:nvSpPr>
          <p:cNvPr id="101" name="Text Placeholder 33">
            <a:extLst>
              <a:ext uri="{FF2B5EF4-FFF2-40B4-BE49-F238E27FC236}">
                <a16:creationId xmlns:a16="http://schemas.microsoft.com/office/drawing/2014/main" id="{DD7618EA-1B4E-9D4F-BE9D-ED39BC26377B}"/>
              </a:ext>
            </a:extLst>
          </p:cNvPr>
          <p:cNvSpPr>
            <a:spLocks noGrp="1"/>
          </p:cNvSpPr>
          <p:nvPr>
            <p:ph type="body" sz="quarter" idx="54" hasCustomPrompt="1"/>
          </p:nvPr>
        </p:nvSpPr>
        <p:spPr>
          <a:xfrm>
            <a:off x="8317231" y="5605747"/>
            <a:ext cx="405128" cy="485340"/>
          </a:xfrm>
          <a:prstGeom prst="rect">
            <a:avLst/>
          </a:prstGeom>
        </p:spPr>
        <p:txBody>
          <a:bodyPr anchor="ctr"/>
          <a:lstStyle>
            <a:lvl1pPr marL="0" marR="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sz="1800" b="0">
                <a:solidFill>
                  <a:schemeClr val="bg2"/>
                </a:solidFill>
                <a:latin typeface="Graphik Semibold" panose="020B0703030202060203" pitchFamily="34" charset="0"/>
              </a:defRPr>
            </a:lvl1pPr>
          </a:lstStyle>
          <a:p>
            <a:pPr marL="0" marR="0" lvl="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a:pPr>
            <a:r>
              <a:rPr lang="pt-BR"/>
              <a:t>##</a:t>
            </a:r>
            <a:endParaRPr lang="pt-BR" dirty="0"/>
          </a:p>
        </p:txBody>
      </p:sp>
      <p:sp>
        <p:nvSpPr>
          <p:cNvPr id="93" name="Text Placeholder 34">
            <a:extLst>
              <a:ext uri="{FF2B5EF4-FFF2-40B4-BE49-F238E27FC236}">
                <a16:creationId xmlns:a16="http://schemas.microsoft.com/office/drawing/2014/main" id="{02B9D5CB-DA36-724C-A996-6331344816A3}"/>
              </a:ext>
            </a:extLst>
          </p:cNvPr>
          <p:cNvSpPr>
            <a:spLocks noGrp="1"/>
          </p:cNvSpPr>
          <p:nvPr>
            <p:ph type="body" sz="quarter" idx="46" hasCustomPrompt="1"/>
          </p:nvPr>
        </p:nvSpPr>
        <p:spPr>
          <a:xfrm>
            <a:off x="8857963" y="5605747"/>
            <a:ext cx="2783175" cy="485340"/>
          </a:xfrm>
          <a:prstGeom prst="rect">
            <a:avLst/>
          </a:prstGeom>
        </p:spPr>
        <p:txBody>
          <a:bodyPr anchor="ctr"/>
          <a:lstStyle>
            <a:lvl1pPr rtl="0">
              <a:spcAft>
                <a:spcPts val="0"/>
              </a:spcAft>
              <a:buNone/>
              <a:defRPr sz="1600" b="0" i="0">
                <a:latin typeface="Graphik" panose="020B0503030202060203" pitchFamily="34" charset="77"/>
              </a:defRPr>
            </a:lvl1pPr>
          </a:lstStyle>
          <a:p>
            <a:pPr lvl="0"/>
            <a:r>
              <a:rPr lang="pt-BR"/>
              <a:t>Insert agenda item</a:t>
            </a:r>
            <a:endParaRPr lang="pt-BR" dirty="0"/>
          </a:p>
        </p:txBody>
      </p:sp>
      <p:cxnSp>
        <p:nvCxnSpPr>
          <p:cNvPr id="4" name="Straight Connector 3">
            <a:extLst>
              <a:ext uri="{FF2B5EF4-FFF2-40B4-BE49-F238E27FC236}">
                <a16:creationId xmlns:a16="http://schemas.microsoft.com/office/drawing/2014/main" id="{D72EABDE-2DC7-B441-8D65-EC926DD10B85}"/>
              </a:ext>
              <a:ext uri="{C183D7F6-B498-43B3-948B-1728B52AA6E4}">
                <adec:decorative xmlns:adec="http://schemas.microsoft.com/office/drawing/2017/decorative" val="1"/>
              </a:ext>
            </a:extLst>
          </p:cNvPr>
          <p:cNvCxnSpPr/>
          <p:nvPr userDrawn="1"/>
        </p:nvCxnSpPr>
        <p:spPr>
          <a:xfrm>
            <a:off x="4045241" y="1371603"/>
            <a:ext cx="0" cy="4719487"/>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9097195"/>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image 1">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74026B-C893-E140-9E1C-4F55B872FDFA}"/>
              </a:ext>
            </a:extLst>
          </p:cNvPr>
          <p:cNvGraphicFramePr>
            <a:graphicFrameLocks noChangeAspect="1"/>
          </p:cNvGraphicFramePr>
          <p:nvPr userDrawn="1">
            <p:custDataLst>
              <p:tags r:id="rId1"/>
            </p:custDataLst>
            <p:extLst>
              <p:ext uri="{D42A27DB-BD31-4B8C-83A1-F6EECF244321}">
                <p14:modId xmlns:p14="http://schemas.microsoft.com/office/powerpoint/2010/main" val="2941760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5" name="think-cell data - do not delete" hidden="1">
                        <a:extLst>
                          <a:ext uri="{FF2B5EF4-FFF2-40B4-BE49-F238E27FC236}">
                            <a16:creationId xmlns:a16="http://schemas.microsoft.com/office/drawing/2014/main" id="{E874026B-C893-E140-9E1C-4F55B872FD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Picture Placeholder 10">
            <a:extLst>
              <a:ext uri="{FF2B5EF4-FFF2-40B4-BE49-F238E27FC236}">
                <a16:creationId xmlns:a16="http://schemas.microsoft.com/office/drawing/2014/main" id="{1798FE22-CDE6-88FF-ACBC-FD9C36E03DFD}"/>
              </a:ext>
            </a:extLst>
          </p:cNvPr>
          <p:cNvSpPr>
            <a:spLocks noGrp="1"/>
          </p:cNvSpPr>
          <p:nvPr>
            <p:ph type="pic" sz="quarter" idx="10"/>
          </p:nvPr>
        </p:nvSpPr>
        <p:spPr>
          <a:xfrm>
            <a:off x="-6349" y="1341439"/>
            <a:ext cx="2329381" cy="4787900"/>
          </a:xfrm>
          <a:solidFill>
            <a:schemeClr val="bg1">
              <a:lumMod val="95000"/>
            </a:schemeClr>
          </a:solidFill>
        </p:spPr>
        <p:txBody>
          <a:bodyPr anchor="ctr"/>
          <a:lstStyle>
            <a:lvl1pPr algn="ctr" rtl="0">
              <a:defRPr/>
            </a:lvl1pPr>
          </a:lstStyle>
          <a:p>
            <a:r>
              <a:rPr lang="pt-BR"/>
              <a:t>Click icon to add picture</a:t>
            </a:r>
            <a:endParaRPr lang="pt-BR" dirty="0"/>
          </a:p>
        </p:txBody>
      </p:sp>
      <p:sp>
        <p:nvSpPr>
          <p:cNvPr id="12" name="Text Placeholder 2">
            <a:extLst>
              <a:ext uri="{FF2B5EF4-FFF2-40B4-BE49-F238E27FC236}">
                <a16:creationId xmlns:a16="http://schemas.microsoft.com/office/drawing/2014/main" id="{F7CBA93D-A16D-15A7-59FB-5DA53C303FE4}"/>
              </a:ext>
            </a:extLst>
          </p:cNvPr>
          <p:cNvSpPr>
            <a:spLocks noGrp="1"/>
          </p:cNvSpPr>
          <p:nvPr>
            <p:ph idx="1" hasCustomPrompt="1"/>
          </p:nvPr>
        </p:nvSpPr>
        <p:spPr>
          <a:xfrm>
            <a:off x="2759509" y="4791684"/>
            <a:ext cx="1913607" cy="1299406"/>
          </a:xfrm>
          <a:prstGeom prst="rect">
            <a:avLst/>
          </a:prstGeom>
        </p:spPr>
        <p:txBody>
          <a:bodyPr vert="horz" lIns="0" tIns="0" rIns="0" bIns="0" rtlCol="0">
            <a:noAutofit/>
          </a:bodyPr>
          <a:lstStyle>
            <a:lvl1pPr rtl="0">
              <a:defRPr sz="1600" b="1" i="0">
                <a:solidFill>
                  <a:schemeClr val="bg2"/>
                </a:solidFill>
                <a:latin typeface="Graphik Semibold" panose="020B0503030202060203" pitchFamily="34" charset="77"/>
              </a:defRPr>
            </a:lvl1pPr>
            <a:lvl2pPr marL="0" indent="0" rtl="0">
              <a:buNone/>
              <a:defRPr sz="1200" b="0" i="0">
                <a:latin typeface="Graphik" panose="020B0503030202060203" pitchFamily="34" charset="77"/>
              </a:defRPr>
            </a:lvl2pPr>
            <a:lvl3pPr marL="16933" indent="0">
              <a:buNone/>
              <a:tabLst/>
              <a:defRPr sz="1200" b="0" i="0">
                <a:latin typeface="Graphik" panose="020B0503030202060203" pitchFamily="34" charset="77"/>
              </a:defRPr>
            </a:lvl3pPr>
            <a:lvl4pPr marL="16933" indent="0">
              <a:buNone/>
              <a:tabLst/>
              <a:defRPr sz="1050" b="0" i="0">
                <a:latin typeface="Graphik" panose="020B0503030202060203" pitchFamily="34" charset="77"/>
              </a:defRPr>
            </a:lvl4pPr>
            <a:lvl5pPr marL="16933" indent="0">
              <a:buNone/>
              <a:tabLst/>
              <a:defRPr sz="1050" b="0" i="0">
                <a:latin typeface="Graphik" panose="020B0503030202060203" pitchFamily="34" charset="77"/>
              </a:defRPr>
            </a:lvl5pPr>
            <a:lvl6pPr>
              <a:defRPr sz="1200" b="0" i="0">
                <a:latin typeface="Graphik" panose="020B0503030202060203" pitchFamily="34" charset="77"/>
              </a:defRPr>
            </a:lvl6pPr>
            <a:lvl7pPr>
              <a:defRPr sz="1050" b="0" i="0">
                <a:latin typeface="Graphik" panose="020B0503030202060203" pitchFamily="34" charset="77"/>
              </a:defRPr>
            </a:lvl7pPr>
            <a:lvl9pPr>
              <a:defRPr sz="1050" b="0" i="0">
                <a:latin typeface="Graphik" panose="020B0503030202060203" pitchFamily="34" charset="77"/>
              </a:defRPr>
            </a:lvl9pPr>
          </a:lstStyle>
          <a:p>
            <a:pPr lvl="0"/>
            <a:r>
              <a:rPr lang="pt-BR"/>
              <a:t>First level (bullet)</a:t>
            </a:r>
          </a:p>
          <a:p>
            <a:pPr lvl="1"/>
            <a:r>
              <a:rPr lang="pt-BR"/>
              <a:t>Insert text here</a:t>
            </a:r>
            <a:endParaRPr lang="pt-BR" dirty="0"/>
          </a:p>
        </p:txBody>
      </p:sp>
      <p:sp>
        <p:nvSpPr>
          <p:cNvPr id="13" name="Text Placeholder 2">
            <a:extLst>
              <a:ext uri="{FF2B5EF4-FFF2-40B4-BE49-F238E27FC236}">
                <a16:creationId xmlns:a16="http://schemas.microsoft.com/office/drawing/2014/main" id="{59F85972-AC4E-08A3-B374-8C2AF42D54FD}"/>
              </a:ext>
            </a:extLst>
          </p:cNvPr>
          <p:cNvSpPr>
            <a:spLocks noGrp="1"/>
          </p:cNvSpPr>
          <p:nvPr>
            <p:ph idx="11" hasCustomPrompt="1"/>
          </p:nvPr>
        </p:nvSpPr>
        <p:spPr>
          <a:xfrm>
            <a:off x="5080176" y="4791684"/>
            <a:ext cx="1913607" cy="1299406"/>
          </a:xfrm>
          <a:prstGeom prst="rect">
            <a:avLst/>
          </a:prstGeom>
        </p:spPr>
        <p:txBody>
          <a:bodyPr vert="horz" lIns="0" tIns="0" rIns="0" bIns="0" rtlCol="0">
            <a:noAutofit/>
          </a:bodyPr>
          <a:lstStyle>
            <a:lvl1pPr rtl="0">
              <a:defRPr sz="1600" b="1" i="0">
                <a:solidFill>
                  <a:schemeClr val="bg2"/>
                </a:solidFill>
                <a:latin typeface="Graphik Semibold" panose="020B0503030202060203" pitchFamily="34" charset="77"/>
              </a:defRPr>
            </a:lvl1pPr>
            <a:lvl2pPr marL="0" indent="0" rtl="0">
              <a:buNone/>
              <a:defRPr sz="1200" b="0" i="0">
                <a:latin typeface="Graphik" panose="020B0503030202060203" pitchFamily="34" charset="77"/>
              </a:defRPr>
            </a:lvl2pPr>
            <a:lvl3pPr marL="16933" indent="0">
              <a:buNone/>
              <a:tabLst/>
              <a:defRPr sz="1200" b="0" i="0">
                <a:latin typeface="Graphik" panose="020B0503030202060203" pitchFamily="34" charset="77"/>
              </a:defRPr>
            </a:lvl3pPr>
            <a:lvl4pPr marL="16933" indent="0">
              <a:buNone/>
              <a:tabLst/>
              <a:defRPr sz="1050" b="0" i="0">
                <a:latin typeface="Graphik" panose="020B0503030202060203" pitchFamily="34" charset="77"/>
              </a:defRPr>
            </a:lvl4pPr>
            <a:lvl5pPr marL="16933" indent="0">
              <a:buNone/>
              <a:tabLst/>
              <a:defRPr sz="1050" b="0" i="0">
                <a:latin typeface="Graphik" panose="020B0503030202060203" pitchFamily="34" charset="77"/>
              </a:defRPr>
            </a:lvl5pPr>
            <a:lvl6pPr>
              <a:defRPr sz="1200" b="0" i="0">
                <a:latin typeface="Graphik" panose="020B0503030202060203" pitchFamily="34" charset="77"/>
              </a:defRPr>
            </a:lvl6pPr>
            <a:lvl7pPr>
              <a:defRPr sz="1050" b="0" i="0">
                <a:latin typeface="Graphik" panose="020B0503030202060203" pitchFamily="34" charset="77"/>
              </a:defRPr>
            </a:lvl7pPr>
            <a:lvl9pPr>
              <a:defRPr sz="1050" b="0" i="0">
                <a:latin typeface="Graphik" panose="020B0503030202060203" pitchFamily="34" charset="77"/>
              </a:defRPr>
            </a:lvl9pPr>
          </a:lstStyle>
          <a:p>
            <a:pPr lvl="0"/>
            <a:r>
              <a:rPr lang="pt-BR"/>
              <a:t>First level (bullet)</a:t>
            </a:r>
          </a:p>
          <a:p>
            <a:pPr lvl="1"/>
            <a:r>
              <a:rPr lang="pt-BR"/>
              <a:t>Insert text here</a:t>
            </a:r>
            <a:endParaRPr lang="pt-BR" dirty="0"/>
          </a:p>
        </p:txBody>
      </p:sp>
      <p:sp>
        <p:nvSpPr>
          <p:cNvPr id="14" name="Text Placeholder 2">
            <a:extLst>
              <a:ext uri="{FF2B5EF4-FFF2-40B4-BE49-F238E27FC236}">
                <a16:creationId xmlns:a16="http://schemas.microsoft.com/office/drawing/2014/main" id="{6C21799C-032C-A3F2-FCE9-D7BE2B106CC9}"/>
              </a:ext>
            </a:extLst>
          </p:cNvPr>
          <p:cNvSpPr>
            <a:spLocks noGrp="1"/>
          </p:cNvSpPr>
          <p:nvPr>
            <p:ph idx="12" hasCustomPrompt="1"/>
          </p:nvPr>
        </p:nvSpPr>
        <p:spPr>
          <a:xfrm>
            <a:off x="7406324" y="4791684"/>
            <a:ext cx="1913607" cy="1299406"/>
          </a:xfrm>
          <a:prstGeom prst="rect">
            <a:avLst/>
          </a:prstGeom>
        </p:spPr>
        <p:txBody>
          <a:bodyPr vert="horz" lIns="0" tIns="0" rIns="0" bIns="0" rtlCol="0">
            <a:noAutofit/>
          </a:bodyPr>
          <a:lstStyle>
            <a:lvl1pPr rtl="0">
              <a:defRPr sz="1600" b="1" i="0">
                <a:solidFill>
                  <a:schemeClr val="bg2"/>
                </a:solidFill>
                <a:latin typeface="Graphik Semibold" panose="020B0503030202060203" pitchFamily="34" charset="77"/>
              </a:defRPr>
            </a:lvl1pPr>
            <a:lvl2pPr marL="0" indent="0" rtl="0">
              <a:buNone/>
              <a:defRPr sz="1200" b="0" i="0">
                <a:solidFill>
                  <a:schemeClr val="tx2"/>
                </a:solidFill>
                <a:latin typeface="Graphik" panose="020B0503030202060203" pitchFamily="34" charset="77"/>
              </a:defRPr>
            </a:lvl2pPr>
            <a:lvl3pPr marL="16933" indent="0">
              <a:buNone/>
              <a:tabLst/>
              <a:defRPr sz="1200" b="0" i="0">
                <a:latin typeface="Graphik" panose="020B0503030202060203" pitchFamily="34" charset="77"/>
              </a:defRPr>
            </a:lvl3pPr>
            <a:lvl4pPr marL="16933" indent="0">
              <a:buNone/>
              <a:tabLst/>
              <a:defRPr sz="1050" b="0" i="0">
                <a:latin typeface="Graphik" panose="020B0503030202060203" pitchFamily="34" charset="77"/>
              </a:defRPr>
            </a:lvl4pPr>
            <a:lvl5pPr marL="16933" indent="0">
              <a:buNone/>
              <a:tabLst/>
              <a:defRPr sz="1050" b="0" i="0">
                <a:latin typeface="Graphik" panose="020B0503030202060203" pitchFamily="34" charset="77"/>
              </a:defRPr>
            </a:lvl5pPr>
            <a:lvl6pPr>
              <a:defRPr sz="1200" b="0" i="0">
                <a:latin typeface="Graphik" panose="020B0503030202060203" pitchFamily="34" charset="77"/>
              </a:defRPr>
            </a:lvl6pPr>
            <a:lvl7pPr>
              <a:defRPr sz="1050" b="0" i="0">
                <a:latin typeface="Graphik" panose="020B0503030202060203" pitchFamily="34" charset="77"/>
              </a:defRPr>
            </a:lvl7pPr>
            <a:lvl9pPr>
              <a:defRPr sz="1050" b="0" i="0">
                <a:latin typeface="Graphik" panose="020B0503030202060203" pitchFamily="34" charset="77"/>
              </a:defRPr>
            </a:lvl9pPr>
          </a:lstStyle>
          <a:p>
            <a:pPr lvl="0"/>
            <a:r>
              <a:rPr lang="pt-BR"/>
              <a:t>First level (bullet)</a:t>
            </a:r>
          </a:p>
          <a:p>
            <a:pPr lvl="1"/>
            <a:r>
              <a:rPr lang="pt-BR"/>
              <a:t>Insert text here</a:t>
            </a:r>
            <a:endParaRPr lang="pt-BR" dirty="0"/>
          </a:p>
        </p:txBody>
      </p:sp>
      <p:sp>
        <p:nvSpPr>
          <p:cNvPr id="3" name="Text Placeholder 2">
            <a:extLst>
              <a:ext uri="{FF2B5EF4-FFF2-40B4-BE49-F238E27FC236}">
                <a16:creationId xmlns:a16="http://schemas.microsoft.com/office/drawing/2014/main" id="{6EE563D9-F425-062E-85B6-BFD1ECBB98D3}"/>
              </a:ext>
            </a:extLst>
          </p:cNvPr>
          <p:cNvSpPr>
            <a:spLocks noGrp="1"/>
          </p:cNvSpPr>
          <p:nvPr>
            <p:ph idx="13" hasCustomPrompt="1"/>
          </p:nvPr>
        </p:nvSpPr>
        <p:spPr>
          <a:xfrm>
            <a:off x="9726991" y="4791684"/>
            <a:ext cx="1913607" cy="1299406"/>
          </a:xfrm>
          <a:prstGeom prst="rect">
            <a:avLst/>
          </a:prstGeom>
        </p:spPr>
        <p:txBody>
          <a:bodyPr vert="horz" lIns="0" tIns="0" rIns="0" bIns="0" rtlCol="0">
            <a:noAutofit/>
          </a:bodyPr>
          <a:lstStyle>
            <a:lvl1pPr rtl="0">
              <a:defRPr sz="1600" b="1" i="0">
                <a:solidFill>
                  <a:schemeClr val="bg2"/>
                </a:solidFill>
                <a:latin typeface="Graphik Semibold" panose="020B0503030202060203" pitchFamily="34" charset="77"/>
              </a:defRPr>
            </a:lvl1pPr>
            <a:lvl2pPr marL="0" indent="0" rtl="0">
              <a:buNone/>
              <a:defRPr sz="1200" b="0" i="0">
                <a:latin typeface="Graphik" panose="020B0503030202060203" pitchFamily="34" charset="77"/>
              </a:defRPr>
            </a:lvl2pPr>
            <a:lvl3pPr marL="16933" indent="0">
              <a:buNone/>
              <a:tabLst/>
              <a:defRPr sz="1200" b="0" i="0">
                <a:latin typeface="Graphik" panose="020B0503030202060203" pitchFamily="34" charset="77"/>
              </a:defRPr>
            </a:lvl3pPr>
            <a:lvl4pPr marL="16933" indent="0">
              <a:buNone/>
              <a:tabLst/>
              <a:defRPr sz="1050" b="0" i="0">
                <a:latin typeface="Graphik" panose="020B0503030202060203" pitchFamily="34" charset="77"/>
              </a:defRPr>
            </a:lvl4pPr>
            <a:lvl5pPr marL="16933" indent="0">
              <a:buNone/>
              <a:tabLst/>
              <a:defRPr sz="1050" b="0" i="0">
                <a:latin typeface="Graphik" panose="020B0503030202060203" pitchFamily="34" charset="77"/>
              </a:defRPr>
            </a:lvl5pPr>
            <a:lvl6pPr>
              <a:defRPr sz="1200" b="0" i="0">
                <a:latin typeface="Graphik" panose="020B0503030202060203" pitchFamily="34" charset="77"/>
              </a:defRPr>
            </a:lvl6pPr>
            <a:lvl7pPr>
              <a:defRPr sz="1050" b="0" i="0">
                <a:latin typeface="Graphik" panose="020B0503030202060203" pitchFamily="34" charset="77"/>
              </a:defRPr>
            </a:lvl7pPr>
            <a:lvl9pPr>
              <a:defRPr sz="1050" b="0" i="0">
                <a:latin typeface="Graphik" panose="020B0503030202060203" pitchFamily="34" charset="77"/>
              </a:defRPr>
            </a:lvl9pPr>
          </a:lstStyle>
          <a:p>
            <a:pPr lvl="0"/>
            <a:r>
              <a:rPr lang="pt-BR"/>
              <a:t>First level (bullet)</a:t>
            </a:r>
          </a:p>
          <a:p>
            <a:pPr lvl="1"/>
            <a:r>
              <a:rPr lang="pt-BR"/>
              <a:t>Insert text here</a:t>
            </a:r>
            <a:endParaRPr lang="pt-BR" dirty="0"/>
          </a:p>
        </p:txBody>
      </p:sp>
      <p:sp>
        <p:nvSpPr>
          <p:cNvPr id="4" name="Title 1">
            <a:extLst>
              <a:ext uri="{FF2B5EF4-FFF2-40B4-BE49-F238E27FC236}">
                <a16:creationId xmlns:a16="http://schemas.microsoft.com/office/drawing/2014/main" id="{B439FCDF-0209-75C7-EEFD-72F454BE9350}"/>
              </a:ext>
            </a:extLst>
          </p:cNvPr>
          <p:cNvSpPr>
            <a:spLocks noGrp="1"/>
          </p:cNvSpPr>
          <p:nvPr>
            <p:ph type="title"/>
          </p:nvPr>
        </p:nvSpPr>
        <p:spPr>
          <a:xfrm>
            <a:off x="565461" y="558086"/>
            <a:ext cx="11075678" cy="393954"/>
          </a:xfrm>
        </p:spPr>
        <p:txBody>
          <a:bodyPr vert="horz"/>
          <a:lstStyle>
            <a:lvl1pPr rtl="0">
              <a:defRPr/>
            </a:lvl1pPr>
          </a:lstStyle>
          <a:p>
            <a:r>
              <a:rPr lang="pt-BR"/>
              <a:t>Click to edit Master title style</a:t>
            </a:r>
            <a:endParaRPr lang="pt-BR" dirty="0"/>
          </a:p>
        </p:txBody>
      </p:sp>
      <p:sp>
        <p:nvSpPr>
          <p:cNvPr id="6" name="Text Placeholder 3">
            <a:extLst>
              <a:ext uri="{FF2B5EF4-FFF2-40B4-BE49-F238E27FC236}">
                <a16:creationId xmlns:a16="http://schemas.microsoft.com/office/drawing/2014/main" id="{56063D68-A744-CDD7-FA67-D2E3EBBCDB1B}"/>
              </a:ext>
            </a:extLst>
          </p:cNvPr>
          <p:cNvSpPr>
            <a:spLocks noGrp="1"/>
          </p:cNvSpPr>
          <p:nvPr>
            <p:ph type="body" sz="quarter" idx="31" hasCustomPrompt="1"/>
          </p:nvPr>
        </p:nvSpPr>
        <p:spPr>
          <a:xfrm>
            <a:off x="2759508" y="1371602"/>
            <a:ext cx="721093" cy="485340"/>
          </a:xfrm>
          <a:prstGeom prst="rect">
            <a:avLst/>
          </a:prstGeom>
        </p:spPr>
        <p:txBody>
          <a:bodyPr anchor="ctr"/>
          <a:lstStyle>
            <a:lvl1pPr marL="0" marR="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sz="4000" b="0">
                <a:solidFill>
                  <a:schemeClr val="tx1"/>
                </a:solidFill>
                <a:latin typeface="+mn-lt"/>
              </a:defRPr>
            </a:lvl1pPr>
          </a:lstStyle>
          <a:p>
            <a:pPr marL="0" marR="0" lvl="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a:pPr>
            <a:r>
              <a:rPr lang="pt-BR"/>
              <a:t>##</a:t>
            </a:r>
            <a:endParaRPr lang="pt-BR" dirty="0"/>
          </a:p>
        </p:txBody>
      </p:sp>
      <p:cxnSp>
        <p:nvCxnSpPr>
          <p:cNvPr id="7" name="Straight Connector 6">
            <a:extLst>
              <a:ext uri="{FF2B5EF4-FFF2-40B4-BE49-F238E27FC236}">
                <a16:creationId xmlns:a16="http://schemas.microsoft.com/office/drawing/2014/main" id="{68764EE2-7F2F-45E2-82F3-AAF71D3EBFB5}"/>
              </a:ext>
              <a:ext uri="{C183D7F6-B498-43B3-948B-1728B52AA6E4}">
                <adec:decorative xmlns:adec="http://schemas.microsoft.com/office/drawing/2017/decorative" val="1"/>
              </a:ext>
            </a:extLst>
          </p:cNvPr>
          <p:cNvCxnSpPr/>
          <p:nvPr userDrawn="1"/>
        </p:nvCxnSpPr>
        <p:spPr>
          <a:xfrm>
            <a:off x="2562457" y="1371603"/>
            <a:ext cx="0" cy="4719487"/>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591D4CA2-E2F2-5487-46F9-665130B94BE8}"/>
              </a:ext>
            </a:extLst>
          </p:cNvPr>
          <p:cNvSpPr>
            <a:spLocks noGrp="1"/>
          </p:cNvSpPr>
          <p:nvPr>
            <p:ph type="body" sz="quarter" idx="35" hasCustomPrompt="1"/>
          </p:nvPr>
        </p:nvSpPr>
        <p:spPr>
          <a:xfrm>
            <a:off x="5080175" y="1371602"/>
            <a:ext cx="721093" cy="485340"/>
          </a:xfrm>
          <a:prstGeom prst="rect">
            <a:avLst/>
          </a:prstGeom>
        </p:spPr>
        <p:txBody>
          <a:bodyPr anchor="ctr"/>
          <a:lstStyle>
            <a:lvl1pPr marL="0" marR="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sz="4000" b="0">
                <a:solidFill>
                  <a:schemeClr val="tx1"/>
                </a:solidFill>
                <a:latin typeface="+mn-lt"/>
              </a:defRPr>
            </a:lvl1pPr>
          </a:lstStyle>
          <a:p>
            <a:pPr marL="0" marR="0" lvl="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a:pPr>
            <a:r>
              <a:rPr lang="pt-BR"/>
              <a:t>##</a:t>
            </a:r>
            <a:endParaRPr lang="pt-BR" dirty="0"/>
          </a:p>
        </p:txBody>
      </p:sp>
      <p:cxnSp>
        <p:nvCxnSpPr>
          <p:cNvPr id="21" name="Straight Connector 20">
            <a:extLst>
              <a:ext uri="{FF2B5EF4-FFF2-40B4-BE49-F238E27FC236}">
                <a16:creationId xmlns:a16="http://schemas.microsoft.com/office/drawing/2014/main" id="{3B5359CD-D0A3-6EBD-72CC-C75E6319FD1B}"/>
              </a:ext>
              <a:ext uri="{C183D7F6-B498-43B3-948B-1728B52AA6E4}">
                <adec:decorative xmlns:adec="http://schemas.microsoft.com/office/drawing/2017/decorative" val="1"/>
              </a:ext>
            </a:extLst>
          </p:cNvPr>
          <p:cNvCxnSpPr/>
          <p:nvPr userDrawn="1"/>
        </p:nvCxnSpPr>
        <p:spPr>
          <a:xfrm>
            <a:off x="4883124" y="1371603"/>
            <a:ext cx="0" cy="4719487"/>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26" name="Text Placeholder 3">
            <a:extLst>
              <a:ext uri="{FF2B5EF4-FFF2-40B4-BE49-F238E27FC236}">
                <a16:creationId xmlns:a16="http://schemas.microsoft.com/office/drawing/2014/main" id="{414973FE-1A5A-4784-BBEF-55CFBBF298DC}"/>
              </a:ext>
            </a:extLst>
          </p:cNvPr>
          <p:cNvSpPr>
            <a:spLocks noGrp="1"/>
          </p:cNvSpPr>
          <p:nvPr>
            <p:ph type="body" sz="quarter" idx="36" hasCustomPrompt="1"/>
          </p:nvPr>
        </p:nvSpPr>
        <p:spPr>
          <a:xfrm>
            <a:off x="7406323" y="1371602"/>
            <a:ext cx="721093" cy="485340"/>
          </a:xfrm>
          <a:prstGeom prst="rect">
            <a:avLst/>
          </a:prstGeom>
        </p:spPr>
        <p:txBody>
          <a:bodyPr anchor="ctr"/>
          <a:lstStyle>
            <a:lvl1pPr marL="0" marR="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sz="4000" b="0">
                <a:solidFill>
                  <a:schemeClr val="tx1"/>
                </a:solidFill>
                <a:latin typeface="+mn-lt"/>
              </a:defRPr>
            </a:lvl1pPr>
          </a:lstStyle>
          <a:p>
            <a:pPr marL="0" marR="0" lvl="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a:pPr>
            <a:r>
              <a:rPr lang="pt-BR"/>
              <a:t>##</a:t>
            </a:r>
            <a:endParaRPr lang="pt-BR" dirty="0"/>
          </a:p>
        </p:txBody>
      </p:sp>
      <p:cxnSp>
        <p:nvCxnSpPr>
          <p:cNvPr id="27" name="Straight Connector 26">
            <a:extLst>
              <a:ext uri="{FF2B5EF4-FFF2-40B4-BE49-F238E27FC236}">
                <a16:creationId xmlns:a16="http://schemas.microsoft.com/office/drawing/2014/main" id="{DEC62542-3EC7-23B4-6810-D7943AD8A258}"/>
              </a:ext>
              <a:ext uri="{C183D7F6-B498-43B3-948B-1728B52AA6E4}">
                <adec:decorative xmlns:adec="http://schemas.microsoft.com/office/drawing/2017/decorative" val="1"/>
              </a:ext>
            </a:extLst>
          </p:cNvPr>
          <p:cNvCxnSpPr/>
          <p:nvPr userDrawn="1"/>
        </p:nvCxnSpPr>
        <p:spPr>
          <a:xfrm>
            <a:off x="7209272" y="1371603"/>
            <a:ext cx="0" cy="4719487"/>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28" name="Text Placeholder 3">
            <a:extLst>
              <a:ext uri="{FF2B5EF4-FFF2-40B4-BE49-F238E27FC236}">
                <a16:creationId xmlns:a16="http://schemas.microsoft.com/office/drawing/2014/main" id="{E4DD7065-8DBD-BB8F-6299-198F246266BE}"/>
              </a:ext>
            </a:extLst>
          </p:cNvPr>
          <p:cNvSpPr>
            <a:spLocks noGrp="1"/>
          </p:cNvSpPr>
          <p:nvPr>
            <p:ph type="body" sz="quarter" idx="37" hasCustomPrompt="1"/>
          </p:nvPr>
        </p:nvSpPr>
        <p:spPr>
          <a:xfrm>
            <a:off x="9726990" y="1371602"/>
            <a:ext cx="721093" cy="485340"/>
          </a:xfrm>
          <a:prstGeom prst="rect">
            <a:avLst/>
          </a:prstGeom>
        </p:spPr>
        <p:txBody>
          <a:bodyPr anchor="ctr"/>
          <a:lstStyle>
            <a:lvl1pPr marL="0" marR="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sz="4000" b="0">
                <a:solidFill>
                  <a:schemeClr val="tx1"/>
                </a:solidFill>
                <a:latin typeface="+mn-lt"/>
              </a:defRPr>
            </a:lvl1pPr>
          </a:lstStyle>
          <a:p>
            <a:pPr marL="0" marR="0" lvl="0" indent="0" algn="ctr" defTabSz="228594" rtl="0" eaLnBrk="1" fontAlgn="auto" latinLnBrk="0" hangingPunct="1">
              <a:lnSpc>
                <a:spcPct val="100000"/>
              </a:lnSpc>
              <a:spcBef>
                <a:spcPts val="0"/>
              </a:spcBef>
              <a:spcAft>
                <a:spcPts val="0"/>
              </a:spcAft>
              <a:buClrTx/>
              <a:buSzTx/>
              <a:buFont typeface="Graphik" panose="020B0604020202020204" pitchFamily="34" charset="0"/>
              <a:buNone/>
              <a:tabLst/>
              <a:defRPr/>
            </a:pPr>
            <a:r>
              <a:rPr lang="pt-BR"/>
              <a:t>##</a:t>
            </a:r>
            <a:endParaRPr lang="pt-BR" dirty="0"/>
          </a:p>
        </p:txBody>
      </p:sp>
      <p:cxnSp>
        <p:nvCxnSpPr>
          <p:cNvPr id="29" name="Straight Connector 28">
            <a:extLst>
              <a:ext uri="{FF2B5EF4-FFF2-40B4-BE49-F238E27FC236}">
                <a16:creationId xmlns:a16="http://schemas.microsoft.com/office/drawing/2014/main" id="{678B4AEA-422E-5B9F-1050-B102C345D5CB}"/>
              </a:ext>
              <a:ext uri="{C183D7F6-B498-43B3-948B-1728B52AA6E4}">
                <adec:decorative xmlns:adec="http://schemas.microsoft.com/office/drawing/2017/decorative" val="1"/>
              </a:ext>
            </a:extLst>
          </p:cNvPr>
          <p:cNvCxnSpPr/>
          <p:nvPr userDrawn="1"/>
        </p:nvCxnSpPr>
        <p:spPr>
          <a:xfrm>
            <a:off x="9529939" y="1371603"/>
            <a:ext cx="0" cy="4719487"/>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85611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image 2">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F8D42018-683A-B565-A5F0-566AC10C20B9}"/>
              </a:ext>
            </a:extLst>
          </p:cNvPr>
          <p:cNvGraphicFramePr>
            <a:graphicFrameLocks noChangeAspect="1"/>
          </p:cNvGraphicFramePr>
          <p:nvPr userDrawn="1">
            <p:custDataLst>
              <p:tags r:id="rId1"/>
            </p:custDataLst>
            <p:extLst>
              <p:ext uri="{D42A27DB-BD31-4B8C-83A1-F6EECF244321}">
                <p14:modId xmlns:p14="http://schemas.microsoft.com/office/powerpoint/2010/main" val="3620610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11" name="think-cell data - do not delete" hidden="1">
                        <a:extLst>
                          <a:ext uri="{FF2B5EF4-FFF2-40B4-BE49-F238E27FC236}">
                            <a16:creationId xmlns:a16="http://schemas.microsoft.com/office/drawing/2014/main" id="{F8D42018-683A-B565-A5F0-566AC10C20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497204A-4462-2F62-F226-525C35783498}"/>
              </a:ext>
            </a:extLst>
          </p:cNvPr>
          <p:cNvSpPr>
            <a:spLocks noGrp="1"/>
          </p:cNvSpPr>
          <p:nvPr>
            <p:ph type="title"/>
          </p:nvPr>
        </p:nvSpPr>
        <p:spPr>
          <a:xfrm>
            <a:off x="565461" y="558086"/>
            <a:ext cx="11075678" cy="393954"/>
          </a:xfrm>
        </p:spPr>
        <p:txBody>
          <a:bodyPr vert="horz"/>
          <a:lstStyle>
            <a:lvl1pPr rtl="0">
              <a:defRPr/>
            </a:lvl1pPr>
          </a:lstStyle>
          <a:p>
            <a:r>
              <a:rPr lang="pt-BR"/>
              <a:t>Click to edit Master title style</a:t>
            </a:r>
            <a:endParaRPr lang="pt-BR" dirty="0"/>
          </a:p>
        </p:txBody>
      </p:sp>
      <p:sp>
        <p:nvSpPr>
          <p:cNvPr id="3" name="Picture Placeholder 10">
            <a:extLst>
              <a:ext uri="{FF2B5EF4-FFF2-40B4-BE49-F238E27FC236}">
                <a16:creationId xmlns:a16="http://schemas.microsoft.com/office/drawing/2014/main" id="{49ACF502-3E74-91C2-B945-4A140A77E48E}"/>
              </a:ext>
            </a:extLst>
          </p:cNvPr>
          <p:cNvSpPr>
            <a:spLocks noGrp="1"/>
          </p:cNvSpPr>
          <p:nvPr>
            <p:ph type="pic" sz="quarter" idx="10"/>
          </p:nvPr>
        </p:nvSpPr>
        <p:spPr>
          <a:xfrm>
            <a:off x="-6350" y="1331548"/>
            <a:ext cx="3130551" cy="4812304"/>
          </a:xfrm>
          <a:solidFill>
            <a:schemeClr val="bg1">
              <a:lumMod val="95000"/>
            </a:schemeClr>
          </a:solidFill>
        </p:spPr>
        <p:txBody>
          <a:bodyPr anchor="ctr"/>
          <a:lstStyle>
            <a:lvl1pPr algn="ctr" rtl="0">
              <a:defRPr>
                <a:solidFill>
                  <a:schemeClr val="tx1"/>
                </a:solidFill>
              </a:defRPr>
            </a:lvl1pPr>
          </a:lstStyle>
          <a:p>
            <a:r>
              <a:rPr lang="pt-BR"/>
              <a:t>Click icon to add picture</a:t>
            </a:r>
            <a:endParaRPr lang="pt-BR" dirty="0"/>
          </a:p>
        </p:txBody>
      </p:sp>
      <p:sp>
        <p:nvSpPr>
          <p:cNvPr id="16" name="Text Placeholder 15">
            <a:extLst>
              <a:ext uri="{FF2B5EF4-FFF2-40B4-BE49-F238E27FC236}">
                <a16:creationId xmlns:a16="http://schemas.microsoft.com/office/drawing/2014/main" id="{E6ED4F0B-36A9-C1D2-C829-FDA15A800F9D}"/>
              </a:ext>
            </a:extLst>
          </p:cNvPr>
          <p:cNvSpPr>
            <a:spLocks noGrp="1"/>
          </p:cNvSpPr>
          <p:nvPr>
            <p:ph type="body" sz="quarter" idx="14" hasCustomPrompt="1"/>
          </p:nvPr>
        </p:nvSpPr>
        <p:spPr>
          <a:xfrm>
            <a:off x="3326296" y="1399117"/>
            <a:ext cx="563754" cy="492443"/>
          </a:xfrm>
        </p:spPr>
        <p:txBody>
          <a:bodyPr wrap="square">
            <a:spAutoFit/>
          </a:bodyPr>
          <a:lstStyle>
            <a:lvl1pPr algn="r" rtl="0">
              <a:defRPr sz="1600">
                <a:latin typeface="Graphik Semibold" panose="020B0703030202060203" pitchFamily="34" charset="0"/>
              </a:defRPr>
            </a:lvl1pPr>
          </a:lstStyle>
          <a:p>
            <a:pPr lvl="0"/>
            <a:r>
              <a:rPr lang="pt-BR"/>
              <a:t>Click ##</a:t>
            </a:r>
            <a:endParaRPr lang="pt-BR" dirty="0"/>
          </a:p>
        </p:txBody>
      </p:sp>
      <p:sp>
        <p:nvSpPr>
          <p:cNvPr id="4" name="Text Placeholder 2">
            <a:extLst>
              <a:ext uri="{FF2B5EF4-FFF2-40B4-BE49-F238E27FC236}">
                <a16:creationId xmlns:a16="http://schemas.microsoft.com/office/drawing/2014/main" id="{E40A9406-C547-1F85-E71D-853495CEBBB9}"/>
              </a:ext>
            </a:extLst>
          </p:cNvPr>
          <p:cNvSpPr>
            <a:spLocks noGrp="1"/>
          </p:cNvSpPr>
          <p:nvPr>
            <p:ph idx="1" hasCustomPrompt="1"/>
          </p:nvPr>
        </p:nvSpPr>
        <p:spPr>
          <a:xfrm>
            <a:off x="4148043" y="1398093"/>
            <a:ext cx="6980401" cy="694100"/>
          </a:xfrm>
          <a:prstGeom prst="rect">
            <a:avLst/>
          </a:prstGeom>
        </p:spPr>
        <p:txBody>
          <a:bodyPr vert="horz" lIns="0" tIns="0" rIns="0" bIns="0" rtlCol="0">
            <a:noAutofit/>
          </a:bodyPr>
          <a:lstStyle>
            <a:lvl1pPr rtl="0">
              <a:spcAft>
                <a:spcPts val="400"/>
              </a:spcAft>
              <a:defRPr sz="1600" b="1" i="0">
                <a:solidFill>
                  <a:schemeClr val="bg2"/>
                </a:solidFill>
                <a:latin typeface="Graphik Semibold" panose="020B0503030202060203" pitchFamily="34" charset="77"/>
              </a:defRPr>
            </a:lvl1pPr>
            <a:lvl2pPr marL="0" indent="0" rtl="0">
              <a:spcAft>
                <a:spcPts val="400"/>
              </a:spcAft>
              <a:buNone/>
              <a:defRPr sz="1200" b="0" i="0">
                <a:latin typeface="Graphik" panose="020B0503030202060203" pitchFamily="34" charset="77"/>
              </a:defRPr>
            </a:lvl2pPr>
            <a:lvl3pPr marL="10584" indent="0" rtl="0">
              <a:spcAft>
                <a:spcPts val="400"/>
              </a:spcAft>
              <a:buNone/>
              <a:tabLst/>
              <a:defRPr sz="1200" b="0" i="0">
                <a:latin typeface="Graphik" panose="020B0503030202060203" pitchFamily="34" charset="77"/>
              </a:defRPr>
            </a:lvl3pPr>
            <a:lvl4pPr marL="16933" indent="0">
              <a:buNone/>
              <a:tabLst/>
              <a:defRPr b="0" i="0">
                <a:latin typeface="Graphik" panose="020B0503030202060203" pitchFamily="34" charset="77"/>
              </a:defRPr>
            </a:lvl4pPr>
            <a:lvl5pPr marL="16933" indent="0">
              <a:buNone/>
              <a:tabLst/>
              <a:defRPr b="0" i="0">
                <a:latin typeface="Graphik" panose="020B0503030202060203" pitchFamily="34" charset="77"/>
              </a:defRPr>
            </a:lvl5pPr>
            <a:lvl6pPr>
              <a:defRPr sz="1600" b="0" i="0">
                <a:latin typeface="Graphik" panose="020B0503030202060203" pitchFamily="34" charset="77"/>
              </a:defRPr>
            </a:lvl6pPr>
            <a:lvl7pPr>
              <a:defRPr sz="1200" b="0" i="0">
                <a:latin typeface="Graphik" panose="020B0503030202060203" pitchFamily="34" charset="77"/>
              </a:defRPr>
            </a:lvl7pPr>
            <a:lvl9pPr>
              <a:defRPr sz="1200" b="0" i="0">
                <a:latin typeface="Graphik" panose="020B0503030202060203" pitchFamily="34" charset="77"/>
              </a:defRPr>
            </a:lvl9pPr>
          </a:lstStyle>
          <a:p>
            <a:pPr lvl="0"/>
            <a:r>
              <a:rPr lang="pt-BR"/>
              <a:t>First level (bullet)</a:t>
            </a:r>
          </a:p>
          <a:p>
            <a:pPr lvl="1"/>
            <a:r>
              <a:rPr lang="pt-BR"/>
              <a:t>Second level (bullet)</a:t>
            </a:r>
          </a:p>
          <a:p>
            <a:pPr lvl="2"/>
            <a:r>
              <a:rPr lang="pt-BR"/>
              <a:t>Third level (bullet)</a:t>
            </a:r>
            <a:endParaRPr lang="pt-BR" dirty="0"/>
          </a:p>
        </p:txBody>
      </p:sp>
      <p:sp>
        <p:nvSpPr>
          <p:cNvPr id="17" name="Text Placeholder 15">
            <a:extLst>
              <a:ext uri="{FF2B5EF4-FFF2-40B4-BE49-F238E27FC236}">
                <a16:creationId xmlns:a16="http://schemas.microsoft.com/office/drawing/2014/main" id="{F21C5D35-2D9B-01B4-73C2-EF565E27FB9D}"/>
              </a:ext>
            </a:extLst>
          </p:cNvPr>
          <p:cNvSpPr>
            <a:spLocks noGrp="1"/>
          </p:cNvSpPr>
          <p:nvPr>
            <p:ph type="body" sz="quarter" idx="15" hasCustomPrompt="1"/>
          </p:nvPr>
        </p:nvSpPr>
        <p:spPr>
          <a:xfrm>
            <a:off x="3326296" y="2376037"/>
            <a:ext cx="563754" cy="492443"/>
          </a:xfrm>
        </p:spPr>
        <p:txBody>
          <a:bodyPr wrap="square">
            <a:spAutoFit/>
          </a:bodyPr>
          <a:lstStyle>
            <a:lvl1pPr algn="r" rtl="0">
              <a:defRPr sz="1600">
                <a:latin typeface="Graphik Semibold" panose="020B0703030202060203" pitchFamily="34" charset="0"/>
              </a:defRPr>
            </a:lvl1pPr>
          </a:lstStyle>
          <a:p>
            <a:pPr lvl="0"/>
            <a:r>
              <a:rPr lang="pt-BR"/>
              <a:t>Click ##</a:t>
            </a:r>
            <a:endParaRPr lang="pt-BR" dirty="0"/>
          </a:p>
        </p:txBody>
      </p:sp>
      <p:sp>
        <p:nvSpPr>
          <p:cNvPr id="8" name="Text Placeholder 2">
            <a:extLst>
              <a:ext uri="{FF2B5EF4-FFF2-40B4-BE49-F238E27FC236}">
                <a16:creationId xmlns:a16="http://schemas.microsoft.com/office/drawing/2014/main" id="{C79B9814-F84A-3469-40B8-1C61FBBE11E2}"/>
              </a:ext>
            </a:extLst>
          </p:cNvPr>
          <p:cNvSpPr>
            <a:spLocks noGrp="1"/>
          </p:cNvSpPr>
          <p:nvPr>
            <p:ph idx="11" hasCustomPrompt="1"/>
          </p:nvPr>
        </p:nvSpPr>
        <p:spPr>
          <a:xfrm>
            <a:off x="4148043" y="2375233"/>
            <a:ext cx="6980401" cy="694100"/>
          </a:xfrm>
          <a:prstGeom prst="rect">
            <a:avLst/>
          </a:prstGeom>
        </p:spPr>
        <p:txBody>
          <a:bodyPr vert="horz" lIns="0" tIns="0" rIns="0" bIns="0" rtlCol="0">
            <a:noAutofit/>
          </a:bodyPr>
          <a:lstStyle>
            <a:lvl1pPr rtl="0">
              <a:spcAft>
                <a:spcPts val="400"/>
              </a:spcAft>
              <a:defRPr sz="1600" b="1" i="0">
                <a:solidFill>
                  <a:schemeClr val="bg2"/>
                </a:solidFill>
                <a:latin typeface="Graphik Semibold" panose="020B0503030202060203" pitchFamily="34" charset="77"/>
              </a:defRPr>
            </a:lvl1pPr>
            <a:lvl2pPr marL="0" indent="0" rtl="0">
              <a:spcAft>
                <a:spcPts val="400"/>
              </a:spcAft>
              <a:buNone/>
              <a:defRPr sz="1200" b="0" i="0">
                <a:latin typeface="Graphik" panose="020B0503030202060203" pitchFamily="34" charset="77"/>
              </a:defRPr>
            </a:lvl2pPr>
            <a:lvl3pPr marL="10584" indent="0" rtl="0">
              <a:spcAft>
                <a:spcPts val="400"/>
              </a:spcAft>
              <a:buNone/>
              <a:tabLst/>
              <a:defRPr sz="1200" b="0" i="0">
                <a:latin typeface="Graphik" panose="020B0503030202060203" pitchFamily="34" charset="77"/>
              </a:defRPr>
            </a:lvl3pPr>
            <a:lvl4pPr marL="16933" indent="0">
              <a:buNone/>
              <a:tabLst/>
              <a:defRPr b="0" i="0">
                <a:latin typeface="Graphik" panose="020B0503030202060203" pitchFamily="34" charset="77"/>
              </a:defRPr>
            </a:lvl4pPr>
            <a:lvl5pPr marL="16933" indent="0">
              <a:buNone/>
              <a:tabLst/>
              <a:defRPr b="0" i="0">
                <a:latin typeface="Graphik" panose="020B0503030202060203" pitchFamily="34" charset="77"/>
              </a:defRPr>
            </a:lvl5pPr>
            <a:lvl6pPr>
              <a:defRPr sz="1600" b="0" i="0">
                <a:latin typeface="Graphik" panose="020B0503030202060203" pitchFamily="34" charset="77"/>
              </a:defRPr>
            </a:lvl6pPr>
            <a:lvl7pPr>
              <a:defRPr sz="1200" b="0" i="0">
                <a:latin typeface="Graphik" panose="020B0503030202060203" pitchFamily="34" charset="77"/>
              </a:defRPr>
            </a:lvl7pPr>
            <a:lvl9pPr>
              <a:defRPr sz="1200" b="0" i="0">
                <a:latin typeface="Graphik" panose="020B0503030202060203" pitchFamily="34" charset="77"/>
              </a:defRPr>
            </a:lvl9pPr>
          </a:lstStyle>
          <a:p>
            <a:pPr lvl="0"/>
            <a:r>
              <a:rPr lang="pt-BR"/>
              <a:t>First level (bullet)</a:t>
            </a:r>
          </a:p>
          <a:p>
            <a:pPr lvl="1"/>
            <a:r>
              <a:rPr lang="pt-BR"/>
              <a:t>Second level (bullet)</a:t>
            </a:r>
          </a:p>
          <a:p>
            <a:pPr lvl="2"/>
            <a:r>
              <a:rPr lang="pt-BR"/>
              <a:t>Third level (bullet)</a:t>
            </a:r>
            <a:endParaRPr lang="pt-BR" dirty="0"/>
          </a:p>
        </p:txBody>
      </p:sp>
      <p:sp>
        <p:nvSpPr>
          <p:cNvPr id="18" name="Text Placeholder 15">
            <a:extLst>
              <a:ext uri="{FF2B5EF4-FFF2-40B4-BE49-F238E27FC236}">
                <a16:creationId xmlns:a16="http://schemas.microsoft.com/office/drawing/2014/main" id="{731C7DC5-DAD9-9025-120D-FBB8C142A60F}"/>
              </a:ext>
            </a:extLst>
          </p:cNvPr>
          <p:cNvSpPr>
            <a:spLocks noGrp="1"/>
          </p:cNvSpPr>
          <p:nvPr>
            <p:ph type="body" sz="quarter" idx="16" hasCustomPrompt="1"/>
          </p:nvPr>
        </p:nvSpPr>
        <p:spPr>
          <a:xfrm>
            <a:off x="3326296" y="3350384"/>
            <a:ext cx="563754" cy="492443"/>
          </a:xfrm>
        </p:spPr>
        <p:txBody>
          <a:bodyPr wrap="square">
            <a:spAutoFit/>
          </a:bodyPr>
          <a:lstStyle>
            <a:lvl1pPr algn="r" rtl="0">
              <a:defRPr sz="1600">
                <a:latin typeface="Graphik Semibold" panose="020B0703030202060203" pitchFamily="34" charset="0"/>
              </a:defRPr>
            </a:lvl1pPr>
          </a:lstStyle>
          <a:p>
            <a:pPr lvl="0"/>
            <a:r>
              <a:rPr lang="pt-BR"/>
              <a:t>Click ##</a:t>
            </a:r>
            <a:endParaRPr lang="pt-BR" dirty="0"/>
          </a:p>
        </p:txBody>
      </p:sp>
      <p:sp>
        <p:nvSpPr>
          <p:cNvPr id="9" name="Text Placeholder 2">
            <a:extLst>
              <a:ext uri="{FF2B5EF4-FFF2-40B4-BE49-F238E27FC236}">
                <a16:creationId xmlns:a16="http://schemas.microsoft.com/office/drawing/2014/main" id="{DBE139AE-63B6-C2C1-4D09-17C298F69AB6}"/>
              </a:ext>
            </a:extLst>
          </p:cNvPr>
          <p:cNvSpPr>
            <a:spLocks noGrp="1"/>
          </p:cNvSpPr>
          <p:nvPr>
            <p:ph idx="12" hasCustomPrompt="1"/>
          </p:nvPr>
        </p:nvSpPr>
        <p:spPr>
          <a:xfrm>
            <a:off x="4148043" y="3352372"/>
            <a:ext cx="6980401" cy="694100"/>
          </a:xfrm>
          <a:prstGeom prst="rect">
            <a:avLst/>
          </a:prstGeom>
        </p:spPr>
        <p:txBody>
          <a:bodyPr vert="horz" lIns="0" tIns="0" rIns="0" bIns="0" rtlCol="0">
            <a:noAutofit/>
          </a:bodyPr>
          <a:lstStyle>
            <a:lvl1pPr rtl="0">
              <a:spcAft>
                <a:spcPts val="400"/>
              </a:spcAft>
              <a:defRPr sz="1600" b="1" i="0">
                <a:solidFill>
                  <a:schemeClr val="bg2"/>
                </a:solidFill>
                <a:latin typeface="Graphik Semibold" panose="020B0503030202060203" pitchFamily="34" charset="77"/>
              </a:defRPr>
            </a:lvl1pPr>
            <a:lvl2pPr marL="0" indent="0" rtl="0">
              <a:spcAft>
                <a:spcPts val="400"/>
              </a:spcAft>
              <a:buNone/>
              <a:defRPr sz="1200" b="0" i="0">
                <a:latin typeface="Graphik" panose="020B0503030202060203" pitchFamily="34" charset="77"/>
              </a:defRPr>
            </a:lvl2pPr>
            <a:lvl3pPr marL="10584" indent="0" rtl="0">
              <a:spcAft>
                <a:spcPts val="400"/>
              </a:spcAft>
              <a:buNone/>
              <a:tabLst/>
              <a:defRPr sz="1200" b="0" i="0">
                <a:latin typeface="Graphik" panose="020B0503030202060203" pitchFamily="34" charset="77"/>
              </a:defRPr>
            </a:lvl3pPr>
            <a:lvl4pPr marL="16933" indent="0">
              <a:buNone/>
              <a:tabLst/>
              <a:defRPr b="0" i="0">
                <a:latin typeface="Graphik" panose="020B0503030202060203" pitchFamily="34" charset="77"/>
              </a:defRPr>
            </a:lvl4pPr>
            <a:lvl5pPr marL="16933" indent="0">
              <a:buNone/>
              <a:tabLst/>
              <a:defRPr b="0" i="0">
                <a:latin typeface="Graphik" panose="020B0503030202060203" pitchFamily="34" charset="77"/>
              </a:defRPr>
            </a:lvl5pPr>
            <a:lvl6pPr>
              <a:defRPr sz="1600" b="0" i="0">
                <a:latin typeface="Graphik" panose="020B0503030202060203" pitchFamily="34" charset="77"/>
              </a:defRPr>
            </a:lvl6pPr>
            <a:lvl7pPr>
              <a:defRPr sz="1200" b="0" i="0">
                <a:latin typeface="Graphik" panose="020B0503030202060203" pitchFamily="34" charset="77"/>
              </a:defRPr>
            </a:lvl7pPr>
            <a:lvl9pPr>
              <a:defRPr sz="1200" b="0" i="0">
                <a:latin typeface="Graphik" panose="020B0503030202060203" pitchFamily="34" charset="77"/>
              </a:defRPr>
            </a:lvl9pPr>
          </a:lstStyle>
          <a:p>
            <a:pPr lvl="0"/>
            <a:r>
              <a:rPr lang="pt-BR"/>
              <a:t>First level (bullet)</a:t>
            </a:r>
          </a:p>
          <a:p>
            <a:pPr lvl="1"/>
            <a:r>
              <a:rPr lang="pt-BR"/>
              <a:t>Second level (bullet)</a:t>
            </a:r>
          </a:p>
          <a:p>
            <a:pPr lvl="2"/>
            <a:r>
              <a:rPr lang="pt-BR"/>
              <a:t>Third level (bullet)</a:t>
            </a:r>
            <a:endParaRPr lang="pt-BR" dirty="0"/>
          </a:p>
        </p:txBody>
      </p:sp>
      <p:sp>
        <p:nvSpPr>
          <p:cNvPr id="19" name="Text Placeholder 15">
            <a:extLst>
              <a:ext uri="{FF2B5EF4-FFF2-40B4-BE49-F238E27FC236}">
                <a16:creationId xmlns:a16="http://schemas.microsoft.com/office/drawing/2014/main" id="{8EA33AE2-AAF8-CAB9-E244-AD70E24C3EB6}"/>
              </a:ext>
            </a:extLst>
          </p:cNvPr>
          <p:cNvSpPr>
            <a:spLocks noGrp="1"/>
          </p:cNvSpPr>
          <p:nvPr>
            <p:ph type="body" sz="quarter" idx="17" hasCustomPrompt="1"/>
          </p:nvPr>
        </p:nvSpPr>
        <p:spPr>
          <a:xfrm>
            <a:off x="3326296" y="4335521"/>
            <a:ext cx="563754" cy="492443"/>
          </a:xfrm>
        </p:spPr>
        <p:txBody>
          <a:bodyPr wrap="square">
            <a:spAutoFit/>
          </a:bodyPr>
          <a:lstStyle>
            <a:lvl1pPr algn="r" rtl="0">
              <a:defRPr sz="1600">
                <a:latin typeface="Graphik Semibold" panose="020B0703030202060203" pitchFamily="34" charset="0"/>
              </a:defRPr>
            </a:lvl1pPr>
          </a:lstStyle>
          <a:p>
            <a:pPr lvl="0"/>
            <a:r>
              <a:rPr lang="pt-BR"/>
              <a:t>Click ##</a:t>
            </a:r>
            <a:endParaRPr lang="pt-BR" dirty="0"/>
          </a:p>
        </p:txBody>
      </p:sp>
      <p:sp>
        <p:nvSpPr>
          <p:cNvPr id="10" name="Text Placeholder 2">
            <a:extLst>
              <a:ext uri="{FF2B5EF4-FFF2-40B4-BE49-F238E27FC236}">
                <a16:creationId xmlns:a16="http://schemas.microsoft.com/office/drawing/2014/main" id="{F7111FC3-B91A-E597-25A2-DCDF58B1DF3D}"/>
              </a:ext>
            </a:extLst>
          </p:cNvPr>
          <p:cNvSpPr>
            <a:spLocks noGrp="1"/>
          </p:cNvSpPr>
          <p:nvPr>
            <p:ph idx="13" hasCustomPrompt="1"/>
          </p:nvPr>
        </p:nvSpPr>
        <p:spPr>
          <a:xfrm>
            <a:off x="4148043" y="4329511"/>
            <a:ext cx="6980401" cy="694100"/>
          </a:xfrm>
          <a:prstGeom prst="rect">
            <a:avLst/>
          </a:prstGeom>
        </p:spPr>
        <p:txBody>
          <a:bodyPr vert="horz" lIns="0" tIns="0" rIns="0" bIns="0" rtlCol="0">
            <a:noAutofit/>
          </a:bodyPr>
          <a:lstStyle>
            <a:lvl1pPr rtl="0">
              <a:spcAft>
                <a:spcPts val="400"/>
              </a:spcAft>
              <a:defRPr sz="1600" b="1" i="0">
                <a:solidFill>
                  <a:schemeClr val="bg2"/>
                </a:solidFill>
                <a:latin typeface="Graphik Semibold" panose="020B0503030202060203" pitchFamily="34" charset="77"/>
              </a:defRPr>
            </a:lvl1pPr>
            <a:lvl2pPr marL="0" indent="0" rtl="0">
              <a:spcAft>
                <a:spcPts val="400"/>
              </a:spcAft>
              <a:buNone/>
              <a:defRPr sz="1200" b="0" i="0">
                <a:latin typeface="Graphik" panose="020B0503030202060203" pitchFamily="34" charset="77"/>
              </a:defRPr>
            </a:lvl2pPr>
            <a:lvl3pPr marL="10584" indent="0" rtl="0">
              <a:spcAft>
                <a:spcPts val="400"/>
              </a:spcAft>
              <a:buNone/>
              <a:tabLst/>
              <a:defRPr sz="1200" b="0" i="0">
                <a:latin typeface="Graphik" panose="020B0503030202060203" pitchFamily="34" charset="77"/>
              </a:defRPr>
            </a:lvl3pPr>
            <a:lvl4pPr marL="16933" indent="0">
              <a:buNone/>
              <a:tabLst/>
              <a:defRPr b="0" i="0">
                <a:latin typeface="Graphik" panose="020B0503030202060203" pitchFamily="34" charset="77"/>
              </a:defRPr>
            </a:lvl4pPr>
            <a:lvl5pPr marL="16933" indent="0">
              <a:buNone/>
              <a:tabLst/>
              <a:defRPr b="0" i="0">
                <a:latin typeface="Graphik" panose="020B0503030202060203" pitchFamily="34" charset="77"/>
              </a:defRPr>
            </a:lvl5pPr>
            <a:lvl6pPr>
              <a:defRPr sz="1600" b="0" i="0">
                <a:latin typeface="Graphik" panose="020B0503030202060203" pitchFamily="34" charset="77"/>
              </a:defRPr>
            </a:lvl6pPr>
            <a:lvl7pPr>
              <a:defRPr sz="1200" b="0" i="0">
                <a:latin typeface="Graphik" panose="020B0503030202060203" pitchFamily="34" charset="77"/>
              </a:defRPr>
            </a:lvl7pPr>
            <a:lvl9pPr>
              <a:defRPr sz="1200" b="0" i="0">
                <a:latin typeface="Graphik" panose="020B0503030202060203" pitchFamily="34" charset="77"/>
              </a:defRPr>
            </a:lvl9pPr>
          </a:lstStyle>
          <a:p>
            <a:pPr lvl="0"/>
            <a:r>
              <a:rPr lang="pt-BR"/>
              <a:t>First level (bullet)</a:t>
            </a:r>
          </a:p>
          <a:p>
            <a:pPr lvl="1"/>
            <a:r>
              <a:rPr lang="pt-BR"/>
              <a:t>Second level (bullet)</a:t>
            </a:r>
          </a:p>
          <a:p>
            <a:pPr lvl="2"/>
            <a:r>
              <a:rPr lang="pt-BR"/>
              <a:t>Third level (bullet)</a:t>
            </a:r>
            <a:endParaRPr lang="pt-BR" dirty="0"/>
          </a:p>
        </p:txBody>
      </p:sp>
      <p:sp>
        <p:nvSpPr>
          <p:cNvPr id="6" name="Text Placeholder 15">
            <a:extLst>
              <a:ext uri="{FF2B5EF4-FFF2-40B4-BE49-F238E27FC236}">
                <a16:creationId xmlns:a16="http://schemas.microsoft.com/office/drawing/2014/main" id="{8EC9E534-1AD8-73C5-C5AC-15F48DA342B1}"/>
              </a:ext>
            </a:extLst>
          </p:cNvPr>
          <p:cNvSpPr>
            <a:spLocks noGrp="1"/>
          </p:cNvSpPr>
          <p:nvPr>
            <p:ph type="body" sz="quarter" idx="19" hasCustomPrompt="1"/>
          </p:nvPr>
        </p:nvSpPr>
        <p:spPr>
          <a:xfrm>
            <a:off x="3326296" y="5307673"/>
            <a:ext cx="563754" cy="492443"/>
          </a:xfrm>
        </p:spPr>
        <p:txBody>
          <a:bodyPr wrap="square">
            <a:spAutoFit/>
          </a:bodyPr>
          <a:lstStyle>
            <a:lvl1pPr algn="r" rtl="0">
              <a:defRPr sz="1600">
                <a:latin typeface="Graphik Semibold" panose="020B0703030202060203" pitchFamily="34" charset="0"/>
              </a:defRPr>
            </a:lvl1pPr>
          </a:lstStyle>
          <a:p>
            <a:pPr lvl="0"/>
            <a:r>
              <a:rPr lang="pt-BR"/>
              <a:t>Click ##</a:t>
            </a:r>
            <a:endParaRPr lang="pt-BR" dirty="0"/>
          </a:p>
        </p:txBody>
      </p:sp>
      <p:sp>
        <p:nvSpPr>
          <p:cNvPr id="5" name="Text Placeholder 2">
            <a:extLst>
              <a:ext uri="{FF2B5EF4-FFF2-40B4-BE49-F238E27FC236}">
                <a16:creationId xmlns:a16="http://schemas.microsoft.com/office/drawing/2014/main" id="{1702F099-923C-04BF-8A6D-959AE146329A}"/>
              </a:ext>
            </a:extLst>
          </p:cNvPr>
          <p:cNvSpPr>
            <a:spLocks noGrp="1"/>
          </p:cNvSpPr>
          <p:nvPr>
            <p:ph idx="18" hasCustomPrompt="1"/>
          </p:nvPr>
        </p:nvSpPr>
        <p:spPr>
          <a:xfrm>
            <a:off x="4148043" y="5306651"/>
            <a:ext cx="6980401" cy="694100"/>
          </a:xfrm>
          <a:prstGeom prst="rect">
            <a:avLst/>
          </a:prstGeom>
        </p:spPr>
        <p:txBody>
          <a:bodyPr vert="horz" lIns="0" tIns="0" rIns="0" bIns="0" rtlCol="0">
            <a:noAutofit/>
          </a:bodyPr>
          <a:lstStyle>
            <a:lvl1pPr rtl="0">
              <a:spcAft>
                <a:spcPts val="400"/>
              </a:spcAft>
              <a:defRPr sz="1600" b="1" i="0">
                <a:solidFill>
                  <a:schemeClr val="bg2"/>
                </a:solidFill>
                <a:latin typeface="Graphik Semibold" panose="020B0503030202060203" pitchFamily="34" charset="77"/>
              </a:defRPr>
            </a:lvl1pPr>
            <a:lvl2pPr marL="0" indent="0" rtl="0">
              <a:spcAft>
                <a:spcPts val="400"/>
              </a:spcAft>
              <a:buNone/>
              <a:defRPr sz="1200" b="0" i="0">
                <a:latin typeface="Graphik" panose="020B0503030202060203" pitchFamily="34" charset="77"/>
              </a:defRPr>
            </a:lvl2pPr>
            <a:lvl3pPr marL="10584" indent="0" rtl="0">
              <a:spcAft>
                <a:spcPts val="400"/>
              </a:spcAft>
              <a:buNone/>
              <a:tabLst/>
              <a:defRPr sz="1200" b="0" i="0">
                <a:latin typeface="Graphik" panose="020B0503030202060203" pitchFamily="34" charset="77"/>
              </a:defRPr>
            </a:lvl3pPr>
            <a:lvl4pPr marL="16933" indent="0">
              <a:buNone/>
              <a:tabLst/>
              <a:defRPr b="0" i="0">
                <a:latin typeface="Graphik" panose="020B0503030202060203" pitchFamily="34" charset="77"/>
              </a:defRPr>
            </a:lvl4pPr>
            <a:lvl5pPr marL="16933" indent="0">
              <a:buNone/>
              <a:tabLst/>
              <a:defRPr b="0" i="0">
                <a:latin typeface="Graphik" panose="020B0503030202060203" pitchFamily="34" charset="77"/>
              </a:defRPr>
            </a:lvl5pPr>
            <a:lvl6pPr>
              <a:defRPr sz="1600" b="0" i="0">
                <a:latin typeface="Graphik" panose="020B0503030202060203" pitchFamily="34" charset="77"/>
              </a:defRPr>
            </a:lvl6pPr>
            <a:lvl7pPr>
              <a:defRPr sz="1200" b="0" i="0">
                <a:latin typeface="Graphik" panose="020B0503030202060203" pitchFamily="34" charset="77"/>
              </a:defRPr>
            </a:lvl7pPr>
            <a:lvl9pPr>
              <a:defRPr sz="1200" b="0" i="0">
                <a:latin typeface="Graphik" panose="020B0503030202060203" pitchFamily="34" charset="77"/>
              </a:defRPr>
            </a:lvl9pPr>
          </a:lstStyle>
          <a:p>
            <a:pPr lvl="0"/>
            <a:r>
              <a:rPr lang="pt-BR"/>
              <a:t>First level (bullet)</a:t>
            </a:r>
          </a:p>
          <a:p>
            <a:pPr lvl="1"/>
            <a:r>
              <a:rPr lang="pt-BR"/>
              <a:t>Second level (bullet)</a:t>
            </a:r>
          </a:p>
          <a:p>
            <a:pPr lvl="2"/>
            <a:r>
              <a:rPr lang="pt-BR"/>
              <a:t>Third level (bullet)</a:t>
            </a:r>
            <a:endParaRPr lang="pt-BR" dirty="0"/>
          </a:p>
        </p:txBody>
      </p:sp>
    </p:spTree>
    <p:extLst>
      <p:ext uri="{BB962C8B-B14F-4D97-AF65-F5344CB8AC3E}">
        <p14:creationId xmlns:p14="http://schemas.microsoft.com/office/powerpoint/2010/main" val="165857349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ags" Target="../tags/tag1.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heme" Target="../theme/theme1.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F490F46-0373-A60B-B553-7377BBB190D8}"/>
              </a:ext>
            </a:extLst>
          </p:cNvPr>
          <p:cNvGraphicFramePr>
            <a:graphicFrameLocks noChangeAspect="1"/>
          </p:cNvGraphicFramePr>
          <p:nvPr userDrawn="1">
            <p:custDataLst>
              <p:tags r:id="rId58"/>
            </p:custDataLst>
            <p:extLst>
              <p:ext uri="{D42A27DB-BD31-4B8C-83A1-F6EECF244321}">
                <p14:modId xmlns:p14="http://schemas.microsoft.com/office/powerpoint/2010/main" val="1908004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9" imgW="350" imgH="350" progId="TCLayout.ActiveDocument.1">
                  <p:embed/>
                </p:oleObj>
              </mc:Choice>
              <mc:Fallback>
                <p:oleObj name="think-cell Slide" r:id="rId59" imgW="350" imgH="350" progId="TCLayout.ActiveDocument.1">
                  <p:embed/>
                  <p:pic>
                    <p:nvPicPr>
                      <p:cNvPr id="6" name="think-cell data - do not delete" hidden="1">
                        <a:extLst>
                          <a:ext uri="{FF2B5EF4-FFF2-40B4-BE49-F238E27FC236}">
                            <a16:creationId xmlns:a16="http://schemas.microsoft.com/office/drawing/2014/main" id="{AF490F46-0373-A60B-B553-7377BBB190D8}"/>
                          </a:ext>
                        </a:extLst>
                      </p:cNvPr>
                      <p:cNvPicPr/>
                      <p:nvPr/>
                    </p:nvPicPr>
                    <p:blipFill>
                      <a:blip r:embed="rId60"/>
                      <a:stretch>
                        <a:fillRect/>
                      </a:stretch>
                    </p:blipFill>
                    <p:spPr>
                      <a:xfrm>
                        <a:off x="1588" y="1588"/>
                        <a:ext cx="1588" cy="1588"/>
                      </a:xfrm>
                      <a:prstGeom prst="rect">
                        <a:avLst/>
                      </a:prstGeom>
                    </p:spPr>
                  </p:pic>
                </p:oleObj>
              </mc:Fallback>
            </mc:AlternateContent>
          </a:graphicData>
        </a:graphic>
      </p:graphicFrame>
      <p:sp>
        <p:nvSpPr>
          <p:cNvPr id="26" name="slide number automatic">
            <a:extLst>
              <a:ext uri="{FF2B5EF4-FFF2-40B4-BE49-F238E27FC236}">
                <a16:creationId xmlns:a16="http://schemas.microsoft.com/office/drawing/2014/main" id="{A54DE5B9-F305-CC4E-9A6A-0DC78956D275}"/>
              </a:ext>
            </a:extLst>
          </p:cNvPr>
          <p:cNvSpPr txBox="1"/>
          <p:nvPr/>
        </p:nvSpPr>
        <p:spPr>
          <a:xfrm>
            <a:off x="11685965" y="6429853"/>
            <a:ext cx="125035" cy="123111"/>
          </a:xfrm>
          <a:prstGeom prst="rect">
            <a:avLst/>
          </a:prstGeom>
          <a:noFill/>
        </p:spPr>
        <p:txBody>
          <a:bodyPr wrap="none" lIns="0" tIns="0" rIns="0" bIns="0" rtlCol="0" anchor="ctr">
            <a:spAutoFit/>
          </a:bodyPr>
          <a:lstStyle/>
          <a:p>
            <a:pPr marL="0" marR="0" lvl="0" indent="0" algn="r" defTabSz="228594" rtl="0" eaLnBrk="1" fontAlgn="auto" latinLnBrk="0" hangingPunct="1">
              <a:lnSpc>
                <a:spcPct val="100000"/>
              </a:lnSpc>
              <a:spcBef>
                <a:spcPts val="0"/>
              </a:spcBef>
              <a:spcAft>
                <a:spcPts val="1200"/>
              </a:spcAft>
              <a:buClrTx/>
              <a:buSzTx/>
              <a:buFontTx/>
              <a:buNone/>
              <a:tabLst/>
              <a:defRPr/>
            </a:pPr>
            <a:fld id="{8A1971D9-5B62-3C46-9EC9-FDAAB88557B2}" type="slidenum">
              <a:rPr lang="pt-BR" sz="800" smtClean="0">
                <a:solidFill>
                  <a:schemeClr val="tx1">
                    <a:lumMod val="50000"/>
                    <a:lumOff val="50000"/>
                    <a:alpha val="75000"/>
                  </a:schemeClr>
                </a:solidFill>
                <a:latin typeface="Graphik Semibold" panose="020B0703030202060203" pitchFamily="34" charset="0"/>
              </a:rPr>
              <a:pPr marL="0" marR="0" lvl="0" indent="0" algn="r" defTabSz="228594" rtl="0" eaLnBrk="1" fontAlgn="auto" latinLnBrk="0" hangingPunct="1">
                <a:lnSpc>
                  <a:spcPct val="100000"/>
                </a:lnSpc>
                <a:spcBef>
                  <a:spcPts val="0"/>
                </a:spcBef>
                <a:spcAft>
                  <a:spcPts val="1200"/>
                </a:spcAft>
                <a:buClrTx/>
                <a:buSzTx/>
                <a:buFontTx/>
                <a:buNone/>
                <a:tabLst/>
                <a:defRPr/>
              </a:pPr>
              <a:t>‹#›</a:t>
            </a:fld>
            <a:endParaRPr lang="pt-BR" sz="1351" noProof="0" dirty="0">
              <a:solidFill>
                <a:schemeClr val="tx1">
                  <a:lumMod val="50000"/>
                  <a:lumOff val="50000"/>
                  <a:alpha val="75000"/>
                </a:schemeClr>
              </a:solidFill>
              <a:latin typeface="Graphik Semibold" panose="020B0703030202060203" pitchFamily="34" charset="0"/>
            </a:endParaRPr>
          </a:p>
        </p:txBody>
      </p:sp>
      <p:sp>
        <p:nvSpPr>
          <p:cNvPr id="2" name="Title Placeholder 1">
            <a:extLst>
              <a:ext uri="{FF2B5EF4-FFF2-40B4-BE49-F238E27FC236}">
                <a16:creationId xmlns:a16="http://schemas.microsoft.com/office/drawing/2014/main" id="{567A189F-CDB6-4881-855E-11E780CE46B1}"/>
              </a:ext>
            </a:extLst>
          </p:cNvPr>
          <p:cNvSpPr>
            <a:spLocks noGrp="1"/>
          </p:cNvSpPr>
          <p:nvPr>
            <p:ph type="title"/>
          </p:nvPr>
        </p:nvSpPr>
        <p:spPr>
          <a:xfrm>
            <a:off x="565460" y="558086"/>
            <a:ext cx="11357865" cy="393954"/>
          </a:xfrm>
          <a:prstGeom prst="rect">
            <a:avLst/>
          </a:prstGeom>
        </p:spPr>
        <p:txBody>
          <a:bodyPr vert="horz" wrap="square" lIns="0" tIns="0" rIns="0" bIns="0" rtlCol="0" anchor="t">
            <a:spAutoFit/>
          </a:bodyPr>
          <a:lstStyle/>
          <a:p>
            <a:r>
              <a:rPr lang="pt-BR" b="1" i="0">
                <a:latin typeface="Graphik Semibold" panose="020B0503030202060203" pitchFamily="34" charset="77"/>
              </a:rPr>
              <a:t>Place headline here in Graphik Semibold</a:t>
            </a:r>
            <a:endParaRPr lang="pt-BR" dirty="0"/>
          </a:p>
        </p:txBody>
      </p:sp>
      <p:sp>
        <p:nvSpPr>
          <p:cNvPr id="3" name="Text Placeholder 2">
            <a:extLst>
              <a:ext uri="{FF2B5EF4-FFF2-40B4-BE49-F238E27FC236}">
                <a16:creationId xmlns:a16="http://schemas.microsoft.com/office/drawing/2014/main" id="{6D78F67F-4953-4937-B393-889106DBC906}"/>
              </a:ext>
            </a:extLst>
          </p:cNvPr>
          <p:cNvSpPr>
            <a:spLocks noGrp="1"/>
          </p:cNvSpPr>
          <p:nvPr>
            <p:ph type="body" idx="1"/>
          </p:nvPr>
        </p:nvSpPr>
        <p:spPr>
          <a:xfrm>
            <a:off x="565460" y="1371601"/>
            <a:ext cx="11357865" cy="4766863"/>
          </a:xfrm>
          <a:prstGeom prst="rect">
            <a:avLst/>
          </a:prstGeom>
          <a:ln>
            <a:noFill/>
          </a:ln>
        </p:spPr>
        <p:txBody>
          <a:bodyPr vert="horz" lIns="0" tIns="0" rIns="0" bIns="0" rtlCol="0">
            <a:noAutofit/>
          </a:bodyPr>
          <a:lstStyle/>
          <a:p>
            <a:pPr lvl="0"/>
            <a:r>
              <a:rPr lang="pt-BR"/>
              <a:t>First level (copy)</a:t>
            </a:r>
          </a:p>
          <a:p>
            <a:pPr lvl="1"/>
            <a:r>
              <a:rPr lang="pt-BR"/>
              <a:t>Second level (bullet)</a:t>
            </a:r>
          </a:p>
          <a:p>
            <a:pPr lvl="2"/>
            <a:r>
              <a:rPr lang="pt-BR"/>
              <a:t>Third level (bullet)</a:t>
            </a:r>
          </a:p>
          <a:p>
            <a:pPr lvl="3"/>
            <a:r>
              <a:rPr lang="pt-BR"/>
              <a:t>Fourth level (bullet)</a:t>
            </a:r>
          </a:p>
          <a:p>
            <a:pPr lvl="4"/>
            <a:r>
              <a:rPr lang="pt-BR"/>
              <a:t>Fifth level (bullet)</a:t>
            </a:r>
          </a:p>
          <a:p>
            <a:pPr lvl="5"/>
            <a:r>
              <a:rPr lang="pt-BR"/>
              <a:t>Sixth level (copy)</a:t>
            </a:r>
          </a:p>
          <a:p>
            <a:pPr lvl="6"/>
            <a:r>
              <a:rPr lang="pt-BR"/>
              <a:t>Seventh level (small copy)</a:t>
            </a:r>
          </a:p>
          <a:p>
            <a:pPr lvl="7"/>
            <a:r>
              <a:rPr lang="pt-BR"/>
              <a:t>EIGHT LEVEL (DESCRIPTOR)</a:t>
            </a:r>
          </a:p>
          <a:p>
            <a:pPr lvl="8"/>
            <a:r>
              <a:rPr lang="pt-BR"/>
              <a:t>Ninth level (footer)</a:t>
            </a:r>
            <a:endParaRPr lang="pt-BR" dirty="0"/>
          </a:p>
        </p:txBody>
      </p:sp>
    </p:spTree>
    <p:extLst>
      <p:ext uri="{BB962C8B-B14F-4D97-AF65-F5344CB8AC3E}">
        <p14:creationId xmlns:p14="http://schemas.microsoft.com/office/powerpoint/2010/main" val="2457110672"/>
      </p:ext>
    </p:extLst>
  </p:cSld>
  <p:clrMap bg1="lt1" tx1="dk1" bg2="lt2" tx2="dk2" accent1="accent1" accent2="accent2" accent3="accent3" accent4="accent4" accent5="accent5" accent6="accent6" hlink="hlink" folHlink="folHlink"/>
  <p:sldLayoutIdLst>
    <p:sldLayoutId id="2147483768" r:id="rId1"/>
    <p:sldLayoutId id="2147483890" r:id="rId2"/>
    <p:sldLayoutId id="2147483893" r:id="rId3"/>
    <p:sldLayoutId id="2147483772" r:id="rId4"/>
    <p:sldLayoutId id="2147483897" r:id="rId5"/>
    <p:sldLayoutId id="2147483777" r:id="rId6"/>
    <p:sldLayoutId id="2147483799" r:id="rId7"/>
    <p:sldLayoutId id="2147483871" r:id="rId8"/>
    <p:sldLayoutId id="2147483872" r:id="rId9"/>
    <p:sldLayoutId id="2147483761" r:id="rId10"/>
    <p:sldLayoutId id="2147483760" r:id="rId11"/>
    <p:sldLayoutId id="2147483882" r:id="rId12"/>
    <p:sldLayoutId id="2147483849" r:id="rId13"/>
    <p:sldLayoutId id="2147483867" r:id="rId14"/>
    <p:sldLayoutId id="2147483879" r:id="rId15"/>
    <p:sldLayoutId id="2147483878" r:id="rId16"/>
    <p:sldLayoutId id="2147483649" r:id="rId17"/>
    <p:sldLayoutId id="2147483778" r:id="rId18"/>
    <p:sldLayoutId id="2147483864" r:id="rId19"/>
    <p:sldLayoutId id="2147483779" r:id="rId20"/>
    <p:sldLayoutId id="2147483865" r:id="rId21"/>
    <p:sldLayoutId id="2147483837" r:id="rId22"/>
    <p:sldLayoutId id="2147483781" r:id="rId23"/>
    <p:sldLayoutId id="2147483782" r:id="rId24"/>
    <p:sldLayoutId id="2147483783" r:id="rId25"/>
    <p:sldLayoutId id="2147483784" r:id="rId26"/>
    <p:sldLayoutId id="2147483876" r:id="rId27"/>
    <p:sldLayoutId id="2147483880" r:id="rId28"/>
    <p:sldLayoutId id="2147483873" r:id="rId29"/>
    <p:sldLayoutId id="2147483868" r:id="rId30"/>
    <p:sldLayoutId id="2147483869" r:id="rId31"/>
    <p:sldLayoutId id="2147483883" r:id="rId32"/>
    <p:sldLayoutId id="2147483861" r:id="rId33"/>
    <p:sldLayoutId id="2147483851" r:id="rId34"/>
    <p:sldLayoutId id="2147483792" r:id="rId35"/>
    <p:sldLayoutId id="2147483793" r:id="rId36"/>
    <p:sldLayoutId id="2147483875" r:id="rId37"/>
    <p:sldLayoutId id="2147483845" r:id="rId38"/>
    <p:sldLayoutId id="2147483857" r:id="rId39"/>
    <p:sldLayoutId id="2147483855" r:id="rId40"/>
    <p:sldLayoutId id="2147483786" r:id="rId41"/>
    <p:sldLayoutId id="2147483787" r:id="rId42"/>
    <p:sldLayoutId id="2147483788" r:id="rId43"/>
    <p:sldLayoutId id="2147483858" r:id="rId44"/>
    <p:sldLayoutId id="2147483866" r:id="rId45"/>
    <p:sldLayoutId id="2147483790" r:id="rId46"/>
    <p:sldLayoutId id="2147483791" r:id="rId47"/>
    <p:sldLayoutId id="2147483863" r:id="rId48"/>
    <p:sldLayoutId id="2147483877" r:id="rId49"/>
    <p:sldLayoutId id="2147483795" r:id="rId50"/>
    <p:sldLayoutId id="2147483862" r:id="rId51"/>
    <p:sldLayoutId id="2147483794" r:id="rId52"/>
    <p:sldLayoutId id="2147483860" r:id="rId53"/>
    <p:sldLayoutId id="2147483838" r:id="rId54"/>
    <p:sldLayoutId id="2147483833" r:id="rId55"/>
    <p:sldLayoutId id="2147483870" r:id="rId56"/>
  </p:sldLayoutIdLst>
  <p:hf sldNum="0" hdr="0" ftr="0" dt="0"/>
  <p:txStyles>
    <p:titleStyle>
      <a:lvl1pPr algn="l" defTabSz="914377" rtl="0" eaLnBrk="1" latinLnBrk="0" hangingPunct="1">
        <a:lnSpc>
          <a:spcPct val="80000"/>
        </a:lnSpc>
        <a:spcBef>
          <a:spcPct val="0"/>
        </a:spcBef>
        <a:buNone/>
        <a:defRPr sz="3200" b="0" i="0" kern="1200">
          <a:solidFill>
            <a:schemeClr val="tx1"/>
          </a:solidFill>
          <a:latin typeface="Graphik Semibold" panose="020B0503030202060203" pitchFamily="34" charset="77"/>
          <a:ea typeface="+mj-ea"/>
          <a:cs typeface="+mj-cs"/>
        </a:defRPr>
      </a:lvl1pPr>
    </p:titleStyle>
    <p:bodyStyle>
      <a:lvl1pPr marL="0" indent="0" algn="l" defTabSz="228594" rtl="0" eaLnBrk="1" latinLnBrk="0" hangingPunct="1">
        <a:lnSpc>
          <a:spcPct val="100000"/>
        </a:lnSpc>
        <a:spcBef>
          <a:spcPts val="0"/>
        </a:spcBef>
        <a:spcAft>
          <a:spcPts val="1200"/>
        </a:spcAft>
        <a:buFont typeface="Arial" panose="020B0604020202020204" pitchFamily="34" charset="0"/>
        <a:buNone/>
        <a:defRPr sz="1400" b="0" kern="1200">
          <a:solidFill>
            <a:schemeClr val="tx1"/>
          </a:solidFill>
          <a:latin typeface="+mn-lt"/>
          <a:ea typeface="+mn-ea"/>
          <a:cs typeface="+mn-cs"/>
        </a:defRPr>
      </a:lvl1pPr>
      <a:lvl2pPr marL="228594" indent="-228594" algn="l" defTabSz="228594" rtl="0" eaLnBrk="1" latinLnBrk="0" hangingPunct="1">
        <a:lnSpc>
          <a:spcPct val="100000"/>
        </a:lnSpc>
        <a:spcBef>
          <a:spcPts val="0"/>
        </a:spcBef>
        <a:spcAft>
          <a:spcPts val="1200"/>
        </a:spcAft>
        <a:buClrTx/>
        <a:buFont typeface="Arial" panose="020B0604020202020204" pitchFamily="34" charset="0"/>
        <a:buChar char="•"/>
        <a:defRPr sz="1200" kern="1200">
          <a:solidFill>
            <a:schemeClr val="tx1"/>
          </a:solidFill>
          <a:latin typeface="+mn-lt"/>
          <a:ea typeface="+mn-ea"/>
          <a:cs typeface="+mn-cs"/>
        </a:defRPr>
      </a:lvl2pPr>
      <a:lvl3pPr marL="457189" indent="-228594" algn="l" defTabSz="228594" rtl="0" eaLnBrk="1" latinLnBrk="0" hangingPunct="1">
        <a:lnSpc>
          <a:spcPct val="100000"/>
        </a:lnSpc>
        <a:spcBef>
          <a:spcPts val="0"/>
        </a:spcBef>
        <a:spcAft>
          <a:spcPts val="1200"/>
        </a:spcAft>
        <a:buFont typeface="System Font"/>
        <a:buChar char="–"/>
        <a:defRPr sz="1200" kern="1200">
          <a:solidFill>
            <a:schemeClr val="tx1"/>
          </a:solidFill>
          <a:latin typeface="+mn-lt"/>
          <a:ea typeface="+mn-ea"/>
          <a:cs typeface="+mn-cs"/>
        </a:defRPr>
      </a:lvl3pPr>
      <a:lvl4pPr marL="685783" indent="-228594" algn="l" defTabSz="228594" rtl="0" eaLnBrk="1" latinLnBrk="0" hangingPunct="1">
        <a:lnSpc>
          <a:spcPct val="100000"/>
        </a:lnSpc>
        <a:spcBef>
          <a:spcPts val="0"/>
        </a:spcBef>
        <a:spcAft>
          <a:spcPts val="1200"/>
        </a:spcAft>
        <a:buFont typeface="Arial" panose="020B0604020202020204" pitchFamily="34" charset="0"/>
        <a:buChar char="•"/>
        <a:defRPr sz="1100" kern="1200">
          <a:solidFill>
            <a:schemeClr val="tx1"/>
          </a:solidFill>
          <a:latin typeface="+mn-lt"/>
          <a:ea typeface="+mn-ea"/>
          <a:cs typeface="+mn-cs"/>
        </a:defRPr>
      </a:lvl4pPr>
      <a:lvl5pPr marL="914377" indent="-228594" algn="l" defTabSz="228594" rtl="0" eaLnBrk="1" latinLnBrk="0" hangingPunct="1">
        <a:lnSpc>
          <a:spcPct val="100000"/>
        </a:lnSpc>
        <a:spcBef>
          <a:spcPts val="0"/>
        </a:spcBef>
        <a:spcAft>
          <a:spcPts val="1200"/>
        </a:spcAft>
        <a:buFont typeface="System Font"/>
        <a:buChar char="–"/>
        <a:defRPr sz="1100" kern="1200">
          <a:solidFill>
            <a:schemeClr val="tx1"/>
          </a:solidFill>
          <a:latin typeface="+mn-lt"/>
          <a:ea typeface="+mn-ea"/>
          <a:cs typeface="+mn-cs"/>
        </a:defRPr>
      </a:lvl5pPr>
      <a:lvl6pPr marL="11113" indent="0" algn="l" defTabSz="228594" rtl="0" eaLnBrk="1" latinLnBrk="0" hangingPunct="1">
        <a:lnSpc>
          <a:spcPct val="90000"/>
        </a:lnSpc>
        <a:spcBef>
          <a:spcPts val="0"/>
        </a:spcBef>
        <a:spcAft>
          <a:spcPts val="1200"/>
        </a:spcAft>
        <a:buFont typeface="Graphik" panose="020B0503030202060203" pitchFamily="34" charset="0"/>
        <a:buNone/>
        <a:tabLst/>
        <a:defRPr sz="1200" kern="1200">
          <a:solidFill>
            <a:schemeClr val="tx1"/>
          </a:solidFill>
          <a:latin typeface="+mn-lt"/>
          <a:ea typeface="+mn-ea"/>
          <a:cs typeface="+mn-cs"/>
        </a:defRPr>
      </a:lvl6pPr>
      <a:lvl7pPr marL="0" indent="0" algn="l" defTabSz="22859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mn-lt"/>
          <a:ea typeface="+mn-ea"/>
          <a:cs typeface="+mn-cs"/>
        </a:defRPr>
      </a:lvl7pPr>
      <a:lvl8pPr marL="0" indent="0" algn="l" defTabSz="22859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mn-lt"/>
          <a:ea typeface="+mn-ea"/>
          <a:cs typeface="+mn-cs"/>
        </a:defRPr>
      </a:lvl8pPr>
      <a:lvl9pPr marL="0" indent="0" algn="l" defTabSz="22859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userDrawn="1">
          <p15:clr>
            <a:srgbClr val="5ACBF0"/>
          </p15:clr>
        </p15:guide>
        <p15:guide id="8" pos="347" userDrawn="1">
          <p15:clr>
            <a:srgbClr val="9FCC3B"/>
          </p15:clr>
        </p15:guide>
        <p15:guide id="9" pos="733" userDrawn="1">
          <p15:clr>
            <a:srgbClr val="C35EA4"/>
          </p15:clr>
        </p15:guide>
        <p15:guide id="10" pos="7514" userDrawn="1">
          <p15:clr>
            <a:srgbClr val="5ACBF0"/>
          </p15:clr>
        </p15:guide>
        <p15:guide id="11" pos="166" userDrawn="1">
          <p15:clr>
            <a:srgbClr val="5ACBF0"/>
          </p15:clr>
        </p15:guide>
        <p15:guide id="12" orient="horz" pos="4156" userDrawn="1">
          <p15:clr>
            <a:srgbClr val="5ACBF0"/>
          </p15:clr>
        </p15:guide>
        <p15:guide id="13" pos="7333" userDrawn="1">
          <p15:clr>
            <a:srgbClr val="9FCC3B"/>
          </p15:clr>
        </p15:guide>
        <p15:guide id="14" orient="horz" pos="346" userDrawn="1">
          <p15:clr>
            <a:srgbClr val="9FCC3B"/>
          </p15:clr>
        </p15:guide>
        <p15:guide id="15" orient="horz" pos="3974" userDrawn="1">
          <p15:clr>
            <a:srgbClr val="9FCC3B"/>
          </p15:clr>
        </p15:guide>
        <p15:guide id="16" orient="horz" pos="845" userDrawn="1">
          <p15:clr>
            <a:srgbClr val="A4A3A4"/>
          </p15:clr>
        </p15:guide>
        <p15:guide id="17" orient="horz" pos="3861" userDrawn="1">
          <p15:clr>
            <a:srgbClr val="A4A3A4"/>
          </p15:clr>
        </p15:guide>
        <p15:guide id="18" pos="6924" userDrawn="1">
          <p15:clr>
            <a:srgbClr val="C35EA4"/>
          </p15:clr>
        </p15:guide>
        <p15:guide id="19" orient="horz" pos="1162" userDrawn="1">
          <p15:clr>
            <a:srgbClr val="FDE53C"/>
          </p15:clr>
        </p15:guide>
        <p15:guide id="20" pos="7015" userDrawn="1">
          <p15:clr>
            <a:srgbClr val="F26B43"/>
          </p15:clr>
        </p15:guide>
        <p15:guide id="21" pos="665"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7.png"/><Relationship Id="rId2" Type="http://schemas.openxmlformats.org/officeDocument/2006/relationships/slideLayout" Target="../slideLayouts/slideLayout4.xml"/><Relationship Id="rId1" Type="http://schemas.openxmlformats.org/officeDocument/2006/relationships/tags" Target="../tags/tag57.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57.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7.xml"/><Relationship Id="rId1" Type="http://schemas.openxmlformats.org/officeDocument/2006/relationships/tags" Target="../tags/tag66.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100.xml.rels><?xml version="1.0" encoding="UTF-8" standalone="yes"?>
<Relationships xmlns="http://schemas.openxmlformats.org/package/2006/relationships"><Relationship Id="rId3" Type="http://schemas.openxmlformats.org/officeDocument/2006/relationships/notesSlide" Target="../notesSlides/notesSlide100.xml"/><Relationship Id="rId2" Type="http://schemas.openxmlformats.org/officeDocument/2006/relationships/slideLayout" Target="../slideLayouts/slideLayout13.xml"/><Relationship Id="rId1" Type="http://schemas.openxmlformats.org/officeDocument/2006/relationships/tags" Target="../tags/tag184.xml"/><Relationship Id="rId5" Type="http://schemas.openxmlformats.org/officeDocument/2006/relationships/image" Target="../media/image1.emf"/><Relationship Id="rId4" Type="http://schemas.openxmlformats.org/officeDocument/2006/relationships/oleObject" Target="../embeddings/oleObject156.bin"/></Relationships>
</file>

<file path=ppt/slides/_rels/slide101.xml.rels><?xml version="1.0" encoding="UTF-8" standalone="yes"?>
<Relationships xmlns="http://schemas.openxmlformats.org/package/2006/relationships"><Relationship Id="rId3" Type="http://schemas.openxmlformats.org/officeDocument/2006/relationships/notesSlide" Target="../notesSlides/notesSlide101.xml"/><Relationship Id="rId2" Type="http://schemas.openxmlformats.org/officeDocument/2006/relationships/slideLayout" Target="../slideLayouts/slideLayout54.xml"/><Relationship Id="rId1" Type="http://schemas.openxmlformats.org/officeDocument/2006/relationships/tags" Target="../tags/tag185.xml"/><Relationship Id="rId5" Type="http://schemas.openxmlformats.org/officeDocument/2006/relationships/image" Target="../media/image1.emf"/><Relationship Id="rId4" Type="http://schemas.openxmlformats.org/officeDocument/2006/relationships/oleObject" Target="../embeddings/oleObject157.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7.xml"/><Relationship Id="rId1" Type="http://schemas.openxmlformats.org/officeDocument/2006/relationships/tags" Target="../tags/tag67.xml"/><Relationship Id="rId5" Type="http://schemas.openxmlformats.org/officeDocument/2006/relationships/image" Target="../media/image1.emf"/><Relationship Id="rId4" Type="http://schemas.openxmlformats.org/officeDocument/2006/relationships/oleObject" Target="../embeddings/oleObject67.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7.xml"/><Relationship Id="rId1" Type="http://schemas.openxmlformats.org/officeDocument/2006/relationships/tags" Target="../tags/tag68.xml"/><Relationship Id="rId5" Type="http://schemas.openxmlformats.org/officeDocument/2006/relationships/image" Target="../media/image1.emf"/><Relationship Id="rId4" Type="http://schemas.openxmlformats.org/officeDocument/2006/relationships/oleObject" Target="../embeddings/oleObject68.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7.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69.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1.xml"/><Relationship Id="rId1" Type="http://schemas.openxmlformats.org/officeDocument/2006/relationships/tags" Target="../tags/tag70.xml"/><Relationship Id="rId6" Type="http://schemas.openxmlformats.org/officeDocument/2006/relationships/image" Target="../media/image8.jpeg"/><Relationship Id="rId5" Type="http://schemas.openxmlformats.org/officeDocument/2006/relationships/image" Target="../media/image1.emf"/><Relationship Id="rId4" Type="http://schemas.openxmlformats.org/officeDocument/2006/relationships/oleObject" Target="../embeddings/oleObject70.bin"/></Relationships>
</file>

<file path=ppt/slides/_rels/slide1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notesSlide" Target="../notesSlides/notesSlide15.xml"/><Relationship Id="rId7" Type="http://schemas.openxmlformats.org/officeDocument/2006/relationships/image" Target="../media/image14.png"/><Relationship Id="rId2" Type="http://schemas.openxmlformats.org/officeDocument/2006/relationships/slideLayout" Target="../slideLayouts/slideLayout26.xml"/><Relationship Id="rId1" Type="http://schemas.openxmlformats.org/officeDocument/2006/relationships/tags" Target="../tags/tag71.x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71.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6.xml"/><Relationship Id="rId1" Type="http://schemas.openxmlformats.org/officeDocument/2006/relationships/tags" Target="../tags/tag72.xml"/><Relationship Id="rId5" Type="http://schemas.openxmlformats.org/officeDocument/2006/relationships/image" Target="../media/image1.emf"/><Relationship Id="rId4" Type="http://schemas.openxmlformats.org/officeDocument/2006/relationships/oleObject" Target="../embeddings/oleObject72.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1.xml"/><Relationship Id="rId1" Type="http://schemas.openxmlformats.org/officeDocument/2006/relationships/tags" Target="../tags/tag73.xml"/><Relationship Id="rId6" Type="http://schemas.openxmlformats.org/officeDocument/2006/relationships/image" Target="../media/image16.jpeg"/><Relationship Id="rId5" Type="http://schemas.openxmlformats.org/officeDocument/2006/relationships/image" Target="../media/image1.emf"/><Relationship Id="rId4" Type="http://schemas.openxmlformats.org/officeDocument/2006/relationships/oleObject" Target="../embeddings/oleObject73.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6.xml"/><Relationship Id="rId1" Type="http://schemas.openxmlformats.org/officeDocument/2006/relationships/tags" Target="../tags/tag74.x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74.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1.xml"/><Relationship Id="rId1" Type="http://schemas.openxmlformats.org/officeDocument/2006/relationships/tags" Target="../tags/tag75.xml"/><Relationship Id="rId6" Type="http://schemas.openxmlformats.org/officeDocument/2006/relationships/image" Target="../media/image8.jpeg"/><Relationship Id="rId5" Type="http://schemas.openxmlformats.org/officeDocument/2006/relationships/image" Target="../media/image1.emf"/><Relationship Id="rId4" Type="http://schemas.openxmlformats.org/officeDocument/2006/relationships/oleObject" Target="../embeddings/oleObject75.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58.xml"/><Relationship Id="rId5" Type="http://schemas.openxmlformats.org/officeDocument/2006/relationships/image" Target="../media/image1.emf"/><Relationship Id="rId4" Type="http://schemas.openxmlformats.org/officeDocument/2006/relationships/oleObject" Target="../embeddings/oleObject58.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5.xml"/><Relationship Id="rId1" Type="http://schemas.openxmlformats.org/officeDocument/2006/relationships/tags" Target="../tags/tag76.xml"/><Relationship Id="rId5" Type="http://schemas.openxmlformats.org/officeDocument/2006/relationships/image" Target="../media/image1.emf"/><Relationship Id="rId4" Type="http://schemas.openxmlformats.org/officeDocument/2006/relationships/oleObject" Target="../embeddings/oleObject76.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46.xml"/><Relationship Id="rId1" Type="http://schemas.openxmlformats.org/officeDocument/2006/relationships/tags" Target="../tags/tag77.x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77.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1.xml"/><Relationship Id="rId1" Type="http://schemas.openxmlformats.org/officeDocument/2006/relationships/tags" Target="../tags/tag78.xml"/><Relationship Id="rId6" Type="http://schemas.openxmlformats.org/officeDocument/2006/relationships/image" Target="../media/image16.jpeg"/><Relationship Id="rId5" Type="http://schemas.openxmlformats.org/officeDocument/2006/relationships/image" Target="../media/image1.emf"/><Relationship Id="rId4" Type="http://schemas.openxmlformats.org/officeDocument/2006/relationships/oleObject" Target="../embeddings/oleObject78.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39.xml"/><Relationship Id="rId1" Type="http://schemas.openxmlformats.org/officeDocument/2006/relationships/tags" Target="../tags/tag79.xml"/><Relationship Id="rId5" Type="http://schemas.openxmlformats.org/officeDocument/2006/relationships/image" Target="../media/image1.emf"/><Relationship Id="rId4" Type="http://schemas.openxmlformats.org/officeDocument/2006/relationships/oleObject" Target="../embeddings/oleObject79.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54.xml"/><Relationship Id="rId1" Type="http://schemas.openxmlformats.org/officeDocument/2006/relationships/tags" Target="../tags/tag80.xml"/><Relationship Id="rId5" Type="http://schemas.openxmlformats.org/officeDocument/2006/relationships/image" Target="../media/image1.emf"/><Relationship Id="rId4" Type="http://schemas.openxmlformats.org/officeDocument/2006/relationships/oleObject" Target="../embeddings/oleObject80.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30.xml"/><Relationship Id="rId1" Type="http://schemas.openxmlformats.org/officeDocument/2006/relationships/tags" Target="../tags/tag81.xml"/><Relationship Id="rId6" Type="http://schemas.openxmlformats.org/officeDocument/2006/relationships/hyperlink" Target="https://ts.accenture.com/sites/BrandSpace" TargetMode="External"/><Relationship Id="rId5" Type="http://schemas.openxmlformats.org/officeDocument/2006/relationships/image" Target="../media/image1.emf"/><Relationship Id="rId4" Type="http://schemas.openxmlformats.org/officeDocument/2006/relationships/oleObject" Target="../embeddings/oleObject81.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30.xml"/><Relationship Id="rId1" Type="http://schemas.openxmlformats.org/officeDocument/2006/relationships/tags" Target="../tags/tag82.xml"/><Relationship Id="rId6" Type="http://schemas.openxmlformats.org/officeDocument/2006/relationships/hyperlink" Target="https://ts.accenture.com/sites/BrandSpace/brand_faq" TargetMode="External"/><Relationship Id="rId5" Type="http://schemas.openxmlformats.org/officeDocument/2006/relationships/image" Target="../media/image1.emf"/><Relationship Id="rId4" Type="http://schemas.openxmlformats.org/officeDocument/2006/relationships/oleObject" Target="../embeddings/oleObject82.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6.xml"/><Relationship Id="rId1" Type="http://schemas.openxmlformats.org/officeDocument/2006/relationships/tags" Target="../tags/tag83.xml"/><Relationship Id="rId5" Type="http://schemas.openxmlformats.org/officeDocument/2006/relationships/image" Target="../media/image1.emf"/><Relationship Id="rId4" Type="http://schemas.openxmlformats.org/officeDocument/2006/relationships/oleObject" Target="../embeddings/oleObject83.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5.xml"/><Relationship Id="rId1" Type="http://schemas.openxmlformats.org/officeDocument/2006/relationships/tags" Target="../tags/tag84.xml"/><Relationship Id="rId5" Type="http://schemas.openxmlformats.org/officeDocument/2006/relationships/image" Target="../media/image1.emf"/><Relationship Id="rId4" Type="http://schemas.openxmlformats.org/officeDocument/2006/relationships/oleObject" Target="../embeddings/oleObject84.bin"/></Relationships>
</file>

<file path=ppt/slides/_rels/slide29.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notesSlide" Target="../notesSlides/notesSlide29.xml"/><Relationship Id="rId7" Type="http://schemas.openxmlformats.org/officeDocument/2006/relationships/image" Target="../media/image20.png"/><Relationship Id="rId2" Type="http://schemas.openxmlformats.org/officeDocument/2006/relationships/slideLayout" Target="../slideLayouts/slideLayout28.xml"/><Relationship Id="rId1" Type="http://schemas.openxmlformats.org/officeDocument/2006/relationships/tags" Target="../tags/tag85.x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85.bin"/><Relationship Id="rId9" Type="http://schemas.openxmlformats.org/officeDocument/2006/relationships/image" Target="../media/image22.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1.xml"/><Relationship Id="rId1" Type="http://schemas.openxmlformats.org/officeDocument/2006/relationships/tags" Target="../tags/tag59.xml"/><Relationship Id="rId6" Type="http://schemas.openxmlformats.org/officeDocument/2006/relationships/image" Target="../media/image8.jpeg"/><Relationship Id="rId5" Type="http://schemas.openxmlformats.org/officeDocument/2006/relationships/image" Target="../media/image1.emf"/><Relationship Id="rId4" Type="http://schemas.openxmlformats.org/officeDocument/2006/relationships/oleObject" Target="../embeddings/oleObject59.bin"/></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28.xml"/><Relationship Id="rId1" Type="http://schemas.openxmlformats.org/officeDocument/2006/relationships/tags" Target="../tags/tag86.xml"/><Relationship Id="rId6" Type="http://schemas.openxmlformats.org/officeDocument/2006/relationships/hyperlink" Target="https://ts.accenture.com/sites/BrandSpace/Pages/brand_assets/downloads/Acc_Type_All.zip" TargetMode="External"/><Relationship Id="rId5" Type="http://schemas.openxmlformats.org/officeDocument/2006/relationships/image" Target="../media/image1.emf"/><Relationship Id="rId4" Type="http://schemas.openxmlformats.org/officeDocument/2006/relationships/oleObject" Target="../embeddings/oleObject86.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0.xml"/><Relationship Id="rId1" Type="http://schemas.openxmlformats.org/officeDocument/2006/relationships/tags" Target="../tags/tag87.xml"/><Relationship Id="rId5" Type="http://schemas.openxmlformats.org/officeDocument/2006/relationships/image" Target="../media/image1.emf"/><Relationship Id="rId4" Type="http://schemas.openxmlformats.org/officeDocument/2006/relationships/oleObject" Target="../embeddings/oleObject87.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12.xml"/><Relationship Id="rId1" Type="http://schemas.openxmlformats.org/officeDocument/2006/relationships/tags" Target="../tags/tag88.xml"/><Relationship Id="rId6" Type="http://schemas.openxmlformats.org/officeDocument/2006/relationships/image" Target="../media/image23.jpeg"/><Relationship Id="rId5" Type="http://schemas.openxmlformats.org/officeDocument/2006/relationships/image" Target="../media/image1.emf"/><Relationship Id="rId4" Type="http://schemas.openxmlformats.org/officeDocument/2006/relationships/oleObject" Target="../embeddings/oleObject88.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11.xml"/><Relationship Id="rId1" Type="http://schemas.openxmlformats.org/officeDocument/2006/relationships/tags" Target="../tags/tag89.xml"/><Relationship Id="rId6" Type="http://schemas.openxmlformats.org/officeDocument/2006/relationships/image" Target="../media/image8.jpeg"/><Relationship Id="rId5" Type="http://schemas.openxmlformats.org/officeDocument/2006/relationships/image" Target="../media/image1.emf"/><Relationship Id="rId4" Type="http://schemas.openxmlformats.org/officeDocument/2006/relationships/oleObject" Target="../embeddings/oleObject89.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27.xml"/><Relationship Id="rId1" Type="http://schemas.openxmlformats.org/officeDocument/2006/relationships/tags" Target="../tags/tag90.xml"/><Relationship Id="rId5" Type="http://schemas.openxmlformats.org/officeDocument/2006/relationships/image" Target="../media/image1.emf"/><Relationship Id="rId4" Type="http://schemas.openxmlformats.org/officeDocument/2006/relationships/oleObject" Target="../embeddings/oleObject90.bin"/></Relationships>
</file>

<file path=ppt/slides/_rels/slide35.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notesSlide" Target="../notesSlides/notesSlide35.xml"/><Relationship Id="rId7" Type="http://schemas.openxmlformats.org/officeDocument/2006/relationships/image" Target="../media/image25.jpeg"/><Relationship Id="rId2" Type="http://schemas.openxmlformats.org/officeDocument/2006/relationships/slideLayout" Target="../slideLayouts/slideLayout49.xml"/><Relationship Id="rId1" Type="http://schemas.openxmlformats.org/officeDocument/2006/relationships/tags" Target="../tags/tag91.xml"/><Relationship Id="rId6" Type="http://schemas.openxmlformats.org/officeDocument/2006/relationships/image" Target="../media/image24.jpeg"/><Relationship Id="rId5" Type="http://schemas.openxmlformats.org/officeDocument/2006/relationships/image" Target="../media/image1.emf"/><Relationship Id="rId4" Type="http://schemas.openxmlformats.org/officeDocument/2006/relationships/oleObject" Target="../embeddings/oleObject91.bin"/><Relationship Id="rId9" Type="http://schemas.openxmlformats.org/officeDocument/2006/relationships/image" Target="../media/image27.jpe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39.xml"/><Relationship Id="rId1" Type="http://schemas.openxmlformats.org/officeDocument/2006/relationships/tags" Target="../tags/tag92.xml"/><Relationship Id="rId5" Type="http://schemas.openxmlformats.org/officeDocument/2006/relationships/image" Target="../media/image1.emf"/><Relationship Id="rId4" Type="http://schemas.openxmlformats.org/officeDocument/2006/relationships/oleObject" Target="../embeddings/oleObject92.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34.xml"/><Relationship Id="rId1" Type="http://schemas.openxmlformats.org/officeDocument/2006/relationships/tags" Target="../tags/tag93.xml"/><Relationship Id="rId6" Type="http://schemas.openxmlformats.org/officeDocument/2006/relationships/image" Target="../media/image28.jpeg"/><Relationship Id="rId5" Type="http://schemas.openxmlformats.org/officeDocument/2006/relationships/image" Target="../media/image1.emf"/><Relationship Id="rId4" Type="http://schemas.openxmlformats.org/officeDocument/2006/relationships/oleObject" Target="../embeddings/oleObject93.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33.xml"/><Relationship Id="rId1" Type="http://schemas.openxmlformats.org/officeDocument/2006/relationships/tags" Target="../tags/tag94.xml"/><Relationship Id="rId6" Type="http://schemas.openxmlformats.org/officeDocument/2006/relationships/image" Target="../media/image29.jpeg"/><Relationship Id="rId5" Type="http://schemas.openxmlformats.org/officeDocument/2006/relationships/image" Target="../media/image1.emf"/><Relationship Id="rId4" Type="http://schemas.openxmlformats.org/officeDocument/2006/relationships/oleObject" Target="../embeddings/oleObject94.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32.xml"/><Relationship Id="rId1" Type="http://schemas.openxmlformats.org/officeDocument/2006/relationships/tags" Target="../tags/tag95.xml"/><Relationship Id="rId6" Type="http://schemas.openxmlformats.org/officeDocument/2006/relationships/image" Target="../media/image30.jpeg"/><Relationship Id="rId5" Type="http://schemas.openxmlformats.org/officeDocument/2006/relationships/image" Target="../media/image1.emf"/><Relationship Id="rId4" Type="http://schemas.openxmlformats.org/officeDocument/2006/relationships/oleObject" Target="../embeddings/oleObject95.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6.xml"/><Relationship Id="rId1" Type="http://schemas.openxmlformats.org/officeDocument/2006/relationships/tags" Target="../tags/tag60.xml"/><Relationship Id="rId5" Type="http://schemas.openxmlformats.org/officeDocument/2006/relationships/image" Target="../media/image1.emf"/><Relationship Id="rId4" Type="http://schemas.openxmlformats.org/officeDocument/2006/relationships/oleObject" Target="../embeddings/oleObject60.bin"/></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46.xml"/><Relationship Id="rId1" Type="http://schemas.openxmlformats.org/officeDocument/2006/relationships/tags" Target="../tags/tag96.xml"/><Relationship Id="rId6" Type="http://schemas.openxmlformats.org/officeDocument/2006/relationships/image" Target="../media/image31.jpeg"/><Relationship Id="rId5" Type="http://schemas.openxmlformats.org/officeDocument/2006/relationships/image" Target="../media/image1.emf"/><Relationship Id="rId4" Type="http://schemas.openxmlformats.org/officeDocument/2006/relationships/oleObject" Target="../embeddings/oleObject96.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48.xml"/><Relationship Id="rId1" Type="http://schemas.openxmlformats.org/officeDocument/2006/relationships/tags" Target="../tags/tag97.xml"/><Relationship Id="rId6" Type="http://schemas.openxmlformats.org/officeDocument/2006/relationships/image" Target="../media/image32.jpeg"/><Relationship Id="rId5" Type="http://schemas.openxmlformats.org/officeDocument/2006/relationships/image" Target="../media/image1.emf"/><Relationship Id="rId4" Type="http://schemas.openxmlformats.org/officeDocument/2006/relationships/oleObject" Target="../embeddings/oleObject97.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47.xml"/><Relationship Id="rId1" Type="http://schemas.openxmlformats.org/officeDocument/2006/relationships/tags" Target="../tags/tag98.xml"/><Relationship Id="rId6" Type="http://schemas.openxmlformats.org/officeDocument/2006/relationships/image" Target="../media/image33.jpeg"/><Relationship Id="rId5" Type="http://schemas.openxmlformats.org/officeDocument/2006/relationships/image" Target="../media/image1.emf"/><Relationship Id="rId4" Type="http://schemas.openxmlformats.org/officeDocument/2006/relationships/oleObject" Target="../embeddings/oleObject98.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17.xml"/><Relationship Id="rId1" Type="http://schemas.openxmlformats.org/officeDocument/2006/relationships/tags" Target="../tags/tag99.xml"/><Relationship Id="rId5" Type="http://schemas.openxmlformats.org/officeDocument/2006/relationships/image" Target="../media/image1.emf"/><Relationship Id="rId4" Type="http://schemas.openxmlformats.org/officeDocument/2006/relationships/oleObject" Target="../embeddings/oleObject99.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19.xml"/><Relationship Id="rId1" Type="http://schemas.openxmlformats.org/officeDocument/2006/relationships/tags" Target="../tags/tag100.xml"/><Relationship Id="rId5" Type="http://schemas.openxmlformats.org/officeDocument/2006/relationships/image" Target="../media/image1.emf"/><Relationship Id="rId4" Type="http://schemas.openxmlformats.org/officeDocument/2006/relationships/oleObject" Target="../embeddings/oleObject100.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20.xml"/><Relationship Id="rId1" Type="http://schemas.openxmlformats.org/officeDocument/2006/relationships/tags" Target="../tags/tag101.xml"/><Relationship Id="rId5" Type="http://schemas.openxmlformats.org/officeDocument/2006/relationships/image" Target="../media/image1.emf"/><Relationship Id="rId4" Type="http://schemas.openxmlformats.org/officeDocument/2006/relationships/oleObject" Target="../embeddings/oleObject101.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21.xml"/><Relationship Id="rId1" Type="http://schemas.openxmlformats.org/officeDocument/2006/relationships/tags" Target="../tags/tag102.xml"/><Relationship Id="rId5" Type="http://schemas.openxmlformats.org/officeDocument/2006/relationships/image" Target="../media/image1.emf"/><Relationship Id="rId4" Type="http://schemas.openxmlformats.org/officeDocument/2006/relationships/oleObject" Target="../embeddings/oleObject102.bin"/></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22.xml"/><Relationship Id="rId1" Type="http://schemas.openxmlformats.org/officeDocument/2006/relationships/tags" Target="../tags/tag103.xml"/><Relationship Id="rId5" Type="http://schemas.openxmlformats.org/officeDocument/2006/relationships/image" Target="../media/image1.emf"/><Relationship Id="rId4" Type="http://schemas.openxmlformats.org/officeDocument/2006/relationships/oleObject" Target="../embeddings/oleObject103.bin"/></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23.xml"/><Relationship Id="rId1" Type="http://schemas.openxmlformats.org/officeDocument/2006/relationships/tags" Target="../tags/tag104.xml"/><Relationship Id="rId5" Type="http://schemas.openxmlformats.org/officeDocument/2006/relationships/image" Target="../media/image1.emf"/><Relationship Id="rId4" Type="http://schemas.openxmlformats.org/officeDocument/2006/relationships/oleObject" Target="../embeddings/oleObject104.bin"/></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24.xml"/><Relationship Id="rId1" Type="http://schemas.openxmlformats.org/officeDocument/2006/relationships/tags" Target="../tags/tag105.xml"/><Relationship Id="rId6" Type="http://schemas.openxmlformats.org/officeDocument/2006/relationships/image" Target="../media/image34.jpeg"/><Relationship Id="rId5" Type="http://schemas.openxmlformats.org/officeDocument/2006/relationships/image" Target="../media/image1.emf"/><Relationship Id="rId4" Type="http://schemas.openxmlformats.org/officeDocument/2006/relationships/oleObject" Target="../embeddings/oleObject105.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9.xml"/><Relationship Id="rId1" Type="http://schemas.openxmlformats.org/officeDocument/2006/relationships/tags" Target="../tags/tag61.xml"/><Relationship Id="rId5" Type="http://schemas.openxmlformats.org/officeDocument/2006/relationships/image" Target="../media/image1.emf"/><Relationship Id="rId4" Type="http://schemas.openxmlformats.org/officeDocument/2006/relationships/oleObject" Target="../embeddings/oleObject61.bin"/></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31.xml"/><Relationship Id="rId1" Type="http://schemas.openxmlformats.org/officeDocument/2006/relationships/tags" Target="../tags/tag106.xml"/><Relationship Id="rId5" Type="http://schemas.openxmlformats.org/officeDocument/2006/relationships/image" Target="../media/image1.emf"/><Relationship Id="rId4" Type="http://schemas.openxmlformats.org/officeDocument/2006/relationships/oleObject" Target="../embeddings/oleObject106.bin"/></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25.xml"/><Relationship Id="rId1" Type="http://schemas.openxmlformats.org/officeDocument/2006/relationships/tags" Target="../tags/tag107.xml"/><Relationship Id="rId5" Type="http://schemas.openxmlformats.org/officeDocument/2006/relationships/image" Target="../media/image1.emf"/><Relationship Id="rId4" Type="http://schemas.openxmlformats.org/officeDocument/2006/relationships/oleObject" Target="../embeddings/oleObject107.bin"/></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26.xml"/><Relationship Id="rId1" Type="http://schemas.openxmlformats.org/officeDocument/2006/relationships/tags" Target="../tags/tag108.xml"/><Relationship Id="rId5" Type="http://schemas.openxmlformats.org/officeDocument/2006/relationships/image" Target="../media/image1.emf"/><Relationship Id="rId4" Type="http://schemas.openxmlformats.org/officeDocument/2006/relationships/oleObject" Target="../embeddings/oleObject108.bin"/></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29.xml"/><Relationship Id="rId1" Type="http://schemas.openxmlformats.org/officeDocument/2006/relationships/tags" Target="../tags/tag109.xml"/><Relationship Id="rId6" Type="http://schemas.openxmlformats.org/officeDocument/2006/relationships/image" Target="../media/image35.jpeg"/><Relationship Id="rId5" Type="http://schemas.openxmlformats.org/officeDocument/2006/relationships/image" Target="../media/image1.emf"/><Relationship Id="rId4" Type="http://schemas.openxmlformats.org/officeDocument/2006/relationships/oleObject" Target="../embeddings/oleObject109.bin"/></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40.xml"/><Relationship Id="rId1" Type="http://schemas.openxmlformats.org/officeDocument/2006/relationships/tags" Target="../tags/tag110.xml"/><Relationship Id="rId5" Type="http://schemas.openxmlformats.org/officeDocument/2006/relationships/image" Target="../media/image1.emf"/><Relationship Id="rId4" Type="http://schemas.openxmlformats.org/officeDocument/2006/relationships/oleObject" Target="../embeddings/oleObject110.bin"/></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52.xml"/><Relationship Id="rId1" Type="http://schemas.openxmlformats.org/officeDocument/2006/relationships/tags" Target="../tags/tag111.xml"/><Relationship Id="rId6" Type="http://schemas.openxmlformats.org/officeDocument/2006/relationships/image" Target="../media/image36.jpeg"/><Relationship Id="rId5" Type="http://schemas.openxmlformats.org/officeDocument/2006/relationships/image" Target="../media/image1.emf"/><Relationship Id="rId4" Type="http://schemas.openxmlformats.org/officeDocument/2006/relationships/oleObject" Target="../embeddings/oleObject111.bin"/></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53.xml"/><Relationship Id="rId1" Type="http://schemas.openxmlformats.org/officeDocument/2006/relationships/tags" Target="../tags/tag112.xml"/><Relationship Id="rId6" Type="http://schemas.openxmlformats.org/officeDocument/2006/relationships/image" Target="../media/image37.jpeg"/><Relationship Id="rId5" Type="http://schemas.openxmlformats.org/officeDocument/2006/relationships/image" Target="../media/image1.emf"/><Relationship Id="rId4" Type="http://schemas.openxmlformats.org/officeDocument/2006/relationships/oleObject" Target="../embeddings/oleObject112.bin"/></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7" Type="http://schemas.openxmlformats.org/officeDocument/2006/relationships/image" Target="../media/image39.jpeg"/><Relationship Id="rId2" Type="http://schemas.openxmlformats.org/officeDocument/2006/relationships/slideLayout" Target="../slideLayouts/slideLayout50.xml"/><Relationship Id="rId1" Type="http://schemas.openxmlformats.org/officeDocument/2006/relationships/tags" Target="../tags/tag113.xml"/><Relationship Id="rId6" Type="http://schemas.openxmlformats.org/officeDocument/2006/relationships/image" Target="../media/image38.jpeg"/><Relationship Id="rId5" Type="http://schemas.openxmlformats.org/officeDocument/2006/relationships/image" Target="../media/image1.emf"/><Relationship Id="rId4" Type="http://schemas.openxmlformats.org/officeDocument/2006/relationships/oleObject" Target="../embeddings/oleObject113.bin"/></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8.xml"/><Relationship Id="rId7" Type="http://schemas.openxmlformats.org/officeDocument/2006/relationships/image" Target="../media/image41.jpeg"/><Relationship Id="rId2" Type="http://schemas.openxmlformats.org/officeDocument/2006/relationships/slideLayout" Target="../slideLayouts/slideLayout51.xml"/><Relationship Id="rId1" Type="http://schemas.openxmlformats.org/officeDocument/2006/relationships/tags" Target="../tags/tag114.xml"/><Relationship Id="rId6" Type="http://schemas.openxmlformats.org/officeDocument/2006/relationships/image" Target="../media/image40.jpeg"/><Relationship Id="rId5" Type="http://schemas.openxmlformats.org/officeDocument/2006/relationships/image" Target="../media/image1.emf"/><Relationship Id="rId4" Type="http://schemas.openxmlformats.org/officeDocument/2006/relationships/oleObject" Target="../embeddings/oleObject114.bin"/></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10.xml"/><Relationship Id="rId1" Type="http://schemas.openxmlformats.org/officeDocument/2006/relationships/tags" Target="../tags/tag115.xml"/><Relationship Id="rId5" Type="http://schemas.openxmlformats.org/officeDocument/2006/relationships/image" Target="../media/image1.emf"/><Relationship Id="rId4" Type="http://schemas.openxmlformats.org/officeDocument/2006/relationships/oleObject" Target="../embeddings/oleObject115.bin"/></Relationships>
</file>

<file path=ppt/slides/_rels/slide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notesSlide" Target="../notesSlides/notesSlide6.xml"/><Relationship Id="rId7" Type="http://schemas.openxmlformats.org/officeDocument/2006/relationships/image" Target="../media/image10.png"/><Relationship Id="rId2" Type="http://schemas.openxmlformats.org/officeDocument/2006/relationships/slideLayout" Target="../slideLayouts/slideLayout31.xml"/><Relationship Id="rId1" Type="http://schemas.openxmlformats.org/officeDocument/2006/relationships/tags" Target="../tags/tag62.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62.bin"/></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60.xml"/><Relationship Id="rId7" Type="http://schemas.openxmlformats.org/officeDocument/2006/relationships/image" Target="../media/image43.png"/><Relationship Id="rId2" Type="http://schemas.openxmlformats.org/officeDocument/2006/relationships/slideLayout" Target="../slideLayouts/slideLayout28.xml"/><Relationship Id="rId1" Type="http://schemas.openxmlformats.org/officeDocument/2006/relationships/tags" Target="../tags/tag116.xml"/><Relationship Id="rId6" Type="http://schemas.openxmlformats.org/officeDocument/2006/relationships/image" Target="../media/image42.png"/><Relationship Id="rId5" Type="http://schemas.openxmlformats.org/officeDocument/2006/relationships/image" Target="../media/image1.emf"/><Relationship Id="rId4" Type="http://schemas.openxmlformats.org/officeDocument/2006/relationships/oleObject" Target="../embeddings/oleObject116.bin"/></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7.xml"/><Relationship Id="rId1" Type="http://schemas.openxmlformats.org/officeDocument/2006/relationships/tags" Target="../tags/tag117.xml"/><Relationship Id="rId5" Type="http://schemas.openxmlformats.org/officeDocument/2006/relationships/image" Target="../media/image1.emf"/><Relationship Id="rId4" Type="http://schemas.openxmlformats.org/officeDocument/2006/relationships/oleObject" Target="../embeddings/oleObject117.bin"/></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10.xml"/><Relationship Id="rId1" Type="http://schemas.openxmlformats.org/officeDocument/2006/relationships/tags" Target="../tags/tag118.xml"/><Relationship Id="rId5" Type="http://schemas.openxmlformats.org/officeDocument/2006/relationships/image" Target="../media/image1.emf"/><Relationship Id="rId4" Type="http://schemas.openxmlformats.org/officeDocument/2006/relationships/oleObject" Target="../embeddings/oleObject118.bin"/></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28.xml"/><Relationship Id="rId1" Type="http://schemas.openxmlformats.org/officeDocument/2006/relationships/tags" Target="../tags/tag119.xml"/><Relationship Id="rId6" Type="http://schemas.openxmlformats.org/officeDocument/2006/relationships/image" Target="../media/image44.png"/><Relationship Id="rId5" Type="http://schemas.openxmlformats.org/officeDocument/2006/relationships/image" Target="../media/image1.emf"/><Relationship Id="rId4" Type="http://schemas.openxmlformats.org/officeDocument/2006/relationships/oleObject" Target="../embeddings/oleObject119.bin"/></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28.xml"/><Relationship Id="rId1" Type="http://schemas.openxmlformats.org/officeDocument/2006/relationships/tags" Target="../tags/tag120.xml"/><Relationship Id="rId6" Type="http://schemas.openxmlformats.org/officeDocument/2006/relationships/image" Target="../media/image45.jpeg"/><Relationship Id="rId5" Type="http://schemas.openxmlformats.org/officeDocument/2006/relationships/image" Target="../media/image1.emf"/><Relationship Id="rId4" Type="http://schemas.openxmlformats.org/officeDocument/2006/relationships/oleObject" Target="../embeddings/oleObject120.bin"/></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13.xml"/><Relationship Id="rId1" Type="http://schemas.openxmlformats.org/officeDocument/2006/relationships/tags" Target="../tags/tag121.xml"/><Relationship Id="rId6" Type="http://schemas.openxmlformats.org/officeDocument/2006/relationships/chart" Target="../charts/chart1.xml"/><Relationship Id="rId5" Type="http://schemas.openxmlformats.org/officeDocument/2006/relationships/image" Target="../media/image1.emf"/><Relationship Id="rId4" Type="http://schemas.openxmlformats.org/officeDocument/2006/relationships/oleObject" Target="../embeddings/oleObject121.bin"/></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66.xml"/><Relationship Id="rId7" Type="http://schemas.openxmlformats.org/officeDocument/2006/relationships/chart" Target="../charts/chart3.xml"/><Relationship Id="rId2" Type="http://schemas.openxmlformats.org/officeDocument/2006/relationships/slideLayout" Target="../slideLayouts/slideLayout22.xml"/><Relationship Id="rId1" Type="http://schemas.openxmlformats.org/officeDocument/2006/relationships/tags" Target="../tags/tag122.xml"/><Relationship Id="rId6" Type="http://schemas.openxmlformats.org/officeDocument/2006/relationships/chart" Target="../charts/chart2.xml"/><Relationship Id="rId5" Type="http://schemas.openxmlformats.org/officeDocument/2006/relationships/image" Target="../media/image1.emf"/><Relationship Id="rId4" Type="http://schemas.openxmlformats.org/officeDocument/2006/relationships/oleObject" Target="../embeddings/oleObject122.bin"/></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13.xml"/><Relationship Id="rId1" Type="http://schemas.openxmlformats.org/officeDocument/2006/relationships/tags" Target="../tags/tag123.xml"/><Relationship Id="rId6" Type="http://schemas.openxmlformats.org/officeDocument/2006/relationships/chart" Target="../charts/chart4.xml"/><Relationship Id="rId5" Type="http://schemas.openxmlformats.org/officeDocument/2006/relationships/image" Target="../media/image1.emf"/><Relationship Id="rId4" Type="http://schemas.openxmlformats.org/officeDocument/2006/relationships/oleObject" Target="../embeddings/oleObject123.bin"/></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22.xml"/><Relationship Id="rId1" Type="http://schemas.openxmlformats.org/officeDocument/2006/relationships/tags" Target="../tags/tag124.xml"/><Relationship Id="rId6" Type="http://schemas.openxmlformats.org/officeDocument/2006/relationships/chart" Target="../charts/chart5.xml"/><Relationship Id="rId5" Type="http://schemas.openxmlformats.org/officeDocument/2006/relationships/image" Target="../media/image1.emf"/><Relationship Id="rId4" Type="http://schemas.openxmlformats.org/officeDocument/2006/relationships/oleObject" Target="../embeddings/oleObject124.bin"/></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13.xml"/><Relationship Id="rId1" Type="http://schemas.openxmlformats.org/officeDocument/2006/relationships/tags" Target="../tags/tag125.xml"/><Relationship Id="rId6" Type="http://schemas.openxmlformats.org/officeDocument/2006/relationships/chart" Target="../charts/chart6.xml"/><Relationship Id="rId5" Type="http://schemas.openxmlformats.org/officeDocument/2006/relationships/image" Target="../media/image1.emf"/><Relationship Id="rId4" Type="http://schemas.openxmlformats.org/officeDocument/2006/relationships/oleObject" Target="../embeddings/oleObject125.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6.xml"/><Relationship Id="rId1" Type="http://schemas.openxmlformats.org/officeDocument/2006/relationships/tags" Target="../tags/tag63.xml"/><Relationship Id="rId5" Type="http://schemas.openxmlformats.org/officeDocument/2006/relationships/image" Target="../media/image1.emf"/><Relationship Id="rId4" Type="http://schemas.openxmlformats.org/officeDocument/2006/relationships/oleObject" Target="../embeddings/oleObject63.bin"/></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13.xml"/><Relationship Id="rId1" Type="http://schemas.openxmlformats.org/officeDocument/2006/relationships/tags" Target="../tags/tag126.xml"/><Relationship Id="rId6" Type="http://schemas.openxmlformats.org/officeDocument/2006/relationships/chart" Target="../charts/chart7.xml"/><Relationship Id="rId5" Type="http://schemas.openxmlformats.org/officeDocument/2006/relationships/image" Target="../media/image1.emf"/><Relationship Id="rId4" Type="http://schemas.openxmlformats.org/officeDocument/2006/relationships/oleObject" Target="../embeddings/oleObject126.bin"/></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13.xml"/><Relationship Id="rId1" Type="http://schemas.openxmlformats.org/officeDocument/2006/relationships/tags" Target="../tags/tag127.xml"/><Relationship Id="rId6" Type="http://schemas.openxmlformats.org/officeDocument/2006/relationships/chart" Target="../charts/chart8.xml"/><Relationship Id="rId5" Type="http://schemas.openxmlformats.org/officeDocument/2006/relationships/image" Target="../media/image1.emf"/><Relationship Id="rId4" Type="http://schemas.openxmlformats.org/officeDocument/2006/relationships/oleObject" Target="../embeddings/oleObject127.bin"/></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13.xml"/><Relationship Id="rId1" Type="http://schemas.openxmlformats.org/officeDocument/2006/relationships/tags" Target="../tags/tag128.xml"/><Relationship Id="rId6" Type="http://schemas.openxmlformats.org/officeDocument/2006/relationships/chart" Target="../charts/chart9.xml"/><Relationship Id="rId5" Type="http://schemas.openxmlformats.org/officeDocument/2006/relationships/image" Target="../media/image1.emf"/><Relationship Id="rId4" Type="http://schemas.openxmlformats.org/officeDocument/2006/relationships/oleObject" Target="../embeddings/oleObject128.bin"/></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73.xml"/><Relationship Id="rId7" Type="http://schemas.openxmlformats.org/officeDocument/2006/relationships/chart" Target="../charts/chart11.xml"/><Relationship Id="rId2" Type="http://schemas.openxmlformats.org/officeDocument/2006/relationships/slideLayout" Target="../slideLayouts/slideLayout13.xml"/><Relationship Id="rId1" Type="http://schemas.openxmlformats.org/officeDocument/2006/relationships/tags" Target="../tags/tag129.xml"/><Relationship Id="rId6" Type="http://schemas.openxmlformats.org/officeDocument/2006/relationships/chart" Target="../charts/chart10.xml"/><Relationship Id="rId5" Type="http://schemas.openxmlformats.org/officeDocument/2006/relationships/image" Target="../media/image1.emf"/><Relationship Id="rId4" Type="http://schemas.openxmlformats.org/officeDocument/2006/relationships/oleObject" Target="../embeddings/oleObject129.bin"/></Relationships>
</file>

<file path=ppt/slides/_rels/slide74.xml.rels><?xml version="1.0" encoding="UTF-8" standalone="yes"?>
<Relationships xmlns="http://schemas.openxmlformats.org/package/2006/relationships"><Relationship Id="rId8" Type="http://schemas.microsoft.com/office/2014/relationships/chartEx" Target="../charts/chartEx2.xml"/><Relationship Id="rId3" Type="http://schemas.openxmlformats.org/officeDocument/2006/relationships/notesSlide" Target="../notesSlides/notesSlide74.xml"/><Relationship Id="rId7" Type="http://schemas.openxmlformats.org/officeDocument/2006/relationships/image" Target="../media/image62.png"/><Relationship Id="rId2" Type="http://schemas.openxmlformats.org/officeDocument/2006/relationships/slideLayout" Target="../slideLayouts/slideLayout13.xml"/><Relationship Id="rId1" Type="http://schemas.openxmlformats.org/officeDocument/2006/relationships/tags" Target="../tags/tag130.xml"/><Relationship Id="rId6" Type="http://schemas.microsoft.com/office/2014/relationships/chartEx" Target="../charts/chartEx1.xml"/><Relationship Id="rId5" Type="http://schemas.openxmlformats.org/officeDocument/2006/relationships/image" Target="../media/image1.emf"/><Relationship Id="rId4" Type="http://schemas.openxmlformats.org/officeDocument/2006/relationships/oleObject" Target="../embeddings/oleObject130.bin"/><Relationship Id="rId9" Type="http://schemas.openxmlformats.org/officeDocument/2006/relationships/image" Target="../media/image63.png"/></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75.xml"/><Relationship Id="rId7" Type="http://schemas.openxmlformats.org/officeDocument/2006/relationships/image" Target="../media/image64.png"/><Relationship Id="rId2" Type="http://schemas.openxmlformats.org/officeDocument/2006/relationships/slideLayout" Target="../slideLayouts/slideLayout13.xml"/><Relationship Id="rId1" Type="http://schemas.openxmlformats.org/officeDocument/2006/relationships/tags" Target="../tags/tag131.xml"/><Relationship Id="rId6" Type="http://schemas.microsoft.com/office/2014/relationships/chartEx" Target="../charts/chartEx3.xml"/><Relationship Id="rId5" Type="http://schemas.openxmlformats.org/officeDocument/2006/relationships/image" Target="../media/image1.emf"/><Relationship Id="rId4" Type="http://schemas.openxmlformats.org/officeDocument/2006/relationships/oleObject" Target="../embeddings/oleObject131.bin"/></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13.xml"/><Relationship Id="rId1" Type="http://schemas.openxmlformats.org/officeDocument/2006/relationships/tags" Target="../tags/tag132.xml"/><Relationship Id="rId6" Type="http://schemas.openxmlformats.org/officeDocument/2006/relationships/chart" Target="../charts/chart12.xml"/><Relationship Id="rId5" Type="http://schemas.openxmlformats.org/officeDocument/2006/relationships/image" Target="../media/image1.emf"/><Relationship Id="rId4" Type="http://schemas.openxmlformats.org/officeDocument/2006/relationships/oleObject" Target="../embeddings/oleObject132.bin"/></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13.xml"/><Relationship Id="rId1" Type="http://schemas.openxmlformats.org/officeDocument/2006/relationships/tags" Target="../tags/tag133.xml"/><Relationship Id="rId6" Type="http://schemas.openxmlformats.org/officeDocument/2006/relationships/chart" Target="../charts/chart13.xml"/><Relationship Id="rId5" Type="http://schemas.openxmlformats.org/officeDocument/2006/relationships/image" Target="../media/image1.emf"/><Relationship Id="rId4" Type="http://schemas.openxmlformats.org/officeDocument/2006/relationships/oleObject" Target="../embeddings/oleObject133.bin"/></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78.xml"/><Relationship Id="rId7" Type="http://schemas.openxmlformats.org/officeDocument/2006/relationships/image" Target="../media/image65.png"/><Relationship Id="rId2" Type="http://schemas.openxmlformats.org/officeDocument/2006/relationships/slideLayout" Target="../slideLayouts/slideLayout13.xml"/><Relationship Id="rId1" Type="http://schemas.openxmlformats.org/officeDocument/2006/relationships/tags" Target="../tags/tag134.xml"/><Relationship Id="rId6" Type="http://schemas.microsoft.com/office/2014/relationships/chartEx" Target="../charts/chartEx4.xml"/><Relationship Id="rId5" Type="http://schemas.openxmlformats.org/officeDocument/2006/relationships/image" Target="../media/image1.emf"/><Relationship Id="rId4" Type="http://schemas.openxmlformats.org/officeDocument/2006/relationships/oleObject" Target="../embeddings/oleObject134.bin"/></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79.xml"/><Relationship Id="rId7" Type="http://schemas.openxmlformats.org/officeDocument/2006/relationships/image" Target="../media/image66.png"/><Relationship Id="rId2" Type="http://schemas.openxmlformats.org/officeDocument/2006/relationships/slideLayout" Target="../slideLayouts/slideLayout13.xml"/><Relationship Id="rId1" Type="http://schemas.openxmlformats.org/officeDocument/2006/relationships/tags" Target="../tags/tag135.xml"/><Relationship Id="rId6" Type="http://schemas.microsoft.com/office/2014/relationships/chartEx" Target="../charts/chartEx5.xml"/><Relationship Id="rId5" Type="http://schemas.openxmlformats.org/officeDocument/2006/relationships/image" Target="../media/image1.emf"/><Relationship Id="rId4" Type="http://schemas.openxmlformats.org/officeDocument/2006/relationships/oleObject" Target="../embeddings/oleObject135.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1.xml"/><Relationship Id="rId1" Type="http://schemas.openxmlformats.org/officeDocument/2006/relationships/tags" Target="../tags/tag64.xml"/><Relationship Id="rId6" Type="http://schemas.openxmlformats.org/officeDocument/2006/relationships/image" Target="../media/image12.jpeg"/><Relationship Id="rId5" Type="http://schemas.openxmlformats.org/officeDocument/2006/relationships/image" Target="../media/image1.emf"/><Relationship Id="rId4" Type="http://schemas.openxmlformats.org/officeDocument/2006/relationships/oleObject" Target="../embeddings/oleObject64.bin"/></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80.xml"/><Relationship Id="rId2" Type="http://schemas.openxmlformats.org/officeDocument/2006/relationships/slideLayout" Target="../slideLayouts/slideLayout13.xml"/><Relationship Id="rId1" Type="http://schemas.openxmlformats.org/officeDocument/2006/relationships/tags" Target="../tags/tag136.xml"/><Relationship Id="rId6" Type="http://schemas.openxmlformats.org/officeDocument/2006/relationships/chart" Target="../charts/chart14.xml"/><Relationship Id="rId5" Type="http://schemas.openxmlformats.org/officeDocument/2006/relationships/image" Target="../media/image1.emf"/><Relationship Id="rId4" Type="http://schemas.openxmlformats.org/officeDocument/2006/relationships/oleObject" Target="../embeddings/oleObject136.bin"/></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81.xml"/><Relationship Id="rId2" Type="http://schemas.openxmlformats.org/officeDocument/2006/relationships/slideLayout" Target="../slideLayouts/slideLayout13.xml"/><Relationship Id="rId1" Type="http://schemas.openxmlformats.org/officeDocument/2006/relationships/tags" Target="../tags/tag137.xml"/><Relationship Id="rId6" Type="http://schemas.openxmlformats.org/officeDocument/2006/relationships/chart" Target="../charts/chart15.xml"/><Relationship Id="rId5" Type="http://schemas.openxmlformats.org/officeDocument/2006/relationships/image" Target="../media/image1.emf"/><Relationship Id="rId4" Type="http://schemas.openxmlformats.org/officeDocument/2006/relationships/oleObject" Target="../embeddings/oleObject137.bin"/></Relationships>
</file>

<file path=ppt/slides/_rels/slide82.xml.rels><?xml version="1.0" encoding="UTF-8" standalone="yes"?>
<Relationships xmlns="http://schemas.openxmlformats.org/package/2006/relationships"><Relationship Id="rId8" Type="http://schemas.openxmlformats.org/officeDocument/2006/relationships/slideLayout" Target="../slideLayouts/slideLayout13.xml"/><Relationship Id="rId3" Type="http://schemas.openxmlformats.org/officeDocument/2006/relationships/tags" Target="../tags/tag140.xml"/><Relationship Id="rId7" Type="http://schemas.openxmlformats.org/officeDocument/2006/relationships/tags" Target="../tags/tag144.xml"/><Relationship Id="rId12" Type="http://schemas.openxmlformats.org/officeDocument/2006/relationships/chart" Target="../charts/chart16.xml"/><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tags" Target="../tags/tag143.xml"/><Relationship Id="rId11" Type="http://schemas.openxmlformats.org/officeDocument/2006/relationships/image" Target="../media/image1.emf"/><Relationship Id="rId5" Type="http://schemas.openxmlformats.org/officeDocument/2006/relationships/tags" Target="../tags/tag142.xml"/><Relationship Id="rId10" Type="http://schemas.openxmlformats.org/officeDocument/2006/relationships/oleObject" Target="../embeddings/oleObject138.bin"/><Relationship Id="rId4" Type="http://schemas.openxmlformats.org/officeDocument/2006/relationships/tags" Target="../tags/tag141.xml"/><Relationship Id="rId9" Type="http://schemas.openxmlformats.org/officeDocument/2006/relationships/notesSlide" Target="../notesSlides/notesSlide82.xml"/></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83.xml"/><Relationship Id="rId2" Type="http://schemas.openxmlformats.org/officeDocument/2006/relationships/slideLayout" Target="../slideLayouts/slideLayout10.xml"/><Relationship Id="rId1" Type="http://schemas.openxmlformats.org/officeDocument/2006/relationships/tags" Target="../tags/tag145.xml"/><Relationship Id="rId5" Type="http://schemas.openxmlformats.org/officeDocument/2006/relationships/image" Target="../media/image1.emf"/><Relationship Id="rId4" Type="http://schemas.openxmlformats.org/officeDocument/2006/relationships/oleObject" Target="../embeddings/oleObject139.bin"/></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84.xml"/><Relationship Id="rId2" Type="http://schemas.openxmlformats.org/officeDocument/2006/relationships/slideLayout" Target="../slideLayouts/slideLayout13.xml"/><Relationship Id="rId1" Type="http://schemas.openxmlformats.org/officeDocument/2006/relationships/tags" Target="../tags/tag146.xml"/><Relationship Id="rId5" Type="http://schemas.openxmlformats.org/officeDocument/2006/relationships/image" Target="../media/image1.emf"/><Relationship Id="rId4" Type="http://schemas.openxmlformats.org/officeDocument/2006/relationships/oleObject" Target="../embeddings/oleObject140.bin"/></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13.xml"/><Relationship Id="rId1" Type="http://schemas.openxmlformats.org/officeDocument/2006/relationships/tags" Target="../tags/tag147.xml"/><Relationship Id="rId5" Type="http://schemas.openxmlformats.org/officeDocument/2006/relationships/image" Target="../media/image1.emf"/><Relationship Id="rId4" Type="http://schemas.openxmlformats.org/officeDocument/2006/relationships/oleObject" Target="../embeddings/oleObject141.bin"/></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86.xml"/><Relationship Id="rId2" Type="http://schemas.openxmlformats.org/officeDocument/2006/relationships/slideLayout" Target="../slideLayouts/slideLayout13.xml"/><Relationship Id="rId1" Type="http://schemas.openxmlformats.org/officeDocument/2006/relationships/tags" Target="../tags/tag148.xml"/><Relationship Id="rId5" Type="http://schemas.openxmlformats.org/officeDocument/2006/relationships/image" Target="../media/image1.emf"/><Relationship Id="rId4" Type="http://schemas.openxmlformats.org/officeDocument/2006/relationships/oleObject" Target="../embeddings/oleObject142.bin"/></Relationships>
</file>

<file path=ppt/slides/_rels/slide87.xml.rels><?xml version="1.0" encoding="UTF-8" standalone="yes"?>
<Relationships xmlns="http://schemas.openxmlformats.org/package/2006/relationships"><Relationship Id="rId3" Type="http://schemas.openxmlformats.org/officeDocument/2006/relationships/tags" Target="../tags/tag151.xml"/><Relationship Id="rId7" Type="http://schemas.openxmlformats.org/officeDocument/2006/relationships/image" Target="../media/image1.emf"/><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oleObject" Target="../embeddings/oleObject143.bin"/><Relationship Id="rId5" Type="http://schemas.openxmlformats.org/officeDocument/2006/relationships/notesSlide" Target="../notesSlides/notesSlide87.xml"/><Relationship Id="rId4" Type="http://schemas.openxmlformats.org/officeDocument/2006/relationships/slideLayout" Target="../slideLayouts/slideLayout13.xml"/></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88.xml"/><Relationship Id="rId2" Type="http://schemas.openxmlformats.org/officeDocument/2006/relationships/slideLayout" Target="../slideLayouts/slideLayout13.xml"/><Relationship Id="rId1" Type="http://schemas.openxmlformats.org/officeDocument/2006/relationships/tags" Target="../tags/tag152.xml"/><Relationship Id="rId5" Type="http://schemas.openxmlformats.org/officeDocument/2006/relationships/image" Target="../media/image1.emf"/><Relationship Id="rId4" Type="http://schemas.openxmlformats.org/officeDocument/2006/relationships/oleObject" Target="../embeddings/oleObject144.bin"/></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89.xml"/><Relationship Id="rId7" Type="http://schemas.openxmlformats.org/officeDocument/2006/relationships/image" Target="../media/image47.png"/><Relationship Id="rId2" Type="http://schemas.openxmlformats.org/officeDocument/2006/relationships/slideLayout" Target="../slideLayouts/slideLayout13.xml"/><Relationship Id="rId1" Type="http://schemas.openxmlformats.org/officeDocument/2006/relationships/tags" Target="../tags/tag153.xml"/><Relationship Id="rId6" Type="http://schemas.openxmlformats.org/officeDocument/2006/relationships/image" Target="../media/image46.gif"/><Relationship Id="rId5" Type="http://schemas.openxmlformats.org/officeDocument/2006/relationships/image" Target="../media/image1.emf"/><Relationship Id="rId4" Type="http://schemas.openxmlformats.org/officeDocument/2006/relationships/oleObject" Target="../embeddings/oleObject145.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7.xml"/><Relationship Id="rId1" Type="http://schemas.openxmlformats.org/officeDocument/2006/relationships/tags" Target="../tags/tag65.xml"/><Relationship Id="rId5" Type="http://schemas.openxmlformats.org/officeDocument/2006/relationships/image" Target="../media/image1.emf"/><Relationship Id="rId4" Type="http://schemas.openxmlformats.org/officeDocument/2006/relationships/oleObject" Target="../embeddings/oleObject65.bin"/></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90.xml"/><Relationship Id="rId2" Type="http://schemas.openxmlformats.org/officeDocument/2006/relationships/slideLayout" Target="../slideLayouts/slideLayout13.xml"/><Relationship Id="rId1" Type="http://schemas.openxmlformats.org/officeDocument/2006/relationships/tags" Target="../tags/tag154.xml"/><Relationship Id="rId5" Type="http://schemas.openxmlformats.org/officeDocument/2006/relationships/image" Target="../media/image1.emf"/><Relationship Id="rId4" Type="http://schemas.openxmlformats.org/officeDocument/2006/relationships/oleObject" Target="../embeddings/oleObject146.bin"/></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91.xml"/><Relationship Id="rId2" Type="http://schemas.openxmlformats.org/officeDocument/2006/relationships/slideLayout" Target="../slideLayouts/slideLayout13.xml"/><Relationship Id="rId1" Type="http://schemas.openxmlformats.org/officeDocument/2006/relationships/tags" Target="../tags/tag155.xml"/><Relationship Id="rId5" Type="http://schemas.openxmlformats.org/officeDocument/2006/relationships/image" Target="../media/image1.emf"/><Relationship Id="rId4" Type="http://schemas.openxmlformats.org/officeDocument/2006/relationships/oleObject" Target="../embeddings/oleObject147.bin"/></Relationships>
</file>

<file path=ppt/slides/_rels/slide92.xml.rels><?xml version="1.0" encoding="UTF-8" standalone="yes"?>
<Relationships xmlns="http://schemas.openxmlformats.org/package/2006/relationships"><Relationship Id="rId3" Type="http://schemas.openxmlformats.org/officeDocument/2006/relationships/notesSlide" Target="../notesSlides/notesSlide92.xml"/><Relationship Id="rId2" Type="http://schemas.openxmlformats.org/officeDocument/2006/relationships/slideLayout" Target="../slideLayouts/slideLayout13.xml"/><Relationship Id="rId1" Type="http://schemas.openxmlformats.org/officeDocument/2006/relationships/tags" Target="../tags/tag156.xml"/><Relationship Id="rId5" Type="http://schemas.openxmlformats.org/officeDocument/2006/relationships/image" Target="../media/image1.emf"/><Relationship Id="rId4" Type="http://schemas.openxmlformats.org/officeDocument/2006/relationships/oleObject" Target="../embeddings/oleObject148.bin"/></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93.xml"/><Relationship Id="rId2" Type="http://schemas.openxmlformats.org/officeDocument/2006/relationships/slideLayout" Target="../slideLayouts/slideLayout13.xml"/><Relationship Id="rId1" Type="http://schemas.openxmlformats.org/officeDocument/2006/relationships/tags" Target="../tags/tag157.xml"/><Relationship Id="rId5" Type="http://schemas.openxmlformats.org/officeDocument/2006/relationships/image" Target="../media/image1.emf"/><Relationship Id="rId4" Type="http://schemas.openxmlformats.org/officeDocument/2006/relationships/oleObject" Target="../embeddings/oleObject149.bin"/></Relationships>
</file>

<file path=ppt/slides/_rels/slide94.xml.rels><?xml version="1.0" encoding="UTF-8" standalone="yes"?>
<Relationships xmlns="http://schemas.openxmlformats.org/package/2006/relationships"><Relationship Id="rId3" Type="http://schemas.openxmlformats.org/officeDocument/2006/relationships/notesSlide" Target="../notesSlides/notesSlide94.xml"/><Relationship Id="rId2" Type="http://schemas.openxmlformats.org/officeDocument/2006/relationships/slideLayout" Target="../slideLayouts/slideLayout10.xml"/><Relationship Id="rId1" Type="http://schemas.openxmlformats.org/officeDocument/2006/relationships/tags" Target="../tags/tag158.xml"/><Relationship Id="rId5" Type="http://schemas.openxmlformats.org/officeDocument/2006/relationships/image" Target="../media/image1.emf"/><Relationship Id="rId4" Type="http://schemas.openxmlformats.org/officeDocument/2006/relationships/oleObject" Target="../embeddings/oleObject150.bin"/></Relationships>
</file>

<file path=ppt/slides/_rels/slide95.xml.rels><?xml version="1.0" encoding="UTF-8" standalone="yes"?>
<Relationships xmlns="http://schemas.openxmlformats.org/package/2006/relationships"><Relationship Id="rId3" Type="http://schemas.openxmlformats.org/officeDocument/2006/relationships/notesSlide" Target="../notesSlides/notesSlide95.xml"/><Relationship Id="rId2" Type="http://schemas.openxmlformats.org/officeDocument/2006/relationships/slideLayout" Target="../slideLayouts/slideLayout13.xml"/><Relationship Id="rId1" Type="http://schemas.openxmlformats.org/officeDocument/2006/relationships/tags" Target="../tags/tag159.xml"/><Relationship Id="rId5" Type="http://schemas.openxmlformats.org/officeDocument/2006/relationships/image" Target="../media/image1.emf"/><Relationship Id="rId4" Type="http://schemas.openxmlformats.org/officeDocument/2006/relationships/oleObject" Target="../embeddings/oleObject151.bin"/></Relationships>
</file>

<file path=ppt/slides/_rels/slide96.xml.rels><?xml version="1.0" encoding="UTF-8" standalone="yes"?>
<Relationships xmlns="http://schemas.openxmlformats.org/package/2006/relationships"><Relationship Id="rId8" Type="http://schemas.openxmlformats.org/officeDocument/2006/relationships/tags" Target="../tags/tag167.xml"/><Relationship Id="rId13" Type="http://schemas.openxmlformats.org/officeDocument/2006/relationships/oleObject" Target="../embeddings/oleObject152.bin"/><Relationship Id="rId3" Type="http://schemas.openxmlformats.org/officeDocument/2006/relationships/tags" Target="../tags/tag162.xml"/><Relationship Id="rId7" Type="http://schemas.openxmlformats.org/officeDocument/2006/relationships/tags" Target="../tags/tag166.xml"/><Relationship Id="rId12" Type="http://schemas.openxmlformats.org/officeDocument/2006/relationships/notesSlide" Target="../notesSlides/notesSlide96.xml"/><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tags" Target="../tags/tag165.xml"/><Relationship Id="rId11" Type="http://schemas.openxmlformats.org/officeDocument/2006/relationships/slideLayout" Target="../slideLayouts/slideLayout13.xml"/><Relationship Id="rId5" Type="http://schemas.openxmlformats.org/officeDocument/2006/relationships/tags" Target="../tags/tag164.xml"/><Relationship Id="rId10" Type="http://schemas.openxmlformats.org/officeDocument/2006/relationships/tags" Target="../tags/tag169.xml"/><Relationship Id="rId4" Type="http://schemas.openxmlformats.org/officeDocument/2006/relationships/tags" Target="../tags/tag163.xml"/><Relationship Id="rId9" Type="http://schemas.openxmlformats.org/officeDocument/2006/relationships/tags" Target="../tags/tag168.xml"/><Relationship Id="rId14" Type="http://schemas.openxmlformats.org/officeDocument/2006/relationships/image" Target="../media/image1.emf"/></Relationships>
</file>

<file path=ppt/slides/_rels/slide97.xml.rels><?xml version="1.0" encoding="UTF-8" standalone="yes"?>
<Relationships xmlns="http://schemas.openxmlformats.org/package/2006/relationships"><Relationship Id="rId8" Type="http://schemas.openxmlformats.org/officeDocument/2006/relationships/tags" Target="../tags/tag177.xml"/><Relationship Id="rId13" Type="http://schemas.openxmlformats.org/officeDocument/2006/relationships/slideLayout" Target="../slideLayouts/slideLayout13.xml"/><Relationship Id="rId3" Type="http://schemas.openxmlformats.org/officeDocument/2006/relationships/tags" Target="../tags/tag172.xml"/><Relationship Id="rId7" Type="http://schemas.openxmlformats.org/officeDocument/2006/relationships/tags" Target="../tags/tag176.xml"/><Relationship Id="rId12" Type="http://schemas.openxmlformats.org/officeDocument/2006/relationships/tags" Target="../tags/tag181.xml"/><Relationship Id="rId2" Type="http://schemas.openxmlformats.org/officeDocument/2006/relationships/tags" Target="../tags/tag171.xml"/><Relationship Id="rId16" Type="http://schemas.openxmlformats.org/officeDocument/2006/relationships/image" Target="../media/image1.emf"/><Relationship Id="rId1" Type="http://schemas.openxmlformats.org/officeDocument/2006/relationships/tags" Target="../tags/tag170.xml"/><Relationship Id="rId6" Type="http://schemas.openxmlformats.org/officeDocument/2006/relationships/tags" Target="../tags/tag175.xml"/><Relationship Id="rId11" Type="http://schemas.openxmlformats.org/officeDocument/2006/relationships/tags" Target="../tags/tag180.xml"/><Relationship Id="rId5" Type="http://schemas.openxmlformats.org/officeDocument/2006/relationships/tags" Target="../tags/tag174.xml"/><Relationship Id="rId15" Type="http://schemas.openxmlformats.org/officeDocument/2006/relationships/oleObject" Target="../embeddings/oleObject153.bin"/><Relationship Id="rId10" Type="http://schemas.openxmlformats.org/officeDocument/2006/relationships/tags" Target="../tags/tag179.xml"/><Relationship Id="rId4" Type="http://schemas.openxmlformats.org/officeDocument/2006/relationships/tags" Target="../tags/tag173.xml"/><Relationship Id="rId9" Type="http://schemas.openxmlformats.org/officeDocument/2006/relationships/tags" Target="../tags/tag178.xml"/><Relationship Id="rId14" Type="http://schemas.openxmlformats.org/officeDocument/2006/relationships/notesSlide" Target="../notesSlides/notesSlide97.xml"/></Relationships>
</file>

<file path=ppt/slides/_rels/slide98.xml.rels><?xml version="1.0" encoding="UTF-8" standalone="yes"?>
<Relationships xmlns="http://schemas.openxmlformats.org/package/2006/relationships"><Relationship Id="rId3" Type="http://schemas.openxmlformats.org/officeDocument/2006/relationships/notesSlide" Target="../notesSlides/notesSlide98.xml"/><Relationship Id="rId2" Type="http://schemas.openxmlformats.org/officeDocument/2006/relationships/slideLayout" Target="../slideLayouts/slideLayout10.xml"/><Relationship Id="rId1" Type="http://schemas.openxmlformats.org/officeDocument/2006/relationships/tags" Target="../tags/tag182.xml"/><Relationship Id="rId5" Type="http://schemas.openxmlformats.org/officeDocument/2006/relationships/image" Target="../media/image1.emf"/><Relationship Id="rId4" Type="http://schemas.openxmlformats.org/officeDocument/2006/relationships/oleObject" Target="../embeddings/oleObject154.bin"/></Relationships>
</file>

<file path=ppt/slides/_rels/slide99.xml.rels><?xml version="1.0" encoding="UTF-8" standalone="yes"?>
<Relationships xmlns="http://schemas.openxmlformats.org/package/2006/relationships"><Relationship Id="rId3" Type="http://schemas.openxmlformats.org/officeDocument/2006/relationships/notesSlide" Target="../notesSlides/notesSlide99.xml"/><Relationship Id="rId2" Type="http://schemas.openxmlformats.org/officeDocument/2006/relationships/slideLayout" Target="../slideLayouts/slideLayout13.xml"/><Relationship Id="rId1" Type="http://schemas.openxmlformats.org/officeDocument/2006/relationships/tags" Target="../tags/tag183.xml"/><Relationship Id="rId5" Type="http://schemas.openxmlformats.org/officeDocument/2006/relationships/image" Target="../media/image1.emf"/><Relationship Id="rId4" Type="http://schemas.openxmlformats.org/officeDocument/2006/relationships/oleObject" Target="../embeddings/oleObject15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5298CCF-09AE-A1C1-1783-A108F40711FB}"/>
              </a:ext>
            </a:extLst>
          </p:cNvPr>
          <p:cNvGraphicFramePr>
            <a:graphicFrameLocks noChangeAspect="1"/>
          </p:cNvGraphicFramePr>
          <p:nvPr>
            <p:custDataLst>
              <p:tags r:id="rId1"/>
            </p:custDataLst>
            <p:extLst>
              <p:ext uri="{D42A27DB-BD31-4B8C-83A1-F6EECF244321}">
                <p14:modId xmlns:p14="http://schemas.microsoft.com/office/powerpoint/2010/main" val="1725848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7" name="think-cell data - do not delete" hidden="1">
                        <a:extLst>
                          <a:ext uri="{FF2B5EF4-FFF2-40B4-BE49-F238E27FC236}">
                            <a16:creationId xmlns:a16="http://schemas.microsoft.com/office/drawing/2014/main" id="{15298CCF-09AE-A1C1-1783-A108F40711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9E7221B5-5EB6-1C2D-4292-9E0188CE5B3D}"/>
              </a:ext>
            </a:extLst>
          </p:cNvPr>
          <p:cNvSpPr>
            <a:spLocks noGrp="1"/>
          </p:cNvSpPr>
          <p:nvPr>
            <p:ph type="ctrTitle"/>
          </p:nvPr>
        </p:nvSpPr>
        <p:spPr>
          <a:xfrm>
            <a:off x="1055688" y="1557342"/>
            <a:ext cx="9809054" cy="2659190"/>
          </a:xfrm>
        </p:spPr>
        <p:txBody>
          <a:bodyPr vert="horz"/>
          <a:lstStyle/>
          <a:p>
            <a:r>
              <a:rPr lang="pt-BR" noProof="1"/>
              <a:t>Framework VEM-Deep Learning Híbrido Adaptativo para Problemas Estruturais 2D com Estimativa de Incerteza</a:t>
            </a:r>
          </a:p>
        </p:txBody>
      </p:sp>
      <p:sp>
        <p:nvSpPr>
          <p:cNvPr id="4" name="Subtitle 3">
            <a:extLst>
              <a:ext uri="{FF2B5EF4-FFF2-40B4-BE49-F238E27FC236}">
                <a16:creationId xmlns:a16="http://schemas.microsoft.com/office/drawing/2014/main" id="{B31EA5A0-AFB7-ACB9-951A-B3ABAC63ABA6}"/>
              </a:ext>
            </a:extLst>
          </p:cNvPr>
          <p:cNvSpPr>
            <a:spLocks noGrp="1"/>
          </p:cNvSpPr>
          <p:nvPr>
            <p:ph type="subTitle" idx="1"/>
          </p:nvPr>
        </p:nvSpPr>
        <p:spPr>
          <a:xfrm>
            <a:off x="1055687" y="4452451"/>
            <a:ext cx="6511303" cy="1092845"/>
          </a:xfrm>
        </p:spPr>
        <p:txBody>
          <a:bodyPr/>
          <a:lstStyle/>
          <a:p>
            <a:r>
              <a:rPr lang="pt-BR" noProof="1"/>
              <a:t>Rafael Falcão Lacerda</a:t>
            </a:r>
          </a:p>
          <a:p>
            <a:r>
              <a:rPr lang="pt-BR" noProof="1"/>
              <a:t>Orientador: Prof. Dr. Rodrigo Provasi</a:t>
            </a:r>
          </a:p>
          <a:p>
            <a:r>
              <a:rPr lang="pt-BR" noProof="1"/>
              <a:t>Departamento de Engenharia de Estruturas e Geotécnica</a:t>
            </a:r>
          </a:p>
          <a:p>
            <a:r>
              <a:rPr lang="pt-BR" noProof="1"/>
              <a:t>Escola Politécnica – Universidade de São Paulo</a:t>
            </a:r>
          </a:p>
          <a:p>
            <a:endParaRPr lang="pt-BR" noProof="1"/>
          </a:p>
        </p:txBody>
      </p:sp>
      <p:sp>
        <p:nvSpPr>
          <p:cNvPr id="6" name="Text Placeholder 5">
            <a:extLst>
              <a:ext uri="{FF2B5EF4-FFF2-40B4-BE49-F238E27FC236}">
                <a16:creationId xmlns:a16="http://schemas.microsoft.com/office/drawing/2014/main" id="{3171FF01-D108-10D3-A654-5CA23778A888}"/>
              </a:ext>
            </a:extLst>
          </p:cNvPr>
          <p:cNvSpPr>
            <a:spLocks noGrp="1"/>
          </p:cNvSpPr>
          <p:nvPr>
            <p:ph type="body" sz="quarter" idx="16"/>
          </p:nvPr>
        </p:nvSpPr>
        <p:spPr>
          <a:xfrm>
            <a:off x="1055688" y="5781214"/>
            <a:ext cx="2825654" cy="184666"/>
          </a:xfrm>
        </p:spPr>
        <p:txBody>
          <a:bodyPr/>
          <a:lstStyle/>
          <a:p>
            <a:r>
              <a:rPr lang="pt-BR" noProof="1"/>
              <a:t>08/12/2025</a:t>
            </a:r>
          </a:p>
        </p:txBody>
      </p:sp>
      <p:pic>
        <p:nvPicPr>
          <p:cNvPr id="48" name="Picture 47" descr="A logo with a person holding a book and a sword&#10;&#10;AI-generated content may be incorrect.">
            <a:extLst>
              <a:ext uri="{FF2B5EF4-FFF2-40B4-BE49-F238E27FC236}">
                <a16:creationId xmlns:a16="http://schemas.microsoft.com/office/drawing/2014/main" id="{F913DCE6-EF53-2FAF-BA20-303EDC216D06}"/>
              </a:ext>
            </a:extLst>
          </p:cNvPr>
          <p:cNvPicPr>
            <a:picLocks noChangeAspect="1"/>
          </p:cNvPicPr>
          <p:nvPr/>
        </p:nvPicPr>
        <p:blipFill>
          <a:blip r:embed="rId6"/>
          <a:stretch>
            <a:fillRect/>
          </a:stretch>
        </p:blipFill>
        <p:spPr>
          <a:xfrm>
            <a:off x="1055688" y="335023"/>
            <a:ext cx="688506" cy="986400"/>
          </a:xfrm>
          <a:prstGeom prst="rect">
            <a:avLst/>
          </a:prstGeom>
        </p:spPr>
      </p:pic>
      <p:pic>
        <p:nvPicPr>
          <p:cNvPr id="50" name="Picture 49" descr="A black background with grey dots&#10;&#10;AI-generated content may be incorrect.">
            <a:extLst>
              <a:ext uri="{FF2B5EF4-FFF2-40B4-BE49-F238E27FC236}">
                <a16:creationId xmlns:a16="http://schemas.microsoft.com/office/drawing/2014/main" id="{FFE8D6C5-413C-4B5C-E519-D4AB1CB2F0E6}"/>
              </a:ext>
            </a:extLst>
          </p:cNvPr>
          <p:cNvPicPr>
            <a:picLocks noChangeAspect="1"/>
          </p:cNvPicPr>
          <p:nvPr/>
        </p:nvPicPr>
        <p:blipFill>
          <a:blip r:embed="rId7"/>
          <a:stretch>
            <a:fillRect/>
          </a:stretch>
        </p:blipFill>
        <p:spPr>
          <a:xfrm>
            <a:off x="10156480" y="335023"/>
            <a:ext cx="1098807" cy="986400"/>
          </a:xfrm>
          <a:prstGeom prst="rect">
            <a:avLst/>
          </a:prstGeom>
        </p:spPr>
      </p:pic>
    </p:spTree>
    <p:extLst>
      <p:ext uri="{BB962C8B-B14F-4D97-AF65-F5344CB8AC3E}">
        <p14:creationId xmlns:p14="http://schemas.microsoft.com/office/powerpoint/2010/main" val="13552838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8F33EF-E4ED-AD65-0531-519C2591452E}"/>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49B7AD1-5A5E-EB9C-49E2-DCC8266C7260}"/>
              </a:ext>
            </a:extLst>
          </p:cNvPr>
          <p:cNvGraphicFramePr>
            <a:graphicFrameLocks noChangeAspect="1"/>
          </p:cNvGraphicFramePr>
          <p:nvPr>
            <p:custDataLst>
              <p:tags r:id="rId1"/>
            </p:custDataLst>
            <p:extLst>
              <p:ext uri="{D42A27DB-BD31-4B8C-83A1-F6EECF244321}">
                <p14:modId xmlns:p14="http://schemas.microsoft.com/office/powerpoint/2010/main" val="5455498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3" name="think-cell data - do not delete" hidden="1">
                        <a:extLst>
                          <a:ext uri="{FF2B5EF4-FFF2-40B4-BE49-F238E27FC236}">
                            <a16:creationId xmlns:a16="http://schemas.microsoft.com/office/drawing/2014/main" id="{149B7AD1-5A5E-EB9C-49E2-DCC8266C72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14">
            <a:extLst>
              <a:ext uri="{FF2B5EF4-FFF2-40B4-BE49-F238E27FC236}">
                <a16:creationId xmlns:a16="http://schemas.microsoft.com/office/drawing/2014/main" id="{B4A7382C-62A6-16AF-A932-2DADED32E6E2}"/>
              </a:ext>
            </a:extLst>
          </p:cNvPr>
          <p:cNvSpPr>
            <a:spLocks noGrp="1"/>
          </p:cNvSpPr>
          <p:nvPr>
            <p:ph type="title"/>
          </p:nvPr>
        </p:nvSpPr>
        <p:spPr>
          <a:xfrm>
            <a:off x="563410" y="558086"/>
            <a:ext cx="10966140" cy="393954"/>
          </a:xfrm>
        </p:spPr>
        <p:txBody>
          <a:bodyPr vert="horz"/>
          <a:lstStyle/>
          <a:p>
            <a:r>
              <a:rPr lang="pt-BR" b="1" noProof="1"/>
              <a:t>Histórico dos Métodos Numéricos - (2/2)</a:t>
            </a:r>
            <a:endParaRPr lang="pt-BR" noProof="1"/>
          </a:p>
        </p:txBody>
      </p:sp>
      <p:sp>
        <p:nvSpPr>
          <p:cNvPr id="22" name="Text Placeholder 21">
            <a:extLst>
              <a:ext uri="{FF2B5EF4-FFF2-40B4-BE49-F238E27FC236}">
                <a16:creationId xmlns:a16="http://schemas.microsoft.com/office/drawing/2014/main" id="{110EF677-1960-5698-E74D-CBF77F9DCD49}"/>
              </a:ext>
            </a:extLst>
          </p:cNvPr>
          <p:cNvSpPr>
            <a:spLocks noGrp="1"/>
          </p:cNvSpPr>
          <p:nvPr>
            <p:ph type="body" sz="quarter" idx="26"/>
          </p:nvPr>
        </p:nvSpPr>
        <p:spPr>
          <a:xfrm>
            <a:off x="563410" y="1609787"/>
            <a:ext cx="6665429" cy="384048"/>
          </a:xfrm>
        </p:spPr>
        <p:txBody>
          <a:bodyPr/>
          <a:lstStyle/>
          <a:p>
            <a:r>
              <a:rPr lang="pt-BR" noProof="1">
                <a:solidFill>
                  <a:schemeClr val="bg2"/>
                </a:solidFill>
              </a:rPr>
              <a:t>Da formulação variacional aos métodos contemporâneos</a:t>
            </a:r>
          </a:p>
        </p:txBody>
      </p:sp>
      <p:grpSp>
        <p:nvGrpSpPr>
          <p:cNvPr id="63" name="Group 62">
            <a:extLst>
              <a:ext uri="{FF2B5EF4-FFF2-40B4-BE49-F238E27FC236}">
                <a16:creationId xmlns:a16="http://schemas.microsoft.com/office/drawing/2014/main" id="{B3F745C2-2E52-FE50-5E16-BC8E82DFFC79}"/>
              </a:ext>
            </a:extLst>
          </p:cNvPr>
          <p:cNvGrpSpPr/>
          <p:nvPr/>
        </p:nvGrpSpPr>
        <p:grpSpPr>
          <a:xfrm>
            <a:off x="4943100" y="2525284"/>
            <a:ext cx="4314790" cy="3763647"/>
            <a:chOff x="4743153" y="2525284"/>
            <a:chExt cx="4314790" cy="3763647"/>
          </a:xfrm>
        </p:grpSpPr>
        <p:sp>
          <p:nvSpPr>
            <p:cNvPr id="6" name="Text Placeholder 22">
              <a:extLst>
                <a:ext uri="{FF2B5EF4-FFF2-40B4-BE49-F238E27FC236}">
                  <a16:creationId xmlns:a16="http://schemas.microsoft.com/office/drawing/2014/main" id="{FA767496-0669-1A66-3341-EC70589DAD08}"/>
                </a:ext>
              </a:extLst>
            </p:cNvPr>
            <p:cNvSpPr txBox="1">
              <a:spLocks/>
            </p:cNvSpPr>
            <p:nvPr/>
          </p:nvSpPr>
          <p:spPr>
            <a:xfrm>
              <a:off x="4743153" y="2525284"/>
              <a:ext cx="4314790" cy="734935"/>
            </a:xfrm>
            <a:prstGeom prst="rect">
              <a:avLst/>
            </a:prstGeom>
            <a:ln>
              <a:noFill/>
            </a:ln>
          </p:spPr>
          <p:txBody>
            <a:bodyPr vert="horz" lIns="0" tIns="0" rIns="0" bIns="0" rtlCol="0">
              <a:noAutofit/>
            </a:bodyPr>
            <a:lstStyle>
              <a:lvl1pPr marL="0" indent="0" algn="l" defTabSz="228594" rtl="0" eaLnBrk="1" latinLnBrk="0" hangingPunct="1">
                <a:lnSpc>
                  <a:spcPct val="100000"/>
                </a:lnSpc>
                <a:spcBef>
                  <a:spcPts val="0"/>
                </a:spcBef>
                <a:spcAft>
                  <a:spcPts val="1200"/>
                </a:spcAft>
                <a:buFont typeface="Arial" panose="020B0604020202020204" pitchFamily="34" charset="0"/>
                <a:buNone/>
                <a:defRPr lang="en-US" sz="1200" b="0" kern="1200" dirty="0" smtClean="0">
                  <a:solidFill>
                    <a:schemeClr val="tx1"/>
                  </a:solidFill>
                  <a:latin typeface="+mn-lt"/>
                  <a:ea typeface="+mn-ea"/>
                  <a:cs typeface="+mn-cs"/>
                </a:defRPr>
              </a:lvl1pPr>
              <a:lvl2pPr marL="228594" indent="-228594" algn="l" defTabSz="228594" rtl="0" eaLnBrk="1" latinLnBrk="0" hangingPunct="1">
                <a:lnSpc>
                  <a:spcPct val="100000"/>
                </a:lnSpc>
                <a:spcBef>
                  <a:spcPts val="0"/>
                </a:spcBef>
                <a:spcAft>
                  <a:spcPts val="1200"/>
                </a:spcAft>
                <a:buClrTx/>
                <a:buFont typeface="Arial" panose="020B0604020202020204" pitchFamily="34" charset="0"/>
                <a:buChar char="•"/>
                <a:defRPr lang="en-US" sz="1400" b="0" kern="1200" dirty="0" smtClean="0">
                  <a:solidFill>
                    <a:schemeClr val="tx1"/>
                  </a:solidFill>
                  <a:latin typeface="+mn-lt"/>
                  <a:ea typeface="+mn-ea"/>
                  <a:cs typeface="+mn-cs"/>
                </a:defRPr>
              </a:lvl2pPr>
              <a:lvl3pPr marL="457189" indent="-228594" algn="l" defTabSz="228594" rtl="0" eaLnBrk="1" latinLnBrk="0" hangingPunct="1">
                <a:lnSpc>
                  <a:spcPct val="100000"/>
                </a:lnSpc>
                <a:spcBef>
                  <a:spcPts val="0"/>
                </a:spcBef>
                <a:spcAft>
                  <a:spcPts val="1200"/>
                </a:spcAft>
                <a:buFont typeface="System Font"/>
                <a:buChar char="–"/>
                <a:defRPr sz="1200" kern="1200">
                  <a:solidFill>
                    <a:schemeClr val="tx1"/>
                  </a:solidFill>
                  <a:latin typeface="+mn-lt"/>
                  <a:ea typeface="+mn-ea"/>
                  <a:cs typeface="+mn-cs"/>
                </a:defRPr>
              </a:lvl3pPr>
              <a:lvl4pPr marL="685783" indent="-228594" algn="l" defTabSz="228594" rtl="0" eaLnBrk="1" latinLnBrk="0" hangingPunct="1">
                <a:lnSpc>
                  <a:spcPct val="100000"/>
                </a:lnSpc>
                <a:spcBef>
                  <a:spcPts val="0"/>
                </a:spcBef>
                <a:spcAft>
                  <a:spcPts val="1200"/>
                </a:spcAft>
                <a:buFont typeface="Arial" panose="020B0604020202020204" pitchFamily="34" charset="0"/>
                <a:buChar char="•"/>
                <a:defRPr sz="1100" kern="1200">
                  <a:solidFill>
                    <a:schemeClr val="tx1"/>
                  </a:solidFill>
                  <a:latin typeface="+mn-lt"/>
                  <a:ea typeface="+mn-ea"/>
                  <a:cs typeface="+mn-cs"/>
                </a:defRPr>
              </a:lvl4pPr>
              <a:lvl5pPr marL="914377" indent="-228594" algn="l" defTabSz="228594" rtl="0" eaLnBrk="1" latinLnBrk="0" hangingPunct="1">
                <a:lnSpc>
                  <a:spcPct val="100000"/>
                </a:lnSpc>
                <a:spcBef>
                  <a:spcPts val="0"/>
                </a:spcBef>
                <a:spcAft>
                  <a:spcPts val="1200"/>
                </a:spcAft>
                <a:buFont typeface="System Font"/>
                <a:buChar char="–"/>
                <a:defRPr sz="1100" kern="1200">
                  <a:solidFill>
                    <a:schemeClr val="tx1"/>
                  </a:solidFill>
                  <a:latin typeface="+mn-lt"/>
                  <a:ea typeface="+mn-ea"/>
                  <a:cs typeface="+mn-cs"/>
                </a:defRPr>
              </a:lvl5pPr>
              <a:lvl6pPr marL="11113" indent="0" algn="l" defTabSz="228594" rtl="0" eaLnBrk="1" latinLnBrk="0" hangingPunct="1">
                <a:lnSpc>
                  <a:spcPct val="90000"/>
                </a:lnSpc>
                <a:spcBef>
                  <a:spcPts val="0"/>
                </a:spcBef>
                <a:spcAft>
                  <a:spcPts val="1200"/>
                </a:spcAft>
                <a:buFont typeface="Graphik" panose="020B0503030202060203" pitchFamily="34" charset="0"/>
                <a:buNone/>
                <a:tabLst/>
                <a:defRPr sz="1200" kern="1200">
                  <a:solidFill>
                    <a:schemeClr val="tx1"/>
                  </a:solidFill>
                  <a:latin typeface="+mn-lt"/>
                  <a:ea typeface="+mn-ea"/>
                  <a:cs typeface="+mn-cs"/>
                </a:defRPr>
              </a:lvl6pPr>
              <a:lvl7pPr marL="0" indent="0" algn="l" defTabSz="22859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mn-lt"/>
                  <a:ea typeface="+mn-ea"/>
                  <a:cs typeface="+mn-cs"/>
                </a:defRPr>
              </a:lvl7pPr>
              <a:lvl8pPr marL="0" indent="0" algn="l" defTabSz="22859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mn-lt"/>
                  <a:ea typeface="+mn-ea"/>
                  <a:cs typeface="+mn-cs"/>
                </a:defRPr>
              </a:lvl8pPr>
              <a:lvl9pPr marL="0" indent="0" algn="l" defTabSz="22859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mn-lt"/>
                  <a:ea typeface="+mn-ea"/>
                  <a:cs typeface="+mn-cs"/>
                </a:defRPr>
              </a:lvl9pPr>
            </a:lstStyle>
            <a:p>
              <a:r>
                <a:rPr lang="pt-BR" noProof="1"/>
                <a:t>Introduziu oficialmente o termo “Finite Element Method” e aplicou o método a problemas de tensão plana.</a:t>
              </a:r>
            </a:p>
          </p:txBody>
        </p:sp>
        <p:sp>
          <p:nvSpPr>
            <p:cNvPr id="7" name="Text Placeholder 25">
              <a:extLst>
                <a:ext uri="{FF2B5EF4-FFF2-40B4-BE49-F238E27FC236}">
                  <a16:creationId xmlns:a16="http://schemas.microsoft.com/office/drawing/2014/main" id="{7D88F0DF-24F5-BF40-95FF-461D1860D7D5}"/>
                </a:ext>
              </a:extLst>
            </p:cNvPr>
            <p:cNvSpPr txBox="1">
              <a:spLocks/>
            </p:cNvSpPr>
            <p:nvPr/>
          </p:nvSpPr>
          <p:spPr>
            <a:xfrm>
              <a:off x="4743153" y="3538534"/>
              <a:ext cx="4314790" cy="734935"/>
            </a:xfrm>
            <a:prstGeom prst="rect">
              <a:avLst/>
            </a:prstGeom>
            <a:ln>
              <a:noFill/>
            </a:ln>
          </p:spPr>
          <p:txBody>
            <a:bodyPr vert="horz" lIns="0" tIns="0" rIns="0" bIns="0" rtlCol="0">
              <a:noAutofit/>
            </a:bodyPr>
            <a:lstStyle>
              <a:lvl1pPr marL="0" indent="0" algn="l" defTabSz="228594" rtl="0" eaLnBrk="1" latinLnBrk="0" hangingPunct="1">
                <a:lnSpc>
                  <a:spcPct val="100000"/>
                </a:lnSpc>
                <a:spcBef>
                  <a:spcPts val="0"/>
                </a:spcBef>
                <a:spcAft>
                  <a:spcPts val="1200"/>
                </a:spcAft>
                <a:buFont typeface="Arial" panose="020B0604020202020204" pitchFamily="34" charset="0"/>
                <a:buNone/>
                <a:defRPr lang="en-US" sz="1200" b="0" kern="1200" dirty="0" smtClean="0">
                  <a:solidFill>
                    <a:schemeClr val="tx1"/>
                  </a:solidFill>
                  <a:latin typeface="+mn-lt"/>
                  <a:ea typeface="+mn-ea"/>
                  <a:cs typeface="+mn-cs"/>
                </a:defRPr>
              </a:lvl1pPr>
              <a:lvl2pPr marL="228594" indent="-228594" algn="l" defTabSz="228594" rtl="0" eaLnBrk="1" latinLnBrk="0" hangingPunct="1">
                <a:lnSpc>
                  <a:spcPct val="100000"/>
                </a:lnSpc>
                <a:spcBef>
                  <a:spcPts val="0"/>
                </a:spcBef>
                <a:spcAft>
                  <a:spcPts val="1200"/>
                </a:spcAft>
                <a:buClrTx/>
                <a:buFont typeface="Arial" panose="020B0604020202020204" pitchFamily="34" charset="0"/>
                <a:buChar char="•"/>
                <a:defRPr lang="en-US" sz="1400" b="0" kern="1200" dirty="0" smtClean="0">
                  <a:solidFill>
                    <a:schemeClr val="tx1"/>
                  </a:solidFill>
                  <a:latin typeface="+mn-lt"/>
                  <a:ea typeface="+mn-ea"/>
                  <a:cs typeface="+mn-cs"/>
                </a:defRPr>
              </a:lvl2pPr>
              <a:lvl3pPr marL="457189" indent="-228594" algn="l" defTabSz="228594" rtl="0" eaLnBrk="1" latinLnBrk="0" hangingPunct="1">
                <a:lnSpc>
                  <a:spcPct val="100000"/>
                </a:lnSpc>
                <a:spcBef>
                  <a:spcPts val="0"/>
                </a:spcBef>
                <a:spcAft>
                  <a:spcPts val="1200"/>
                </a:spcAft>
                <a:buFont typeface="System Font"/>
                <a:buChar char="–"/>
                <a:defRPr sz="1200" kern="1200">
                  <a:solidFill>
                    <a:schemeClr val="tx1"/>
                  </a:solidFill>
                  <a:latin typeface="+mn-lt"/>
                  <a:ea typeface="+mn-ea"/>
                  <a:cs typeface="+mn-cs"/>
                </a:defRPr>
              </a:lvl3pPr>
              <a:lvl4pPr marL="685783" indent="-228594" algn="l" defTabSz="228594" rtl="0" eaLnBrk="1" latinLnBrk="0" hangingPunct="1">
                <a:lnSpc>
                  <a:spcPct val="100000"/>
                </a:lnSpc>
                <a:spcBef>
                  <a:spcPts val="0"/>
                </a:spcBef>
                <a:spcAft>
                  <a:spcPts val="1200"/>
                </a:spcAft>
                <a:buFont typeface="Arial" panose="020B0604020202020204" pitchFamily="34" charset="0"/>
                <a:buChar char="•"/>
                <a:defRPr sz="1100" kern="1200">
                  <a:solidFill>
                    <a:schemeClr val="tx1"/>
                  </a:solidFill>
                  <a:latin typeface="+mn-lt"/>
                  <a:ea typeface="+mn-ea"/>
                  <a:cs typeface="+mn-cs"/>
                </a:defRPr>
              </a:lvl4pPr>
              <a:lvl5pPr marL="914377" indent="-228594" algn="l" defTabSz="228594" rtl="0" eaLnBrk="1" latinLnBrk="0" hangingPunct="1">
                <a:lnSpc>
                  <a:spcPct val="100000"/>
                </a:lnSpc>
                <a:spcBef>
                  <a:spcPts val="0"/>
                </a:spcBef>
                <a:spcAft>
                  <a:spcPts val="1200"/>
                </a:spcAft>
                <a:buFont typeface="System Font"/>
                <a:buChar char="–"/>
                <a:defRPr sz="1100" kern="1200">
                  <a:solidFill>
                    <a:schemeClr val="tx1"/>
                  </a:solidFill>
                  <a:latin typeface="+mn-lt"/>
                  <a:ea typeface="+mn-ea"/>
                  <a:cs typeface="+mn-cs"/>
                </a:defRPr>
              </a:lvl5pPr>
              <a:lvl6pPr marL="11113" indent="0" algn="l" defTabSz="228594" rtl="0" eaLnBrk="1" latinLnBrk="0" hangingPunct="1">
                <a:lnSpc>
                  <a:spcPct val="90000"/>
                </a:lnSpc>
                <a:spcBef>
                  <a:spcPts val="0"/>
                </a:spcBef>
                <a:spcAft>
                  <a:spcPts val="1200"/>
                </a:spcAft>
                <a:buFont typeface="Graphik" panose="020B0503030202060203" pitchFamily="34" charset="0"/>
                <a:buNone/>
                <a:tabLst/>
                <a:defRPr sz="1200" kern="1200">
                  <a:solidFill>
                    <a:schemeClr val="tx1"/>
                  </a:solidFill>
                  <a:latin typeface="+mn-lt"/>
                  <a:ea typeface="+mn-ea"/>
                  <a:cs typeface="+mn-cs"/>
                </a:defRPr>
              </a:lvl6pPr>
              <a:lvl7pPr marL="0" indent="0" algn="l" defTabSz="22859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mn-lt"/>
                  <a:ea typeface="+mn-ea"/>
                  <a:cs typeface="+mn-cs"/>
                </a:defRPr>
              </a:lvl7pPr>
              <a:lvl8pPr marL="0" indent="0" algn="l" defTabSz="22859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mn-lt"/>
                  <a:ea typeface="+mn-ea"/>
                  <a:cs typeface="+mn-cs"/>
                </a:defRPr>
              </a:lvl8pPr>
              <a:lvl9pPr marL="0" indent="0" algn="l" defTabSz="22859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mn-lt"/>
                  <a:ea typeface="+mn-ea"/>
                  <a:cs typeface="+mn-cs"/>
                </a:defRPr>
              </a:lvl9pPr>
            </a:lstStyle>
            <a:p>
              <a:r>
                <a:rPr lang="pt-BR" noProof="1"/>
                <a:t>Primeiro livro estruturado sobre FEM, responsável por difundir globalmente o método na engenharia.</a:t>
              </a:r>
            </a:p>
          </p:txBody>
        </p:sp>
        <p:sp>
          <p:nvSpPr>
            <p:cNvPr id="8" name="Text Placeholder 28">
              <a:extLst>
                <a:ext uri="{FF2B5EF4-FFF2-40B4-BE49-F238E27FC236}">
                  <a16:creationId xmlns:a16="http://schemas.microsoft.com/office/drawing/2014/main" id="{60795AE4-B5C4-1FCF-648F-BB39BC914791}"/>
                </a:ext>
              </a:extLst>
            </p:cNvPr>
            <p:cNvSpPr txBox="1">
              <a:spLocks/>
            </p:cNvSpPr>
            <p:nvPr/>
          </p:nvSpPr>
          <p:spPr>
            <a:xfrm>
              <a:off x="4743153" y="4540746"/>
              <a:ext cx="4314790" cy="734935"/>
            </a:xfrm>
            <a:prstGeom prst="rect">
              <a:avLst/>
            </a:prstGeom>
            <a:ln>
              <a:noFill/>
            </a:ln>
          </p:spPr>
          <p:txBody>
            <a:bodyPr vert="horz" lIns="0" tIns="0" rIns="0" bIns="0" rtlCol="0">
              <a:noAutofit/>
            </a:bodyPr>
            <a:lstStyle>
              <a:lvl1pPr marL="0" indent="0" algn="l" defTabSz="228594" rtl="0" eaLnBrk="1" latinLnBrk="0" hangingPunct="1">
                <a:lnSpc>
                  <a:spcPct val="100000"/>
                </a:lnSpc>
                <a:spcBef>
                  <a:spcPts val="0"/>
                </a:spcBef>
                <a:spcAft>
                  <a:spcPts val="1200"/>
                </a:spcAft>
                <a:buFont typeface="Arial" panose="020B0604020202020204" pitchFamily="34" charset="0"/>
                <a:buNone/>
                <a:defRPr lang="en-US" sz="1200" b="0" kern="1200" dirty="0" smtClean="0">
                  <a:solidFill>
                    <a:schemeClr val="tx1"/>
                  </a:solidFill>
                  <a:latin typeface="+mn-lt"/>
                  <a:ea typeface="+mn-ea"/>
                  <a:cs typeface="+mn-cs"/>
                </a:defRPr>
              </a:lvl1pPr>
              <a:lvl2pPr marL="228594" indent="-228594" algn="l" defTabSz="228594" rtl="0" eaLnBrk="1" latinLnBrk="0" hangingPunct="1">
                <a:lnSpc>
                  <a:spcPct val="100000"/>
                </a:lnSpc>
                <a:spcBef>
                  <a:spcPts val="0"/>
                </a:spcBef>
                <a:spcAft>
                  <a:spcPts val="1200"/>
                </a:spcAft>
                <a:buClrTx/>
                <a:buFont typeface="Arial" panose="020B0604020202020204" pitchFamily="34" charset="0"/>
                <a:buChar char="•"/>
                <a:defRPr lang="en-US" sz="1400" b="0" kern="1200" dirty="0" smtClean="0">
                  <a:solidFill>
                    <a:schemeClr val="tx1"/>
                  </a:solidFill>
                  <a:latin typeface="+mn-lt"/>
                  <a:ea typeface="+mn-ea"/>
                  <a:cs typeface="+mn-cs"/>
                </a:defRPr>
              </a:lvl2pPr>
              <a:lvl3pPr marL="457189" indent="-228594" algn="l" defTabSz="228594" rtl="0" eaLnBrk="1" latinLnBrk="0" hangingPunct="1">
                <a:lnSpc>
                  <a:spcPct val="100000"/>
                </a:lnSpc>
                <a:spcBef>
                  <a:spcPts val="0"/>
                </a:spcBef>
                <a:spcAft>
                  <a:spcPts val="1200"/>
                </a:spcAft>
                <a:buFont typeface="System Font"/>
                <a:buChar char="–"/>
                <a:defRPr sz="1200" kern="1200">
                  <a:solidFill>
                    <a:schemeClr val="tx1"/>
                  </a:solidFill>
                  <a:latin typeface="+mn-lt"/>
                  <a:ea typeface="+mn-ea"/>
                  <a:cs typeface="+mn-cs"/>
                </a:defRPr>
              </a:lvl3pPr>
              <a:lvl4pPr marL="685783" indent="-228594" algn="l" defTabSz="228594" rtl="0" eaLnBrk="1" latinLnBrk="0" hangingPunct="1">
                <a:lnSpc>
                  <a:spcPct val="100000"/>
                </a:lnSpc>
                <a:spcBef>
                  <a:spcPts val="0"/>
                </a:spcBef>
                <a:spcAft>
                  <a:spcPts val="1200"/>
                </a:spcAft>
                <a:buFont typeface="Arial" panose="020B0604020202020204" pitchFamily="34" charset="0"/>
                <a:buChar char="•"/>
                <a:defRPr sz="1100" kern="1200">
                  <a:solidFill>
                    <a:schemeClr val="tx1"/>
                  </a:solidFill>
                  <a:latin typeface="+mn-lt"/>
                  <a:ea typeface="+mn-ea"/>
                  <a:cs typeface="+mn-cs"/>
                </a:defRPr>
              </a:lvl4pPr>
              <a:lvl5pPr marL="914377" indent="-228594" algn="l" defTabSz="228594" rtl="0" eaLnBrk="1" latinLnBrk="0" hangingPunct="1">
                <a:lnSpc>
                  <a:spcPct val="100000"/>
                </a:lnSpc>
                <a:spcBef>
                  <a:spcPts val="0"/>
                </a:spcBef>
                <a:spcAft>
                  <a:spcPts val="1200"/>
                </a:spcAft>
                <a:buFont typeface="System Font"/>
                <a:buChar char="–"/>
                <a:defRPr sz="1100" kern="1200">
                  <a:solidFill>
                    <a:schemeClr val="tx1"/>
                  </a:solidFill>
                  <a:latin typeface="+mn-lt"/>
                  <a:ea typeface="+mn-ea"/>
                  <a:cs typeface="+mn-cs"/>
                </a:defRPr>
              </a:lvl5pPr>
              <a:lvl6pPr marL="11113" indent="0" algn="l" defTabSz="228594" rtl="0" eaLnBrk="1" latinLnBrk="0" hangingPunct="1">
                <a:lnSpc>
                  <a:spcPct val="90000"/>
                </a:lnSpc>
                <a:spcBef>
                  <a:spcPts val="0"/>
                </a:spcBef>
                <a:spcAft>
                  <a:spcPts val="1200"/>
                </a:spcAft>
                <a:buFont typeface="Graphik" panose="020B0503030202060203" pitchFamily="34" charset="0"/>
                <a:buNone/>
                <a:tabLst/>
                <a:defRPr sz="1200" kern="1200">
                  <a:solidFill>
                    <a:schemeClr val="tx1"/>
                  </a:solidFill>
                  <a:latin typeface="+mn-lt"/>
                  <a:ea typeface="+mn-ea"/>
                  <a:cs typeface="+mn-cs"/>
                </a:defRPr>
              </a:lvl6pPr>
              <a:lvl7pPr marL="0" indent="0" algn="l" defTabSz="22859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mn-lt"/>
                  <a:ea typeface="+mn-ea"/>
                  <a:cs typeface="+mn-cs"/>
                </a:defRPr>
              </a:lvl7pPr>
              <a:lvl8pPr marL="0" indent="0" algn="l" defTabSz="22859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mn-lt"/>
                  <a:ea typeface="+mn-ea"/>
                  <a:cs typeface="+mn-cs"/>
                </a:defRPr>
              </a:lvl8pPr>
              <a:lvl9pPr marL="0" indent="0" algn="l" defTabSz="22859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mn-lt"/>
                  <a:ea typeface="+mn-ea"/>
                  <a:cs typeface="+mn-cs"/>
                </a:defRPr>
              </a:lvl9pPr>
            </a:lstStyle>
            <a:p>
              <a:r>
                <a:rPr lang="pt-BR" noProof="1"/>
                <a:t>Consolidou a formulação moderna do FEM com enfoque em elasticidade, dinâmica e não linearidade.</a:t>
              </a:r>
            </a:p>
          </p:txBody>
        </p:sp>
        <p:sp>
          <p:nvSpPr>
            <p:cNvPr id="9" name="Text Placeholder 31">
              <a:extLst>
                <a:ext uri="{FF2B5EF4-FFF2-40B4-BE49-F238E27FC236}">
                  <a16:creationId xmlns:a16="http://schemas.microsoft.com/office/drawing/2014/main" id="{1D945165-14FB-3DA5-5011-FBF9D7B8E2F5}"/>
                </a:ext>
              </a:extLst>
            </p:cNvPr>
            <p:cNvSpPr txBox="1">
              <a:spLocks/>
            </p:cNvSpPr>
            <p:nvPr/>
          </p:nvSpPr>
          <p:spPr>
            <a:xfrm>
              <a:off x="4743153" y="5553996"/>
              <a:ext cx="4314790" cy="734935"/>
            </a:xfrm>
            <a:prstGeom prst="rect">
              <a:avLst/>
            </a:prstGeom>
            <a:ln>
              <a:noFill/>
            </a:ln>
          </p:spPr>
          <p:txBody>
            <a:bodyPr vert="horz" lIns="0" tIns="0" rIns="0" bIns="0" rtlCol="0">
              <a:noAutofit/>
            </a:bodyPr>
            <a:lstStyle>
              <a:lvl1pPr marL="0" indent="0" algn="l" defTabSz="228594" rtl="0" eaLnBrk="1" latinLnBrk="0" hangingPunct="1">
                <a:lnSpc>
                  <a:spcPct val="100000"/>
                </a:lnSpc>
                <a:spcBef>
                  <a:spcPts val="0"/>
                </a:spcBef>
                <a:spcAft>
                  <a:spcPts val="1200"/>
                </a:spcAft>
                <a:buFont typeface="Arial" panose="020B0604020202020204" pitchFamily="34" charset="0"/>
                <a:buNone/>
                <a:defRPr lang="en-US" sz="1200" b="0" kern="1200" dirty="0" smtClean="0">
                  <a:solidFill>
                    <a:schemeClr val="tx1"/>
                  </a:solidFill>
                  <a:latin typeface="+mn-lt"/>
                  <a:ea typeface="+mn-ea"/>
                  <a:cs typeface="+mn-cs"/>
                </a:defRPr>
              </a:lvl1pPr>
              <a:lvl2pPr marL="228594" indent="-228594" algn="l" defTabSz="228594" rtl="0" eaLnBrk="1" latinLnBrk="0" hangingPunct="1">
                <a:lnSpc>
                  <a:spcPct val="100000"/>
                </a:lnSpc>
                <a:spcBef>
                  <a:spcPts val="0"/>
                </a:spcBef>
                <a:spcAft>
                  <a:spcPts val="1200"/>
                </a:spcAft>
                <a:buClrTx/>
                <a:buFont typeface="Arial" panose="020B0604020202020204" pitchFamily="34" charset="0"/>
                <a:buChar char="•"/>
                <a:defRPr lang="en-US" sz="1400" b="0" kern="1200" dirty="0" smtClean="0">
                  <a:solidFill>
                    <a:schemeClr val="tx1"/>
                  </a:solidFill>
                  <a:latin typeface="+mn-lt"/>
                  <a:ea typeface="+mn-ea"/>
                  <a:cs typeface="+mn-cs"/>
                </a:defRPr>
              </a:lvl2pPr>
              <a:lvl3pPr marL="457189" indent="-228594" algn="l" defTabSz="228594" rtl="0" eaLnBrk="1" latinLnBrk="0" hangingPunct="1">
                <a:lnSpc>
                  <a:spcPct val="100000"/>
                </a:lnSpc>
                <a:spcBef>
                  <a:spcPts val="0"/>
                </a:spcBef>
                <a:spcAft>
                  <a:spcPts val="1200"/>
                </a:spcAft>
                <a:buFont typeface="System Font"/>
                <a:buChar char="–"/>
                <a:defRPr sz="1200" kern="1200">
                  <a:solidFill>
                    <a:schemeClr val="tx1"/>
                  </a:solidFill>
                  <a:latin typeface="+mn-lt"/>
                  <a:ea typeface="+mn-ea"/>
                  <a:cs typeface="+mn-cs"/>
                </a:defRPr>
              </a:lvl3pPr>
              <a:lvl4pPr marL="685783" indent="-228594" algn="l" defTabSz="228594" rtl="0" eaLnBrk="1" latinLnBrk="0" hangingPunct="1">
                <a:lnSpc>
                  <a:spcPct val="100000"/>
                </a:lnSpc>
                <a:spcBef>
                  <a:spcPts val="0"/>
                </a:spcBef>
                <a:spcAft>
                  <a:spcPts val="1200"/>
                </a:spcAft>
                <a:buFont typeface="Arial" panose="020B0604020202020204" pitchFamily="34" charset="0"/>
                <a:buChar char="•"/>
                <a:defRPr sz="1100" kern="1200">
                  <a:solidFill>
                    <a:schemeClr val="tx1"/>
                  </a:solidFill>
                  <a:latin typeface="+mn-lt"/>
                  <a:ea typeface="+mn-ea"/>
                  <a:cs typeface="+mn-cs"/>
                </a:defRPr>
              </a:lvl4pPr>
              <a:lvl5pPr marL="914377" indent="-228594" algn="l" defTabSz="228594" rtl="0" eaLnBrk="1" latinLnBrk="0" hangingPunct="1">
                <a:lnSpc>
                  <a:spcPct val="100000"/>
                </a:lnSpc>
                <a:spcBef>
                  <a:spcPts val="0"/>
                </a:spcBef>
                <a:spcAft>
                  <a:spcPts val="1200"/>
                </a:spcAft>
                <a:buFont typeface="System Font"/>
                <a:buChar char="–"/>
                <a:defRPr sz="1100" kern="1200">
                  <a:solidFill>
                    <a:schemeClr val="tx1"/>
                  </a:solidFill>
                  <a:latin typeface="+mn-lt"/>
                  <a:ea typeface="+mn-ea"/>
                  <a:cs typeface="+mn-cs"/>
                </a:defRPr>
              </a:lvl5pPr>
              <a:lvl6pPr marL="11113" indent="0" algn="l" defTabSz="228594" rtl="0" eaLnBrk="1" latinLnBrk="0" hangingPunct="1">
                <a:lnSpc>
                  <a:spcPct val="90000"/>
                </a:lnSpc>
                <a:spcBef>
                  <a:spcPts val="0"/>
                </a:spcBef>
                <a:spcAft>
                  <a:spcPts val="1200"/>
                </a:spcAft>
                <a:buFont typeface="Graphik" panose="020B0503030202060203" pitchFamily="34" charset="0"/>
                <a:buNone/>
                <a:tabLst/>
                <a:defRPr sz="1200" kern="1200">
                  <a:solidFill>
                    <a:schemeClr val="tx1"/>
                  </a:solidFill>
                  <a:latin typeface="+mn-lt"/>
                  <a:ea typeface="+mn-ea"/>
                  <a:cs typeface="+mn-cs"/>
                </a:defRPr>
              </a:lvl6pPr>
              <a:lvl7pPr marL="0" indent="0" algn="l" defTabSz="22859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mn-lt"/>
                  <a:ea typeface="+mn-ea"/>
                  <a:cs typeface="+mn-cs"/>
                </a:defRPr>
              </a:lvl7pPr>
              <a:lvl8pPr marL="0" indent="0" algn="l" defTabSz="22859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mn-lt"/>
                  <a:ea typeface="+mn-ea"/>
                  <a:cs typeface="+mn-cs"/>
                </a:defRPr>
              </a:lvl8pPr>
              <a:lvl9pPr marL="0" indent="0" algn="l" defTabSz="22859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mn-lt"/>
                  <a:ea typeface="+mn-ea"/>
                  <a:cs typeface="+mn-cs"/>
                </a:defRPr>
              </a:lvl9pPr>
            </a:lstStyle>
            <a:p>
              <a:r>
                <a:rPr lang="pt-BR" noProof="1"/>
                <a:t>Introdução do Virtual Element Method (VEM), permitindo uso de elementos poligonais arbitrários e estabilidade superior em malhas complexas.</a:t>
              </a:r>
            </a:p>
          </p:txBody>
        </p:sp>
      </p:grpSp>
      <p:grpSp>
        <p:nvGrpSpPr>
          <p:cNvPr id="64" name="Group 63">
            <a:extLst>
              <a:ext uri="{FF2B5EF4-FFF2-40B4-BE49-F238E27FC236}">
                <a16:creationId xmlns:a16="http://schemas.microsoft.com/office/drawing/2014/main" id="{61EAB5B8-5E2D-46D2-F2E1-FB4CE0EA9180}"/>
              </a:ext>
            </a:extLst>
          </p:cNvPr>
          <p:cNvGrpSpPr/>
          <p:nvPr/>
        </p:nvGrpSpPr>
        <p:grpSpPr>
          <a:xfrm>
            <a:off x="9659469" y="2525284"/>
            <a:ext cx="1994217" cy="3761072"/>
            <a:chOff x="9659469" y="2525284"/>
            <a:chExt cx="1994217" cy="3761072"/>
          </a:xfrm>
        </p:grpSpPr>
        <p:sp>
          <p:nvSpPr>
            <p:cNvPr id="19" name="Text Placeholder 23">
              <a:extLst>
                <a:ext uri="{FF2B5EF4-FFF2-40B4-BE49-F238E27FC236}">
                  <a16:creationId xmlns:a16="http://schemas.microsoft.com/office/drawing/2014/main" id="{12F75ED4-790C-9E31-8DA9-D4C53086852E}"/>
                </a:ext>
              </a:extLst>
            </p:cNvPr>
            <p:cNvSpPr txBox="1">
              <a:spLocks/>
            </p:cNvSpPr>
            <p:nvPr/>
          </p:nvSpPr>
          <p:spPr>
            <a:xfrm>
              <a:off x="9659469" y="2525284"/>
              <a:ext cx="1994217" cy="732360"/>
            </a:xfrm>
            <a:prstGeom prst="rect">
              <a:avLst/>
            </a:prstGeom>
            <a:ln>
              <a:noFill/>
            </a:ln>
          </p:spPr>
          <p:txBody>
            <a:bodyPr vert="horz" lIns="0" tIns="0" rIns="0" bIns="0" rtlCol="0" anchor="t">
              <a:noAutofit/>
            </a:bodyPr>
            <a:lstStyle>
              <a:lvl1pPr marL="0" indent="0" algn="l" defTabSz="228594" rtl="0" eaLnBrk="1" latinLnBrk="0" hangingPunct="1">
                <a:lnSpc>
                  <a:spcPct val="90000"/>
                </a:lnSpc>
                <a:spcBef>
                  <a:spcPts val="0"/>
                </a:spcBef>
                <a:spcAft>
                  <a:spcPts val="0"/>
                </a:spcAft>
                <a:buFont typeface="Arial" panose="020B0604020202020204" pitchFamily="34" charset="0"/>
                <a:buNone/>
                <a:defRPr sz="1600" b="0" i="0" kern="1200">
                  <a:solidFill>
                    <a:schemeClr val="bg2"/>
                  </a:solidFill>
                  <a:latin typeface="+mn-lt"/>
                  <a:ea typeface="+mn-ea"/>
                  <a:cs typeface="+mn-cs"/>
                </a:defRPr>
              </a:lvl1pPr>
              <a:lvl2pPr marL="457189" indent="0" algn="l" defTabSz="228594" rtl="0" eaLnBrk="1" latinLnBrk="0" hangingPunct="1">
                <a:lnSpc>
                  <a:spcPct val="100000"/>
                </a:lnSpc>
                <a:spcBef>
                  <a:spcPts val="0"/>
                </a:spcBef>
                <a:spcAft>
                  <a:spcPts val="1200"/>
                </a:spcAft>
                <a:buClrTx/>
                <a:buFont typeface="Arial" panose="020B0604020202020204" pitchFamily="34" charset="0"/>
                <a:buNone/>
                <a:defRPr sz="2000" b="1" kern="1200">
                  <a:solidFill>
                    <a:schemeClr val="tx1"/>
                  </a:solidFill>
                  <a:latin typeface="+mn-lt"/>
                  <a:ea typeface="+mn-ea"/>
                  <a:cs typeface="+mn-cs"/>
                </a:defRPr>
              </a:lvl2pPr>
              <a:lvl3pPr marL="914377" indent="0" algn="l" defTabSz="228594" rtl="0" eaLnBrk="1" latinLnBrk="0" hangingPunct="1">
                <a:lnSpc>
                  <a:spcPct val="100000"/>
                </a:lnSpc>
                <a:spcBef>
                  <a:spcPts val="0"/>
                </a:spcBef>
                <a:spcAft>
                  <a:spcPts val="1200"/>
                </a:spcAft>
                <a:buFont typeface="System Font"/>
                <a:buNone/>
                <a:defRPr sz="1800" b="1" kern="1200">
                  <a:solidFill>
                    <a:schemeClr val="tx1"/>
                  </a:solidFill>
                  <a:latin typeface="+mn-lt"/>
                  <a:ea typeface="+mn-ea"/>
                  <a:cs typeface="+mn-cs"/>
                </a:defRPr>
              </a:lvl3pPr>
              <a:lvl4pPr marL="1371566" indent="0" algn="l" defTabSz="228594" rtl="0" eaLnBrk="1" latinLnBrk="0" hangingPunct="1">
                <a:lnSpc>
                  <a:spcPct val="10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4pPr>
              <a:lvl5pPr marL="1828754" indent="0" algn="l" defTabSz="228594" rtl="0" eaLnBrk="1" latinLnBrk="0" hangingPunct="1">
                <a:lnSpc>
                  <a:spcPct val="100000"/>
                </a:lnSpc>
                <a:spcBef>
                  <a:spcPts val="0"/>
                </a:spcBef>
                <a:spcAft>
                  <a:spcPts val="1200"/>
                </a:spcAft>
                <a:buFont typeface="System Font"/>
                <a:buNone/>
                <a:defRPr sz="1600" b="1" kern="1200">
                  <a:solidFill>
                    <a:schemeClr val="tx1"/>
                  </a:solidFill>
                  <a:latin typeface="+mn-lt"/>
                  <a:ea typeface="+mn-ea"/>
                  <a:cs typeface="+mn-cs"/>
                </a:defRPr>
              </a:lvl5pPr>
              <a:lvl6pPr marL="2285943" indent="0" algn="l" defTabSz="228594" rtl="0" eaLnBrk="1" latinLnBrk="0" hangingPunct="1">
                <a:lnSpc>
                  <a:spcPct val="90000"/>
                </a:lnSpc>
                <a:spcBef>
                  <a:spcPts val="0"/>
                </a:spcBef>
                <a:spcAft>
                  <a:spcPts val="1200"/>
                </a:spcAft>
                <a:buFont typeface="Graphik" panose="020B0503030202060203" pitchFamily="34" charset="0"/>
                <a:buNone/>
                <a:tabLst/>
                <a:defRPr sz="1600" b="1" kern="1200">
                  <a:solidFill>
                    <a:schemeClr val="tx1"/>
                  </a:solidFill>
                  <a:latin typeface="+mn-lt"/>
                  <a:ea typeface="+mn-ea"/>
                  <a:cs typeface="+mn-cs"/>
                </a:defRPr>
              </a:lvl6pPr>
              <a:lvl7pPr marL="2743131"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7pPr>
              <a:lvl8pPr marL="3200320"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8pPr>
              <a:lvl9pPr marL="3657509"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2"/>
                  </a:solidFill>
                  <a:latin typeface="+mn-lt"/>
                  <a:ea typeface="+mn-ea"/>
                  <a:cs typeface="+mn-cs"/>
                </a:defRPr>
              </a:lvl9pPr>
            </a:lstStyle>
            <a:p>
              <a:r>
                <a:rPr lang="pt-BR" noProof="1"/>
                <a:t>Nome FEM estabelecido</a:t>
              </a:r>
            </a:p>
          </p:txBody>
        </p:sp>
        <p:sp>
          <p:nvSpPr>
            <p:cNvPr id="20" name="Text Placeholder 26">
              <a:extLst>
                <a:ext uri="{FF2B5EF4-FFF2-40B4-BE49-F238E27FC236}">
                  <a16:creationId xmlns:a16="http://schemas.microsoft.com/office/drawing/2014/main" id="{5DB36008-B498-2DF3-4DDB-4F652C58532B}"/>
                </a:ext>
              </a:extLst>
            </p:cNvPr>
            <p:cNvSpPr txBox="1">
              <a:spLocks/>
            </p:cNvSpPr>
            <p:nvPr/>
          </p:nvSpPr>
          <p:spPr>
            <a:xfrm>
              <a:off x="9659469" y="3538534"/>
              <a:ext cx="1994217" cy="732360"/>
            </a:xfrm>
            <a:prstGeom prst="rect">
              <a:avLst/>
            </a:prstGeom>
            <a:ln>
              <a:noFill/>
            </a:ln>
          </p:spPr>
          <p:txBody>
            <a:bodyPr vert="horz" lIns="0" tIns="0" rIns="0" bIns="0" rtlCol="0" anchor="t">
              <a:noAutofit/>
            </a:bodyPr>
            <a:lstStyle>
              <a:lvl1pPr marL="0" indent="0" algn="l" defTabSz="228594" rtl="0" eaLnBrk="1" latinLnBrk="0" hangingPunct="1">
                <a:lnSpc>
                  <a:spcPct val="90000"/>
                </a:lnSpc>
                <a:spcBef>
                  <a:spcPts val="0"/>
                </a:spcBef>
                <a:spcAft>
                  <a:spcPts val="0"/>
                </a:spcAft>
                <a:buFont typeface="Arial" panose="020B0604020202020204" pitchFamily="34" charset="0"/>
                <a:buNone/>
                <a:defRPr sz="1600" b="0" i="0" kern="1200">
                  <a:solidFill>
                    <a:schemeClr val="bg2"/>
                  </a:solidFill>
                  <a:latin typeface="+mn-lt"/>
                  <a:ea typeface="+mn-ea"/>
                  <a:cs typeface="+mn-cs"/>
                </a:defRPr>
              </a:lvl1pPr>
              <a:lvl2pPr marL="457189" indent="0" algn="l" defTabSz="228594" rtl="0" eaLnBrk="1" latinLnBrk="0" hangingPunct="1">
                <a:lnSpc>
                  <a:spcPct val="100000"/>
                </a:lnSpc>
                <a:spcBef>
                  <a:spcPts val="0"/>
                </a:spcBef>
                <a:spcAft>
                  <a:spcPts val="1200"/>
                </a:spcAft>
                <a:buClrTx/>
                <a:buFont typeface="Arial" panose="020B0604020202020204" pitchFamily="34" charset="0"/>
                <a:buNone/>
                <a:defRPr sz="2000" b="1" kern="1200">
                  <a:solidFill>
                    <a:schemeClr val="tx1"/>
                  </a:solidFill>
                  <a:latin typeface="+mn-lt"/>
                  <a:ea typeface="+mn-ea"/>
                  <a:cs typeface="+mn-cs"/>
                </a:defRPr>
              </a:lvl2pPr>
              <a:lvl3pPr marL="914377" indent="0" algn="l" defTabSz="228594" rtl="0" eaLnBrk="1" latinLnBrk="0" hangingPunct="1">
                <a:lnSpc>
                  <a:spcPct val="100000"/>
                </a:lnSpc>
                <a:spcBef>
                  <a:spcPts val="0"/>
                </a:spcBef>
                <a:spcAft>
                  <a:spcPts val="1200"/>
                </a:spcAft>
                <a:buFont typeface="System Font"/>
                <a:buNone/>
                <a:defRPr sz="1800" b="1" kern="1200">
                  <a:solidFill>
                    <a:schemeClr val="tx1"/>
                  </a:solidFill>
                  <a:latin typeface="+mn-lt"/>
                  <a:ea typeface="+mn-ea"/>
                  <a:cs typeface="+mn-cs"/>
                </a:defRPr>
              </a:lvl3pPr>
              <a:lvl4pPr marL="1371566" indent="0" algn="l" defTabSz="228594" rtl="0" eaLnBrk="1" latinLnBrk="0" hangingPunct="1">
                <a:lnSpc>
                  <a:spcPct val="10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4pPr>
              <a:lvl5pPr marL="1828754" indent="0" algn="l" defTabSz="228594" rtl="0" eaLnBrk="1" latinLnBrk="0" hangingPunct="1">
                <a:lnSpc>
                  <a:spcPct val="100000"/>
                </a:lnSpc>
                <a:spcBef>
                  <a:spcPts val="0"/>
                </a:spcBef>
                <a:spcAft>
                  <a:spcPts val="1200"/>
                </a:spcAft>
                <a:buFont typeface="System Font"/>
                <a:buNone/>
                <a:defRPr sz="1600" b="1" kern="1200">
                  <a:solidFill>
                    <a:schemeClr val="tx1"/>
                  </a:solidFill>
                  <a:latin typeface="+mn-lt"/>
                  <a:ea typeface="+mn-ea"/>
                  <a:cs typeface="+mn-cs"/>
                </a:defRPr>
              </a:lvl5pPr>
              <a:lvl6pPr marL="2285943" indent="0" algn="l" defTabSz="228594" rtl="0" eaLnBrk="1" latinLnBrk="0" hangingPunct="1">
                <a:lnSpc>
                  <a:spcPct val="90000"/>
                </a:lnSpc>
                <a:spcBef>
                  <a:spcPts val="0"/>
                </a:spcBef>
                <a:spcAft>
                  <a:spcPts val="1200"/>
                </a:spcAft>
                <a:buFont typeface="Graphik" panose="020B0503030202060203" pitchFamily="34" charset="0"/>
                <a:buNone/>
                <a:tabLst/>
                <a:defRPr sz="1600" b="1" kern="1200">
                  <a:solidFill>
                    <a:schemeClr val="tx1"/>
                  </a:solidFill>
                  <a:latin typeface="+mn-lt"/>
                  <a:ea typeface="+mn-ea"/>
                  <a:cs typeface="+mn-cs"/>
                </a:defRPr>
              </a:lvl6pPr>
              <a:lvl7pPr marL="2743131"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7pPr>
              <a:lvl8pPr marL="3200320"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8pPr>
              <a:lvl9pPr marL="3657509"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2"/>
                  </a:solidFill>
                  <a:latin typeface="+mn-lt"/>
                  <a:ea typeface="+mn-ea"/>
                  <a:cs typeface="+mn-cs"/>
                </a:defRPr>
              </a:lvl9pPr>
            </a:lstStyle>
            <a:p>
              <a:r>
                <a:rPr lang="pt-BR" noProof="1"/>
                <a:t>Primeiro livro de FEM</a:t>
              </a:r>
            </a:p>
          </p:txBody>
        </p:sp>
        <p:sp>
          <p:nvSpPr>
            <p:cNvPr id="34" name="Text Placeholder 29">
              <a:extLst>
                <a:ext uri="{FF2B5EF4-FFF2-40B4-BE49-F238E27FC236}">
                  <a16:creationId xmlns:a16="http://schemas.microsoft.com/office/drawing/2014/main" id="{CFA23746-26E9-8B59-BFE1-35FBF33734B0}"/>
                </a:ext>
              </a:extLst>
            </p:cNvPr>
            <p:cNvSpPr txBox="1">
              <a:spLocks/>
            </p:cNvSpPr>
            <p:nvPr/>
          </p:nvSpPr>
          <p:spPr>
            <a:xfrm>
              <a:off x="9659469" y="4540746"/>
              <a:ext cx="1994217" cy="732360"/>
            </a:xfrm>
            <a:prstGeom prst="rect">
              <a:avLst/>
            </a:prstGeom>
            <a:ln>
              <a:noFill/>
            </a:ln>
          </p:spPr>
          <p:txBody>
            <a:bodyPr vert="horz" lIns="0" tIns="0" rIns="0" bIns="0" rtlCol="0" anchor="t">
              <a:noAutofit/>
            </a:bodyPr>
            <a:lstStyle>
              <a:lvl1pPr marL="0" indent="0" algn="l" defTabSz="228594" rtl="0" eaLnBrk="1" latinLnBrk="0" hangingPunct="1">
                <a:lnSpc>
                  <a:spcPct val="90000"/>
                </a:lnSpc>
                <a:spcBef>
                  <a:spcPts val="0"/>
                </a:spcBef>
                <a:spcAft>
                  <a:spcPts val="0"/>
                </a:spcAft>
                <a:buFont typeface="Arial" panose="020B0604020202020204" pitchFamily="34" charset="0"/>
                <a:buNone/>
                <a:defRPr sz="1600" b="0" i="0" kern="1200">
                  <a:solidFill>
                    <a:schemeClr val="bg2"/>
                  </a:solidFill>
                  <a:latin typeface="+mn-lt"/>
                  <a:ea typeface="+mn-ea"/>
                  <a:cs typeface="+mn-cs"/>
                </a:defRPr>
              </a:lvl1pPr>
              <a:lvl2pPr marL="457189" indent="0" algn="l" defTabSz="228594" rtl="0" eaLnBrk="1" latinLnBrk="0" hangingPunct="1">
                <a:lnSpc>
                  <a:spcPct val="100000"/>
                </a:lnSpc>
                <a:spcBef>
                  <a:spcPts val="0"/>
                </a:spcBef>
                <a:spcAft>
                  <a:spcPts val="1200"/>
                </a:spcAft>
                <a:buClrTx/>
                <a:buFont typeface="Arial" panose="020B0604020202020204" pitchFamily="34" charset="0"/>
                <a:buNone/>
                <a:defRPr sz="2000" b="1" kern="1200">
                  <a:solidFill>
                    <a:schemeClr val="tx1"/>
                  </a:solidFill>
                  <a:latin typeface="+mn-lt"/>
                  <a:ea typeface="+mn-ea"/>
                  <a:cs typeface="+mn-cs"/>
                </a:defRPr>
              </a:lvl2pPr>
              <a:lvl3pPr marL="914377" indent="0" algn="l" defTabSz="228594" rtl="0" eaLnBrk="1" latinLnBrk="0" hangingPunct="1">
                <a:lnSpc>
                  <a:spcPct val="100000"/>
                </a:lnSpc>
                <a:spcBef>
                  <a:spcPts val="0"/>
                </a:spcBef>
                <a:spcAft>
                  <a:spcPts val="1200"/>
                </a:spcAft>
                <a:buFont typeface="System Font"/>
                <a:buNone/>
                <a:defRPr sz="1800" b="1" kern="1200">
                  <a:solidFill>
                    <a:schemeClr val="tx1"/>
                  </a:solidFill>
                  <a:latin typeface="+mn-lt"/>
                  <a:ea typeface="+mn-ea"/>
                  <a:cs typeface="+mn-cs"/>
                </a:defRPr>
              </a:lvl3pPr>
              <a:lvl4pPr marL="1371566" indent="0" algn="l" defTabSz="228594" rtl="0" eaLnBrk="1" latinLnBrk="0" hangingPunct="1">
                <a:lnSpc>
                  <a:spcPct val="10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4pPr>
              <a:lvl5pPr marL="1828754" indent="0" algn="l" defTabSz="228594" rtl="0" eaLnBrk="1" latinLnBrk="0" hangingPunct="1">
                <a:lnSpc>
                  <a:spcPct val="100000"/>
                </a:lnSpc>
                <a:spcBef>
                  <a:spcPts val="0"/>
                </a:spcBef>
                <a:spcAft>
                  <a:spcPts val="1200"/>
                </a:spcAft>
                <a:buFont typeface="System Font"/>
                <a:buNone/>
                <a:defRPr sz="1600" b="1" kern="1200">
                  <a:solidFill>
                    <a:schemeClr val="tx1"/>
                  </a:solidFill>
                  <a:latin typeface="+mn-lt"/>
                  <a:ea typeface="+mn-ea"/>
                  <a:cs typeface="+mn-cs"/>
                </a:defRPr>
              </a:lvl5pPr>
              <a:lvl6pPr marL="2285943" indent="0" algn="l" defTabSz="228594" rtl="0" eaLnBrk="1" latinLnBrk="0" hangingPunct="1">
                <a:lnSpc>
                  <a:spcPct val="90000"/>
                </a:lnSpc>
                <a:spcBef>
                  <a:spcPts val="0"/>
                </a:spcBef>
                <a:spcAft>
                  <a:spcPts val="1200"/>
                </a:spcAft>
                <a:buFont typeface="Graphik" panose="020B0503030202060203" pitchFamily="34" charset="0"/>
                <a:buNone/>
                <a:tabLst/>
                <a:defRPr sz="1600" b="1" kern="1200">
                  <a:solidFill>
                    <a:schemeClr val="tx1"/>
                  </a:solidFill>
                  <a:latin typeface="+mn-lt"/>
                  <a:ea typeface="+mn-ea"/>
                  <a:cs typeface="+mn-cs"/>
                </a:defRPr>
              </a:lvl6pPr>
              <a:lvl7pPr marL="2743131"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7pPr>
              <a:lvl8pPr marL="3200320"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8pPr>
              <a:lvl9pPr marL="3657509"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2"/>
                  </a:solidFill>
                  <a:latin typeface="+mn-lt"/>
                  <a:ea typeface="+mn-ea"/>
                  <a:cs typeface="+mn-cs"/>
                </a:defRPr>
              </a:lvl9pPr>
            </a:lstStyle>
            <a:p>
              <a:r>
                <a:rPr lang="pt-BR" noProof="1"/>
                <a:t>Formalização moderna do FEM</a:t>
              </a:r>
            </a:p>
          </p:txBody>
        </p:sp>
        <p:sp>
          <p:nvSpPr>
            <p:cNvPr id="35" name="Text Placeholder 32">
              <a:extLst>
                <a:ext uri="{FF2B5EF4-FFF2-40B4-BE49-F238E27FC236}">
                  <a16:creationId xmlns:a16="http://schemas.microsoft.com/office/drawing/2014/main" id="{7CE9001E-9E82-4D5C-E21D-C4B72C6AF417}"/>
                </a:ext>
              </a:extLst>
            </p:cNvPr>
            <p:cNvSpPr txBox="1">
              <a:spLocks/>
            </p:cNvSpPr>
            <p:nvPr/>
          </p:nvSpPr>
          <p:spPr>
            <a:xfrm>
              <a:off x="9659469" y="5553996"/>
              <a:ext cx="1994217" cy="732360"/>
            </a:xfrm>
            <a:prstGeom prst="rect">
              <a:avLst/>
            </a:prstGeom>
            <a:ln>
              <a:noFill/>
            </a:ln>
          </p:spPr>
          <p:txBody>
            <a:bodyPr vert="horz" lIns="0" tIns="0" rIns="0" bIns="0" rtlCol="0" anchor="t">
              <a:noAutofit/>
            </a:bodyPr>
            <a:lstStyle>
              <a:lvl1pPr marL="0" indent="0" algn="l" defTabSz="228594" rtl="0" eaLnBrk="1" latinLnBrk="0" hangingPunct="1">
                <a:lnSpc>
                  <a:spcPct val="90000"/>
                </a:lnSpc>
                <a:spcBef>
                  <a:spcPts val="0"/>
                </a:spcBef>
                <a:spcAft>
                  <a:spcPts val="0"/>
                </a:spcAft>
                <a:buFont typeface="Arial" panose="020B0604020202020204" pitchFamily="34" charset="0"/>
                <a:buNone/>
                <a:defRPr sz="1600" b="0" i="0" kern="1200">
                  <a:solidFill>
                    <a:schemeClr val="bg2"/>
                  </a:solidFill>
                  <a:latin typeface="+mn-lt"/>
                  <a:ea typeface="+mn-ea"/>
                  <a:cs typeface="+mn-cs"/>
                </a:defRPr>
              </a:lvl1pPr>
              <a:lvl2pPr marL="457189" indent="0" algn="l" defTabSz="228594" rtl="0" eaLnBrk="1" latinLnBrk="0" hangingPunct="1">
                <a:lnSpc>
                  <a:spcPct val="100000"/>
                </a:lnSpc>
                <a:spcBef>
                  <a:spcPts val="0"/>
                </a:spcBef>
                <a:spcAft>
                  <a:spcPts val="1200"/>
                </a:spcAft>
                <a:buClrTx/>
                <a:buFont typeface="Arial" panose="020B0604020202020204" pitchFamily="34" charset="0"/>
                <a:buNone/>
                <a:defRPr sz="2000" b="1" kern="1200">
                  <a:solidFill>
                    <a:schemeClr val="tx1"/>
                  </a:solidFill>
                  <a:latin typeface="+mn-lt"/>
                  <a:ea typeface="+mn-ea"/>
                  <a:cs typeface="+mn-cs"/>
                </a:defRPr>
              </a:lvl2pPr>
              <a:lvl3pPr marL="914377" indent="0" algn="l" defTabSz="228594" rtl="0" eaLnBrk="1" latinLnBrk="0" hangingPunct="1">
                <a:lnSpc>
                  <a:spcPct val="100000"/>
                </a:lnSpc>
                <a:spcBef>
                  <a:spcPts val="0"/>
                </a:spcBef>
                <a:spcAft>
                  <a:spcPts val="1200"/>
                </a:spcAft>
                <a:buFont typeface="System Font"/>
                <a:buNone/>
                <a:defRPr sz="1800" b="1" kern="1200">
                  <a:solidFill>
                    <a:schemeClr val="tx1"/>
                  </a:solidFill>
                  <a:latin typeface="+mn-lt"/>
                  <a:ea typeface="+mn-ea"/>
                  <a:cs typeface="+mn-cs"/>
                </a:defRPr>
              </a:lvl3pPr>
              <a:lvl4pPr marL="1371566" indent="0" algn="l" defTabSz="228594" rtl="0" eaLnBrk="1" latinLnBrk="0" hangingPunct="1">
                <a:lnSpc>
                  <a:spcPct val="10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4pPr>
              <a:lvl5pPr marL="1828754" indent="0" algn="l" defTabSz="228594" rtl="0" eaLnBrk="1" latinLnBrk="0" hangingPunct="1">
                <a:lnSpc>
                  <a:spcPct val="100000"/>
                </a:lnSpc>
                <a:spcBef>
                  <a:spcPts val="0"/>
                </a:spcBef>
                <a:spcAft>
                  <a:spcPts val="1200"/>
                </a:spcAft>
                <a:buFont typeface="System Font"/>
                <a:buNone/>
                <a:defRPr sz="1600" b="1" kern="1200">
                  <a:solidFill>
                    <a:schemeClr val="tx1"/>
                  </a:solidFill>
                  <a:latin typeface="+mn-lt"/>
                  <a:ea typeface="+mn-ea"/>
                  <a:cs typeface="+mn-cs"/>
                </a:defRPr>
              </a:lvl5pPr>
              <a:lvl6pPr marL="2285943" indent="0" algn="l" defTabSz="228594" rtl="0" eaLnBrk="1" latinLnBrk="0" hangingPunct="1">
                <a:lnSpc>
                  <a:spcPct val="90000"/>
                </a:lnSpc>
                <a:spcBef>
                  <a:spcPts val="0"/>
                </a:spcBef>
                <a:spcAft>
                  <a:spcPts val="1200"/>
                </a:spcAft>
                <a:buFont typeface="Graphik" panose="020B0503030202060203" pitchFamily="34" charset="0"/>
                <a:buNone/>
                <a:tabLst/>
                <a:defRPr sz="1600" b="1" kern="1200">
                  <a:solidFill>
                    <a:schemeClr val="tx1"/>
                  </a:solidFill>
                  <a:latin typeface="+mn-lt"/>
                  <a:ea typeface="+mn-ea"/>
                  <a:cs typeface="+mn-cs"/>
                </a:defRPr>
              </a:lvl6pPr>
              <a:lvl7pPr marL="2743131"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7pPr>
              <a:lvl8pPr marL="3200320"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8pPr>
              <a:lvl9pPr marL="3657509"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2"/>
                  </a:solidFill>
                  <a:latin typeface="+mn-lt"/>
                  <a:ea typeface="+mn-ea"/>
                  <a:cs typeface="+mn-cs"/>
                </a:defRPr>
              </a:lvl9pPr>
            </a:lstStyle>
            <a:p>
              <a:r>
                <a:rPr lang="pt-BR" noProof="1"/>
                <a:t>Nascimento do VEM</a:t>
              </a:r>
            </a:p>
          </p:txBody>
        </p:sp>
      </p:grpSp>
      <p:grpSp>
        <p:nvGrpSpPr>
          <p:cNvPr id="62" name="Group 61">
            <a:extLst>
              <a:ext uri="{FF2B5EF4-FFF2-40B4-BE49-F238E27FC236}">
                <a16:creationId xmlns:a16="http://schemas.microsoft.com/office/drawing/2014/main" id="{7D1C7E08-5C53-A944-67F5-5C4DE87E0BA4}"/>
              </a:ext>
            </a:extLst>
          </p:cNvPr>
          <p:cNvGrpSpPr/>
          <p:nvPr/>
        </p:nvGrpSpPr>
        <p:grpSpPr>
          <a:xfrm>
            <a:off x="563410" y="2525284"/>
            <a:ext cx="3978110" cy="3761072"/>
            <a:chOff x="563410" y="2525284"/>
            <a:chExt cx="3978110" cy="3761072"/>
          </a:xfrm>
        </p:grpSpPr>
        <p:sp>
          <p:nvSpPr>
            <p:cNvPr id="49" name="Text Placeholder 20">
              <a:extLst>
                <a:ext uri="{FF2B5EF4-FFF2-40B4-BE49-F238E27FC236}">
                  <a16:creationId xmlns:a16="http://schemas.microsoft.com/office/drawing/2014/main" id="{39F213D5-14F6-B0CA-25E0-66336EEA7EC5}"/>
                </a:ext>
              </a:extLst>
            </p:cNvPr>
            <p:cNvSpPr txBox="1">
              <a:spLocks/>
            </p:cNvSpPr>
            <p:nvPr/>
          </p:nvSpPr>
          <p:spPr>
            <a:xfrm>
              <a:off x="563410" y="2525284"/>
              <a:ext cx="3744430" cy="732360"/>
            </a:xfrm>
            <a:prstGeom prst="rect">
              <a:avLst/>
            </a:prstGeom>
            <a:ln>
              <a:noFill/>
            </a:ln>
          </p:spPr>
          <p:txBody>
            <a:bodyPr vert="horz" lIns="0" tIns="0" rIns="0" bIns="0" rtlCol="0" anchor="t">
              <a:noAutofit/>
            </a:bodyPr>
            <a:lstStyle>
              <a:lvl1pPr marL="0" indent="0" algn="l" defTabSz="228594" rtl="0" eaLnBrk="1" latinLnBrk="0" hangingPunct="1">
                <a:lnSpc>
                  <a:spcPct val="90000"/>
                </a:lnSpc>
                <a:spcBef>
                  <a:spcPts val="0"/>
                </a:spcBef>
                <a:spcAft>
                  <a:spcPts val="0"/>
                </a:spcAft>
                <a:buFont typeface="Arial" panose="020B0604020202020204" pitchFamily="34" charset="0"/>
                <a:buNone/>
                <a:defRPr sz="1600" b="0" i="0" kern="1200">
                  <a:solidFill>
                    <a:schemeClr val="tx1"/>
                  </a:solidFill>
                  <a:latin typeface="Graphik Semibold" panose="020B0703030202060203" pitchFamily="34" charset="0"/>
                  <a:ea typeface="+mn-ea"/>
                  <a:cs typeface="+mn-cs"/>
                </a:defRPr>
              </a:lvl1pPr>
              <a:lvl2pPr marL="457189" indent="0" algn="l" defTabSz="228594" rtl="0" eaLnBrk="1" latinLnBrk="0" hangingPunct="1">
                <a:lnSpc>
                  <a:spcPct val="100000"/>
                </a:lnSpc>
                <a:spcBef>
                  <a:spcPts val="0"/>
                </a:spcBef>
                <a:spcAft>
                  <a:spcPts val="1200"/>
                </a:spcAft>
                <a:buClrTx/>
                <a:buFont typeface="Arial" panose="020B0604020202020204" pitchFamily="34" charset="0"/>
                <a:buNone/>
                <a:defRPr sz="2000" b="1" kern="1200">
                  <a:solidFill>
                    <a:schemeClr val="tx1"/>
                  </a:solidFill>
                  <a:latin typeface="+mn-lt"/>
                  <a:ea typeface="+mn-ea"/>
                  <a:cs typeface="+mn-cs"/>
                </a:defRPr>
              </a:lvl2pPr>
              <a:lvl3pPr marL="914377" indent="0" algn="l" defTabSz="228594" rtl="0" eaLnBrk="1" latinLnBrk="0" hangingPunct="1">
                <a:lnSpc>
                  <a:spcPct val="100000"/>
                </a:lnSpc>
                <a:spcBef>
                  <a:spcPts val="0"/>
                </a:spcBef>
                <a:spcAft>
                  <a:spcPts val="1200"/>
                </a:spcAft>
                <a:buFont typeface="System Font"/>
                <a:buNone/>
                <a:defRPr sz="1800" b="1" kern="1200">
                  <a:solidFill>
                    <a:schemeClr val="tx1"/>
                  </a:solidFill>
                  <a:latin typeface="+mn-lt"/>
                  <a:ea typeface="+mn-ea"/>
                  <a:cs typeface="+mn-cs"/>
                </a:defRPr>
              </a:lvl3pPr>
              <a:lvl4pPr marL="1371566" indent="0" algn="l" defTabSz="228594" rtl="0" eaLnBrk="1" latinLnBrk="0" hangingPunct="1">
                <a:lnSpc>
                  <a:spcPct val="10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4pPr>
              <a:lvl5pPr marL="1828754" indent="0" algn="l" defTabSz="228594" rtl="0" eaLnBrk="1" latinLnBrk="0" hangingPunct="1">
                <a:lnSpc>
                  <a:spcPct val="100000"/>
                </a:lnSpc>
                <a:spcBef>
                  <a:spcPts val="0"/>
                </a:spcBef>
                <a:spcAft>
                  <a:spcPts val="1200"/>
                </a:spcAft>
                <a:buFont typeface="System Font"/>
                <a:buNone/>
                <a:defRPr sz="1600" b="1" kern="1200">
                  <a:solidFill>
                    <a:schemeClr val="tx1"/>
                  </a:solidFill>
                  <a:latin typeface="+mn-lt"/>
                  <a:ea typeface="+mn-ea"/>
                  <a:cs typeface="+mn-cs"/>
                </a:defRPr>
              </a:lvl5pPr>
              <a:lvl6pPr marL="2285943" indent="0" algn="l" defTabSz="228594" rtl="0" eaLnBrk="1" latinLnBrk="0" hangingPunct="1">
                <a:lnSpc>
                  <a:spcPct val="90000"/>
                </a:lnSpc>
                <a:spcBef>
                  <a:spcPts val="0"/>
                </a:spcBef>
                <a:spcAft>
                  <a:spcPts val="1200"/>
                </a:spcAft>
                <a:buFont typeface="Graphik" panose="020B0503030202060203" pitchFamily="34" charset="0"/>
                <a:buNone/>
                <a:tabLst/>
                <a:defRPr sz="1600" b="1" kern="1200">
                  <a:solidFill>
                    <a:schemeClr val="tx1"/>
                  </a:solidFill>
                  <a:latin typeface="+mn-lt"/>
                  <a:ea typeface="+mn-ea"/>
                  <a:cs typeface="+mn-cs"/>
                </a:defRPr>
              </a:lvl6pPr>
              <a:lvl7pPr marL="2743131"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7pPr>
              <a:lvl8pPr marL="3200320"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8pPr>
              <a:lvl9pPr marL="3657509"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2"/>
                  </a:solidFill>
                  <a:latin typeface="+mn-lt"/>
                  <a:ea typeface="+mn-ea"/>
                  <a:cs typeface="+mn-cs"/>
                </a:defRPr>
              </a:lvl9pPr>
            </a:lstStyle>
            <a:p>
              <a:r>
                <a:rPr lang="pt-BR" noProof="1"/>
                <a:t>Clough (1960)</a:t>
              </a:r>
            </a:p>
            <a:p>
              <a:r>
                <a:rPr lang="pt-BR" sz="1100" noProof="1">
                  <a:latin typeface="Graphik" panose="020B0503030202060203" pitchFamily="34" charset="0"/>
                </a:rPr>
                <a:t>Autor: Ray W. Clough</a:t>
              </a:r>
            </a:p>
            <a:p>
              <a:r>
                <a:rPr lang="pt-BR" sz="1100" noProof="1">
                  <a:latin typeface="Graphik" panose="020B0503030202060203" pitchFamily="34" charset="0"/>
                </a:rPr>
                <a:t>Artigo: “</a:t>
              </a:r>
              <a:r>
                <a:rPr lang="de-DE" sz="1100" noProof="1">
                  <a:latin typeface="Graphik" panose="020B0503030202060203" pitchFamily="34" charset="0"/>
                </a:rPr>
                <a:t>The Finite Element Method in Plane Stress Analysis“</a:t>
              </a:r>
              <a:endParaRPr lang="pt-BR" sz="1100" noProof="1">
                <a:latin typeface="Graphik" panose="020B0503030202060203" pitchFamily="34" charset="0"/>
              </a:endParaRPr>
            </a:p>
          </p:txBody>
        </p:sp>
        <p:sp>
          <p:nvSpPr>
            <p:cNvPr id="50" name="Text Placeholder 24">
              <a:extLst>
                <a:ext uri="{FF2B5EF4-FFF2-40B4-BE49-F238E27FC236}">
                  <a16:creationId xmlns:a16="http://schemas.microsoft.com/office/drawing/2014/main" id="{382FC2EC-9D6E-B993-ADEF-D7F37FA8472D}"/>
                </a:ext>
              </a:extLst>
            </p:cNvPr>
            <p:cNvSpPr txBox="1">
              <a:spLocks/>
            </p:cNvSpPr>
            <p:nvPr/>
          </p:nvSpPr>
          <p:spPr>
            <a:xfrm>
              <a:off x="563410" y="3538534"/>
              <a:ext cx="3744430" cy="732360"/>
            </a:xfrm>
            <a:prstGeom prst="rect">
              <a:avLst/>
            </a:prstGeom>
            <a:ln>
              <a:noFill/>
            </a:ln>
          </p:spPr>
          <p:txBody>
            <a:bodyPr vert="horz" lIns="0" tIns="0" rIns="0" bIns="0" rtlCol="0" anchor="t">
              <a:noAutofit/>
            </a:bodyPr>
            <a:lstStyle>
              <a:lvl1pPr marL="0" indent="0" algn="l" defTabSz="228594" rtl="0" eaLnBrk="1" latinLnBrk="0" hangingPunct="1">
                <a:lnSpc>
                  <a:spcPct val="90000"/>
                </a:lnSpc>
                <a:spcBef>
                  <a:spcPts val="0"/>
                </a:spcBef>
                <a:spcAft>
                  <a:spcPts val="0"/>
                </a:spcAft>
                <a:buFont typeface="Arial" panose="020B0604020202020204" pitchFamily="34" charset="0"/>
                <a:buNone/>
                <a:defRPr sz="1600" b="0" i="0" kern="1200">
                  <a:solidFill>
                    <a:schemeClr val="tx1"/>
                  </a:solidFill>
                  <a:latin typeface="Graphik Semibold" panose="020B0703030202060203" pitchFamily="34" charset="0"/>
                  <a:ea typeface="+mn-ea"/>
                  <a:cs typeface="+mn-cs"/>
                </a:defRPr>
              </a:lvl1pPr>
              <a:lvl2pPr marL="457189" indent="0" algn="l" defTabSz="228594" rtl="0" eaLnBrk="1" latinLnBrk="0" hangingPunct="1">
                <a:lnSpc>
                  <a:spcPct val="100000"/>
                </a:lnSpc>
                <a:spcBef>
                  <a:spcPts val="0"/>
                </a:spcBef>
                <a:spcAft>
                  <a:spcPts val="1200"/>
                </a:spcAft>
                <a:buClrTx/>
                <a:buFont typeface="Arial" panose="020B0604020202020204" pitchFamily="34" charset="0"/>
                <a:buNone/>
                <a:defRPr sz="2000" b="1" kern="1200">
                  <a:solidFill>
                    <a:schemeClr val="tx1"/>
                  </a:solidFill>
                  <a:latin typeface="+mn-lt"/>
                  <a:ea typeface="+mn-ea"/>
                  <a:cs typeface="+mn-cs"/>
                </a:defRPr>
              </a:lvl2pPr>
              <a:lvl3pPr marL="914377" indent="0" algn="l" defTabSz="228594" rtl="0" eaLnBrk="1" latinLnBrk="0" hangingPunct="1">
                <a:lnSpc>
                  <a:spcPct val="100000"/>
                </a:lnSpc>
                <a:spcBef>
                  <a:spcPts val="0"/>
                </a:spcBef>
                <a:spcAft>
                  <a:spcPts val="1200"/>
                </a:spcAft>
                <a:buFont typeface="System Font"/>
                <a:buNone/>
                <a:defRPr sz="1800" b="1" kern="1200">
                  <a:solidFill>
                    <a:schemeClr val="tx1"/>
                  </a:solidFill>
                  <a:latin typeface="+mn-lt"/>
                  <a:ea typeface="+mn-ea"/>
                  <a:cs typeface="+mn-cs"/>
                </a:defRPr>
              </a:lvl3pPr>
              <a:lvl4pPr marL="1371566" indent="0" algn="l" defTabSz="228594" rtl="0" eaLnBrk="1" latinLnBrk="0" hangingPunct="1">
                <a:lnSpc>
                  <a:spcPct val="10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4pPr>
              <a:lvl5pPr marL="1828754" indent="0" algn="l" defTabSz="228594" rtl="0" eaLnBrk="1" latinLnBrk="0" hangingPunct="1">
                <a:lnSpc>
                  <a:spcPct val="100000"/>
                </a:lnSpc>
                <a:spcBef>
                  <a:spcPts val="0"/>
                </a:spcBef>
                <a:spcAft>
                  <a:spcPts val="1200"/>
                </a:spcAft>
                <a:buFont typeface="System Font"/>
                <a:buNone/>
                <a:defRPr sz="1600" b="1" kern="1200">
                  <a:solidFill>
                    <a:schemeClr val="tx1"/>
                  </a:solidFill>
                  <a:latin typeface="+mn-lt"/>
                  <a:ea typeface="+mn-ea"/>
                  <a:cs typeface="+mn-cs"/>
                </a:defRPr>
              </a:lvl5pPr>
              <a:lvl6pPr marL="2285943" indent="0" algn="l" defTabSz="228594" rtl="0" eaLnBrk="1" latinLnBrk="0" hangingPunct="1">
                <a:lnSpc>
                  <a:spcPct val="90000"/>
                </a:lnSpc>
                <a:spcBef>
                  <a:spcPts val="0"/>
                </a:spcBef>
                <a:spcAft>
                  <a:spcPts val="1200"/>
                </a:spcAft>
                <a:buFont typeface="Graphik" panose="020B0503030202060203" pitchFamily="34" charset="0"/>
                <a:buNone/>
                <a:tabLst/>
                <a:defRPr sz="1600" b="1" kern="1200">
                  <a:solidFill>
                    <a:schemeClr val="tx1"/>
                  </a:solidFill>
                  <a:latin typeface="+mn-lt"/>
                  <a:ea typeface="+mn-ea"/>
                  <a:cs typeface="+mn-cs"/>
                </a:defRPr>
              </a:lvl6pPr>
              <a:lvl7pPr marL="2743131"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7pPr>
              <a:lvl8pPr marL="3200320"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8pPr>
              <a:lvl9pPr marL="3657509"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2"/>
                  </a:solidFill>
                  <a:latin typeface="+mn-lt"/>
                  <a:ea typeface="+mn-ea"/>
                  <a:cs typeface="+mn-cs"/>
                </a:defRPr>
              </a:lvl9pPr>
            </a:lstStyle>
            <a:p>
              <a:r>
                <a:rPr lang="pt-BR" noProof="1"/>
                <a:t>Zienkiewicz &amp; Cheung (1967)</a:t>
              </a:r>
            </a:p>
            <a:p>
              <a:r>
                <a:rPr lang="pt-BR" sz="1100" noProof="1">
                  <a:latin typeface="Graphik" panose="020B0503030202060203" pitchFamily="34" charset="0"/>
                </a:rPr>
                <a:t>Autores: </a:t>
              </a:r>
              <a:r>
                <a:rPr lang="pl-PL" sz="1100" noProof="1">
                  <a:latin typeface="Graphik" panose="020B0503030202060203" pitchFamily="34" charset="0"/>
                </a:rPr>
                <a:t>O. C. Zienkiewicz &amp; Y. K. Cheung</a:t>
              </a:r>
              <a:endParaRPr lang="pt-BR" sz="1100" noProof="1">
                <a:latin typeface="Graphik" panose="020B0503030202060203" pitchFamily="34" charset="0"/>
              </a:endParaRPr>
            </a:p>
            <a:p>
              <a:r>
                <a:rPr lang="pt-BR" sz="1100" noProof="1">
                  <a:latin typeface="Graphik" panose="020B0503030202060203" pitchFamily="34" charset="0"/>
                </a:rPr>
                <a:t>Livro: “The Finite Element Method in Structural and Continuum Mechanics”</a:t>
              </a:r>
            </a:p>
          </p:txBody>
        </p:sp>
        <p:sp>
          <p:nvSpPr>
            <p:cNvPr id="51" name="Text Placeholder 27">
              <a:extLst>
                <a:ext uri="{FF2B5EF4-FFF2-40B4-BE49-F238E27FC236}">
                  <a16:creationId xmlns:a16="http://schemas.microsoft.com/office/drawing/2014/main" id="{8CA3CA4A-5A5C-11E2-5652-BEAB594C332F}"/>
                </a:ext>
              </a:extLst>
            </p:cNvPr>
            <p:cNvSpPr txBox="1">
              <a:spLocks/>
            </p:cNvSpPr>
            <p:nvPr/>
          </p:nvSpPr>
          <p:spPr>
            <a:xfrm>
              <a:off x="563410" y="4540746"/>
              <a:ext cx="3744430" cy="732360"/>
            </a:xfrm>
            <a:prstGeom prst="rect">
              <a:avLst/>
            </a:prstGeom>
            <a:ln>
              <a:noFill/>
            </a:ln>
          </p:spPr>
          <p:txBody>
            <a:bodyPr vert="horz" lIns="0" tIns="0" rIns="0" bIns="0" rtlCol="0" anchor="t">
              <a:noAutofit/>
            </a:bodyPr>
            <a:lstStyle>
              <a:lvl1pPr marL="0" indent="0" algn="l" defTabSz="228594" rtl="0" eaLnBrk="1" latinLnBrk="0" hangingPunct="1">
                <a:lnSpc>
                  <a:spcPct val="90000"/>
                </a:lnSpc>
                <a:spcBef>
                  <a:spcPts val="0"/>
                </a:spcBef>
                <a:spcAft>
                  <a:spcPts val="0"/>
                </a:spcAft>
                <a:buFont typeface="Arial" panose="020B0604020202020204" pitchFamily="34" charset="0"/>
                <a:buNone/>
                <a:defRPr sz="1600" b="0" i="0" kern="1200">
                  <a:solidFill>
                    <a:schemeClr val="tx1"/>
                  </a:solidFill>
                  <a:latin typeface="Graphik Semibold" panose="020B0703030202060203" pitchFamily="34" charset="0"/>
                  <a:ea typeface="+mn-ea"/>
                  <a:cs typeface="+mn-cs"/>
                </a:defRPr>
              </a:lvl1pPr>
              <a:lvl2pPr marL="457189" indent="0" algn="l" defTabSz="228594" rtl="0" eaLnBrk="1" latinLnBrk="0" hangingPunct="1">
                <a:lnSpc>
                  <a:spcPct val="100000"/>
                </a:lnSpc>
                <a:spcBef>
                  <a:spcPts val="0"/>
                </a:spcBef>
                <a:spcAft>
                  <a:spcPts val="1200"/>
                </a:spcAft>
                <a:buClrTx/>
                <a:buFont typeface="Arial" panose="020B0604020202020204" pitchFamily="34" charset="0"/>
                <a:buNone/>
                <a:defRPr sz="2000" b="1" kern="1200">
                  <a:solidFill>
                    <a:schemeClr val="tx1"/>
                  </a:solidFill>
                  <a:latin typeface="+mn-lt"/>
                  <a:ea typeface="+mn-ea"/>
                  <a:cs typeface="+mn-cs"/>
                </a:defRPr>
              </a:lvl2pPr>
              <a:lvl3pPr marL="914377" indent="0" algn="l" defTabSz="228594" rtl="0" eaLnBrk="1" latinLnBrk="0" hangingPunct="1">
                <a:lnSpc>
                  <a:spcPct val="100000"/>
                </a:lnSpc>
                <a:spcBef>
                  <a:spcPts val="0"/>
                </a:spcBef>
                <a:spcAft>
                  <a:spcPts val="1200"/>
                </a:spcAft>
                <a:buFont typeface="System Font"/>
                <a:buNone/>
                <a:defRPr sz="1800" b="1" kern="1200">
                  <a:solidFill>
                    <a:schemeClr val="tx1"/>
                  </a:solidFill>
                  <a:latin typeface="+mn-lt"/>
                  <a:ea typeface="+mn-ea"/>
                  <a:cs typeface="+mn-cs"/>
                </a:defRPr>
              </a:lvl3pPr>
              <a:lvl4pPr marL="1371566" indent="0" algn="l" defTabSz="228594" rtl="0" eaLnBrk="1" latinLnBrk="0" hangingPunct="1">
                <a:lnSpc>
                  <a:spcPct val="10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4pPr>
              <a:lvl5pPr marL="1828754" indent="0" algn="l" defTabSz="228594" rtl="0" eaLnBrk="1" latinLnBrk="0" hangingPunct="1">
                <a:lnSpc>
                  <a:spcPct val="100000"/>
                </a:lnSpc>
                <a:spcBef>
                  <a:spcPts val="0"/>
                </a:spcBef>
                <a:spcAft>
                  <a:spcPts val="1200"/>
                </a:spcAft>
                <a:buFont typeface="System Font"/>
                <a:buNone/>
                <a:defRPr sz="1600" b="1" kern="1200">
                  <a:solidFill>
                    <a:schemeClr val="tx1"/>
                  </a:solidFill>
                  <a:latin typeface="+mn-lt"/>
                  <a:ea typeface="+mn-ea"/>
                  <a:cs typeface="+mn-cs"/>
                </a:defRPr>
              </a:lvl5pPr>
              <a:lvl6pPr marL="2285943" indent="0" algn="l" defTabSz="228594" rtl="0" eaLnBrk="1" latinLnBrk="0" hangingPunct="1">
                <a:lnSpc>
                  <a:spcPct val="90000"/>
                </a:lnSpc>
                <a:spcBef>
                  <a:spcPts val="0"/>
                </a:spcBef>
                <a:spcAft>
                  <a:spcPts val="1200"/>
                </a:spcAft>
                <a:buFont typeface="Graphik" panose="020B0503030202060203" pitchFamily="34" charset="0"/>
                <a:buNone/>
                <a:tabLst/>
                <a:defRPr sz="1600" b="1" kern="1200">
                  <a:solidFill>
                    <a:schemeClr val="tx1"/>
                  </a:solidFill>
                  <a:latin typeface="+mn-lt"/>
                  <a:ea typeface="+mn-ea"/>
                  <a:cs typeface="+mn-cs"/>
                </a:defRPr>
              </a:lvl6pPr>
              <a:lvl7pPr marL="2743131"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7pPr>
              <a:lvl8pPr marL="3200320"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8pPr>
              <a:lvl9pPr marL="3657509"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2"/>
                  </a:solidFill>
                  <a:latin typeface="+mn-lt"/>
                  <a:ea typeface="+mn-ea"/>
                  <a:cs typeface="+mn-cs"/>
                </a:defRPr>
              </a:lvl9pPr>
            </a:lstStyle>
            <a:p>
              <a:r>
                <a:rPr lang="pt-BR" noProof="1"/>
                <a:t>Hughes (1987)</a:t>
              </a:r>
            </a:p>
            <a:p>
              <a:r>
                <a:rPr lang="pt-BR" sz="1100" noProof="1">
                  <a:latin typeface="Graphik" panose="020B0503030202060203" pitchFamily="34" charset="0"/>
                </a:rPr>
                <a:t>Autor: Thomas J. R. Hughes</a:t>
              </a:r>
            </a:p>
            <a:p>
              <a:r>
                <a:rPr lang="pt-BR" sz="1100" noProof="1">
                  <a:latin typeface="Graphik" panose="020B0503030202060203" pitchFamily="34" charset="0"/>
                </a:rPr>
                <a:t>Livro: “The Finite Element Method: Linear Static and Dynamic Finite Element Analysis”</a:t>
              </a:r>
            </a:p>
          </p:txBody>
        </p:sp>
        <p:sp>
          <p:nvSpPr>
            <p:cNvPr id="52" name="Text Placeholder 30">
              <a:extLst>
                <a:ext uri="{FF2B5EF4-FFF2-40B4-BE49-F238E27FC236}">
                  <a16:creationId xmlns:a16="http://schemas.microsoft.com/office/drawing/2014/main" id="{E297C90E-F0D7-B5CF-1015-739617761BC8}"/>
                </a:ext>
              </a:extLst>
            </p:cNvPr>
            <p:cNvSpPr txBox="1">
              <a:spLocks/>
            </p:cNvSpPr>
            <p:nvPr/>
          </p:nvSpPr>
          <p:spPr>
            <a:xfrm>
              <a:off x="563410" y="5553996"/>
              <a:ext cx="3978110" cy="732360"/>
            </a:xfrm>
            <a:prstGeom prst="rect">
              <a:avLst/>
            </a:prstGeom>
            <a:ln>
              <a:noFill/>
            </a:ln>
          </p:spPr>
          <p:txBody>
            <a:bodyPr vert="horz" lIns="0" tIns="0" rIns="0" bIns="0" rtlCol="0" anchor="t">
              <a:noAutofit/>
            </a:bodyPr>
            <a:lstStyle>
              <a:lvl1pPr marL="0" indent="0" algn="l" defTabSz="228594" rtl="0" eaLnBrk="1" latinLnBrk="0" hangingPunct="1">
                <a:lnSpc>
                  <a:spcPct val="90000"/>
                </a:lnSpc>
                <a:spcBef>
                  <a:spcPts val="0"/>
                </a:spcBef>
                <a:spcAft>
                  <a:spcPts val="0"/>
                </a:spcAft>
                <a:buFont typeface="Arial" panose="020B0604020202020204" pitchFamily="34" charset="0"/>
                <a:buNone/>
                <a:defRPr sz="1600" b="0" i="0" kern="1200">
                  <a:solidFill>
                    <a:schemeClr val="tx1"/>
                  </a:solidFill>
                  <a:latin typeface="Graphik Semibold" panose="020B0703030202060203" pitchFamily="34" charset="0"/>
                  <a:ea typeface="+mn-ea"/>
                  <a:cs typeface="+mn-cs"/>
                </a:defRPr>
              </a:lvl1pPr>
              <a:lvl2pPr marL="457189" indent="0" algn="l" defTabSz="228594" rtl="0" eaLnBrk="1" latinLnBrk="0" hangingPunct="1">
                <a:lnSpc>
                  <a:spcPct val="100000"/>
                </a:lnSpc>
                <a:spcBef>
                  <a:spcPts val="0"/>
                </a:spcBef>
                <a:spcAft>
                  <a:spcPts val="1200"/>
                </a:spcAft>
                <a:buClrTx/>
                <a:buFont typeface="Arial" panose="020B0604020202020204" pitchFamily="34" charset="0"/>
                <a:buNone/>
                <a:defRPr sz="2000" b="1" kern="1200">
                  <a:solidFill>
                    <a:schemeClr val="tx1"/>
                  </a:solidFill>
                  <a:latin typeface="+mn-lt"/>
                  <a:ea typeface="+mn-ea"/>
                  <a:cs typeface="+mn-cs"/>
                </a:defRPr>
              </a:lvl2pPr>
              <a:lvl3pPr marL="914377" indent="0" algn="l" defTabSz="228594" rtl="0" eaLnBrk="1" latinLnBrk="0" hangingPunct="1">
                <a:lnSpc>
                  <a:spcPct val="100000"/>
                </a:lnSpc>
                <a:spcBef>
                  <a:spcPts val="0"/>
                </a:spcBef>
                <a:spcAft>
                  <a:spcPts val="1200"/>
                </a:spcAft>
                <a:buFont typeface="System Font"/>
                <a:buNone/>
                <a:defRPr sz="1800" b="1" kern="1200">
                  <a:solidFill>
                    <a:schemeClr val="tx1"/>
                  </a:solidFill>
                  <a:latin typeface="+mn-lt"/>
                  <a:ea typeface="+mn-ea"/>
                  <a:cs typeface="+mn-cs"/>
                </a:defRPr>
              </a:lvl3pPr>
              <a:lvl4pPr marL="1371566" indent="0" algn="l" defTabSz="228594" rtl="0" eaLnBrk="1" latinLnBrk="0" hangingPunct="1">
                <a:lnSpc>
                  <a:spcPct val="10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4pPr>
              <a:lvl5pPr marL="1828754" indent="0" algn="l" defTabSz="228594" rtl="0" eaLnBrk="1" latinLnBrk="0" hangingPunct="1">
                <a:lnSpc>
                  <a:spcPct val="100000"/>
                </a:lnSpc>
                <a:spcBef>
                  <a:spcPts val="0"/>
                </a:spcBef>
                <a:spcAft>
                  <a:spcPts val="1200"/>
                </a:spcAft>
                <a:buFont typeface="System Font"/>
                <a:buNone/>
                <a:defRPr sz="1600" b="1" kern="1200">
                  <a:solidFill>
                    <a:schemeClr val="tx1"/>
                  </a:solidFill>
                  <a:latin typeface="+mn-lt"/>
                  <a:ea typeface="+mn-ea"/>
                  <a:cs typeface="+mn-cs"/>
                </a:defRPr>
              </a:lvl5pPr>
              <a:lvl6pPr marL="2285943" indent="0" algn="l" defTabSz="228594" rtl="0" eaLnBrk="1" latinLnBrk="0" hangingPunct="1">
                <a:lnSpc>
                  <a:spcPct val="90000"/>
                </a:lnSpc>
                <a:spcBef>
                  <a:spcPts val="0"/>
                </a:spcBef>
                <a:spcAft>
                  <a:spcPts val="1200"/>
                </a:spcAft>
                <a:buFont typeface="Graphik" panose="020B0503030202060203" pitchFamily="34" charset="0"/>
                <a:buNone/>
                <a:tabLst/>
                <a:defRPr sz="1600" b="1" kern="1200">
                  <a:solidFill>
                    <a:schemeClr val="tx1"/>
                  </a:solidFill>
                  <a:latin typeface="+mn-lt"/>
                  <a:ea typeface="+mn-ea"/>
                  <a:cs typeface="+mn-cs"/>
                </a:defRPr>
              </a:lvl6pPr>
              <a:lvl7pPr marL="2743131"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7pPr>
              <a:lvl8pPr marL="3200320"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8pPr>
              <a:lvl9pPr marL="3657509"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2"/>
                  </a:solidFill>
                  <a:latin typeface="+mn-lt"/>
                  <a:ea typeface="+mn-ea"/>
                  <a:cs typeface="+mn-cs"/>
                </a:defRPr>
              </a:lvl9pPr>
            </a:lstStyle>
            <a:p>
              <a:r>
                <a:rPr lang="pt-BR" noProof="1"/>
                <a:t>Beirão da Veiga et al. (2013)</a:t>
              </a:r>
            </a:p>
            <a:p>
              <a:r>
                <a:rPr lang="pt-BR" sz="1100" noProof="1">
                  <a:latin typeface="Graphik" panose="020B0503030202060203" pitchFamily="34" charset="0"/>
                </a:rPr>
                <a:t>Autores: L. Beirão da Veiga, F. Brezzi, A. Cangiani, A. Russo</a:t>
              </a:r>
            </a:p>
            <a:p>
              <a:r>
                <a:rPr lang="pt-BR" sz="1100" noProof="1">
                  <a:latin typeface="Graphik" panose="020B0503030202060203" pitchFamily="34" charset="0"/>
                </a:rPr>
                <a:t>Artigo: “Basic Principles of Virtual Element Methods”</a:t>
              </a:r>
            </a:p>
            <a:p>
              <a:endParaRPr lang="pt-BR" noProof="1"/>
            </a:p>
          </p:txBody>
        </p:sp>
      </p:grpSp>
    </p:spTree>
    <p:extLst>
      <p:ext uri="{BB962C8B-B14F-4D97-AF65-F5344CB8AC3E}">
        <p14:creationId xmlns:p14="http://schemas.microsoft.com/office/powerpoint/2010/main" val="2767021473"/>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9C425BE-AD50-64C7-81C2-7AA347B63381}"/>
              </a:ext>
            </a:extLst>
          </p:cNvPr>
          <p:cNvGraphicFramePr>
            <a:graphicFrameLocks noChangeAspect="1"/>
          </p:cNvGraphicFramePr>
          <p:nvPr>
            <p:custDataLst>
              <p:tags r:id="rId1"/>
            </p:custDataLst>
            <p:extLst>
              <p:ext uri="{D42A27DB-BD31-4B8C-83A1-F6EECF244321}">
                <p14:modId xmlns:p14="http://schemas.microsoft.com/office/powerpoint/2010/main" val="930473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6" name="think-cell data - do not delete" hidden="1">
                        <a:extLst>
                          <a:ext uri="{FF2B5EF4-FFF2-40B4-BE49-F238E27FC236}">
                            <a16:creationId xmlns:a16="http://schemas.microsoft.com/office/drawing/2014/main" id="{19C425BE-AD50-64C7-81C2-7AA347B633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vert="horz"/>
          <a:lstStyle/>
          <a:p>
            <a:r>
              <a:rPr lang="pt-BR" noProof="1"/>
              <a:t>Harvey ball legends</a:t>
            </a:r>
          </a:p>
        </p:txBody>
      </p:sp>
      <p:sp>
        <p:nvSpPr>
          <p:cNvPr id="3" name="TextBox 2">
            <a:extLst>
              <a:ext uri="{FF2B5EF4-FFF2-40B4-BE49-F238E27FC236}">
                <a16:creationId xmlns:a16="http://schemas.microsoft.com/office/drawing/2014/main" id="{3A28C293-5B39-486E-BD09-ABD0BA9EA4E5}"/>
              </a:ext>
            </a:extLst>
          </p:cNvPr>
          <p:cNvSpPr txBox="1"/>
          <p:nvPr/>
        </p:nvSpPr>
        <p:spPr>
          <a:xfrm>
            <a:off x="565200" y="1108800"/>
            <a:ext cx="8720336" cy="276999"/>
          </a:xfrm>
          <a:prstGeom prst="rect">
            <a:avLst/>
          </a:prstGeom>
          <a:noFill/>
        </p:spPr>
        <p:txBody>
          <a:bodyPr wrap="none" lIns="0" tIns="0" rIns="0" bIns="0" rtlCol="0">
            <a:spAutoFit/>
          </a:bodyPr>
          <a:lstStyle/>
          <a:p>
            <a:pPr defTabSz="228594">
              <a:defRPr/>
            </a:pPr>
            <a:r>
              <a:rPr lang="pt-BR" noProof="1">
                <a:latin typeface="Graphik" panose="020B0503030202060203" pitchFamily="34" charset="77"/>
              </a:rPr>
              <a:t>Place one of these legend boxes next to a Harvey Ball chart; rename if required</a:t>
            </a:r>
          </a:p>
        </p:txBody>
      </p:sp>
      <p:grpSp>
        <p:nvGrpSpPr>
          <p:cNvPr id="8" name="Group 7" descr="Harvey Ball Legends - Excellent to very poor">
            <a:extLst>
              <a:ext uri="{FF2B5EF4-FFF2-40B4-BE49-F238E27FC236}">
                <a16:creationId xmlns:a16="http://schemas.microsoft.com/office/drawing/2014/main" id="{35606AAA-1762-4EE0-A359-E9510A988C26}"/>
              </a:ext>
            </a:extLst>
          </p:cNvPr>
          <p:cNvGrpSpPr/>
          <p:nvPr/>
        </p:nvGrpSpPr>
        <p:grpSpPr>
          <a:xfrm>
            <a:off x="2341874" y="2408875"/>
            <a:ext cx="3165722" cy="2010260"/>
            <a:chOff x="1743994" y="1670321"/>
            <a:chExt cx="3165721" cy="2010260"/>
          </a:xfrm>
        </p:grpSpPr>
        <p:sp>
          <p:nvSpPr>
            <p:cNvPr id="52" name="Rectangle 85">
              <a:extLst>
                <a:ext uri="{FF2B5EF4-FFF2-40B4-BE49-F238E27FC236}">
                  <a16:creationId xmlns:a16="http://schemas.microsoft.com/office/drawing/2014/main" id="{961536DA-43E3-4AC4-AE42-A33868426FDB}"/>
                </a:ext>
              </a:extLst>
            </p:cNvPr>
            <p:cNvSpPr>
              <a:spLocks noChangeArrowheads="1"/>
            </p:cNvSpPr>
            <p:nvPr/>
          </p:nvSpPr>
          <p:spPr bwMode="auto">
            <a:xfrm>
              <a:off x="1743994" y="1670321"/>
              <a:ext cx="1185221" cy="332655"/>
            </a:xfrm>
            <a:prstGeom prst="rect">
              <a:avLst/>
            </a:prstGeom>
            <a:noFill/>
            <a:ln w="12700">
              <a:noFill/>
              <a:miter lim="800000"/>
              <a:headEnd/>
              <a:tailEnd/>
            </a:ln>
            <a:effectLst/>
          </p:spPr>
          <p:txBody>
            <a:bodyPr wrap="square" lIns="0" tIns="0" rIns="0" bIns="0">
              <a:spAutoFit/>
            </a:bodyPr>
            <a:lstStyle/>
            <a:p>
              <a:pPr algn="l">
                <a:lnSpc>
                  <a:spcPct val="80000"/>
                </a:lnSpc>
                <a:spcBef>
                  <a:spcPct val="0"/>
                </a:spcBef>
              </a:pPr>
              <a:r>
                <a:rPr lang="pt-BR" sz="1351" noProof="1">
                  <a:latin typeface="Graphik" panose="020B0503030202060203" pitchFamily="34" charset="77"/>
                </a:rPr>
                <a:t>Excellent – </a:t>
              </a:r>
              <a:br>
                <a:rPr lang="pt-BR" sz="1351" noProof="1">
                  <a:latin typeface="Graphik" panose="020B0503030202060203" pitchFamily="34" charset="77"/>
                </a:rPr>
              </a:br>
              <a:r>
                <a:rPr lang="pt-BR" sz="1351" noProof="1">
                  <a:latin typeface="Graphik" panose="020B0503030202060203" pitchFamily="34" charset="77"/>
                </a:rPr>
                <a:t>very poor</a:t>
              </a:r>
            </a:p>
          </p:txBody>
        </p:sp>
        <p:grpSp>
          <p:nvGrpSpPr>
            <p:cNvPr id="4" name="Group 3" descr="Score 1">
              <a:extLst>
                <a:ext uri="{FF2B5EF4-FFF2-40B4-BE49-F238E27FC236}">
                  <a16:creationId xmlns:a16="http://schemas.microsoft.com/office/drawing/2014/main" id="{9C18511B-E7A4-4CC9-BF5F-B399CF761E88}"/>
                </a:ext>
              </a:extLst>
            </p:cNvPr>
            <p:cNvGrpSpPr/>
            <p:nvPr/>
          </p:nvGrpSpPr>
          <p:grpSpPr>
            <a:xfrm>
              <a:off x="3374424" y="1709652"/>
              <a:ext cx="1535291" cy="1970929"/>
              <a:chOff x="3374424" y="1709652"/>
              <a:chExt cx="1535291" cy="1970929"/>
            </a:xfrm>
          </p:grpSpPr>
          <p:grpSp>
            <p:nvGrpSpPr>
              <p:cNvPr id="54" name="Group 53">
                <a:extLst>
                  <a:ext uri="{FF2B5EF4-FFF2-40B4-BE49-F238E27FC236}">
                    <a16:creationId xmlns:a16="http://schemas.microsoft.com/office/drawing/2014/main" id="{AEB34B58-9717-4B1E-A75B-EABC6FD58035}"/>
                  </a:ext>
                </a:extLst>
              </p:cNvPr>
              <p:cNvGrpSpPr/>
              <p:nvPr/>
            </p:nvGrpSpPr>
            <p:grpSpPr>
              <a:xfrm>
                <a:off x="3374424" y="2127863"/>
                <a:ext cx="983859" cy="293238"/>
                <a:chOff x="3314238" y="2168620"/>
                <a:chExt cx="983859" cy="293238"/>
              </a:xfrm>
            </p:grpSpPr>
            <p:sp>
              <p:nvSpPr>
                <p:cNvPr id="55" name="Rectangle 10">
                  <a:extLst>
                    <a:ext uri="{FF2B5EF4-FFF2-40B4-BE49-F238E27FC236}">
                      <a16:creationId xmlns:a16="http://schemas.microsoft.com/office/drawing/2014/main" id="{0370A3CE-2A21-44D6-B510-9660B5ED757B}"/>
                    </a:ext>
                  </a:extLst>
                </p:cNvPr>
                <p:cNvSpPr>
                  <a:spLocks noChangeAspect="1" noChangeArrowheads="1"/>
                </p:cNvSpPr>
                <p:nvPr/>
              </p:nvSpPr>
              <p:spPr bwMode="auto">
                <a:xfrm>
                  <a:off x="3822005" y="2207518"/>
                  <a:ext cx="476092" cy="215444"/>
                </a:xfrm>
                <a:prstGeom prst="rect">
                  <a:avLst/>
                </a:prstGeom>
                <a:noFill/>
                <a:ln w="6350">
                  <a:noFill/>
                  <a:miter lim="800000"/>
                  <a:headEnd/>
                  <a:tailEnd/>
                </a:ln>
                <a:effectLst/>
              </p:spPr>
              <p:txBody>
                <a:bodyPr wrap="none" lIns="0" tIns="0" rIns="0" bIns="0" anchor="ctr">
                  <a:spAutoFit/>
                </a:bodyPr>
                <a:lstStyle/>
                <a:p>
                  <a:pPr algn="l" eaLnBrk="0" hangingPunct="0">
                    <a:spcBef>
                      <a:spcPct val="0"/>
                    </a:spcBef>
                  </a:pPr>
                  <a:r>
                    <a:rPr lang="pt-BR" sz="1400" noProof="1">
                      <a:latin typeface="Graphik" panose="020B0503030202060203" pitchFamily="34" charset="77"/>
                    </a:rPr>
                    <a:t>Good</a:t>
                  </a:r>
                </a:p>
              </p:txBody>
            </p:sp>
            <p:grpSp>
              <p:nvGrpSpPr>
                <p:cNvPr id="56" name="Group 55">
                  <a:extLst>
                    <a:ext uri="{FF2B5EF4-FFF2-40B4-BE49-F238E27FC236}">
                      <a16:creationId xmlns:a16="http://schemas.microsoft.com/office/drawing/2014/main" id="{98361F34-B7B1-4DEB-9055-6487C65E120E}"/>
                    </a:ext>
                  </a:extLst>
                </p:cNvPr>
                <p:cNvGrpSpPr>
                  <a:grpSpLocks noChangeAspect="1"/>
                </p:cNvGrpSpPr>
                <p:nvPr/>
              </p:nvGrpSpPr>
              <p:grpSpPr bwMode="auto">
                <a:xfrm>
                  <a:off x="3314238" y="2168620"/>
                  <a:ext cx="293238" cy="293238"/>
                  <a:chOff x="4465638" y="3322638"/>
                  <a:chExt cx="212725" cy="212725"/>
                </a:xfrm>
              </p:grpSpPr>
              <p:sp>
                <p:nvSpPr>
                  <p:cNvPr id="57" name="Oval 56">
                    <a:extLst>
                      <a:ext uri="{FF2B5EF4-FFF2-40B4-BE49-F238E27FC236}">
                        <a16:creationId xmlns:a16="http://schemas.microsoft.com/office/drawing/2014/main" id="{57242F43-2DC5-4043-A3AA-09FB4CBBBD5E}"/>
                      </a:ext>
                    </a:extLst>
                  </p:cNvPr>
                  <p:cNvSpPr/>
                  <p:nvPr/>
                </p:nvSpPr>
                <p:spPr bwMode="auto">
                  <a:xfrm>
                    <a:off x="4465638" y="3322638"/>
                    <a:ext cx="212725" cy="212725"/>
                  </a:xfrm>
                  <a:prstGeom prst="ellipse">
                    <a:avLst/>
                  </a:prstGeom>
                  <a:solidFill>
                    <a:schemeClr val="bg1"/>
                  </a:solidFill>
                  <a:ln w="6350" cmpd="sng">
                    <a:solidFill>
                      <a:schemeClr val="tx1"/>
                    </a:solidFill>
                    <a:prstDash val="solid"/>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pt-BR" sz="1400" kern="0" noProof="1">
                      <a:solidFill>
                        <a:sysClr val="windowText" lastClr="000000"/>
                      </a:solidFill>
                      <a:latin typeface="Graphik" panose="020B0503030202060203" pitchFamily="34" charset="77"/>
                    </a:endParaRPr>
                  </a:p>
                </p:txBody>
              </p:sp>
              <p:sp>
                <p:nvSpPr>
                  <p:cNvPr id="58" name="Arc 57">
                    <a:extLst>
                      <a:ext uri="{FF2B5EF4-FFF2-40B4-BE49-F238E27FC236}">
                        <a16:creationId xmlns:a16="http://schemas.microsoft.com/office/drawing/2014/main" id="{32D8EB8C-CEF2-4DC8-86FB-B61C9FABAFC3}"/>
                      </a:ext>
                    </a:extLst>
                  </p:cNvPr>
                  <p:cNvSpPr/>
                  <p:nvPr/>
                </p:nvSpPr>
                <p:spPr bwMode="auto">
                  <a:xfrm>
                    <a:off x="4465638" y="3322638"/>
                    <a:ext cx="212725" cy="212725"/>
                  </a:xfrm>
                  <a:prstGeom prst="arc">
                    <a:avLst>
                      <a:gd name="adj1" fmla="val 16200000"/>
                      <a:gd name="adj2" fmla="val 10800000"/>
                    </a:avLst>
                  </a:prstGeom>
                  <a:solidFill>
                    <a:schemeClr val="tx1"/>
                  </a:solidFill>
                  <a:ln w="12700">
                    <a:no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sz="1400" noProof="1">
                      <a:latin typeface="Graphik" panose="020B0503030202060203" pitchFamily="34" charset="77"/>
                    </a:endParaRPr>
                  </a:p>
                </p:txBody>
              </p:sp>
            </p:grpSp>
          </p:grpSp>
          <p:grpSp>
            <p:nvGrpSpPr>
              <p:cNvPr id="59" name="Group 58">
                <a:extLst>
                  <a:ext uri="{FF2B5EF4-FFF2-40B4-BE49-F238E27FC236}">
                    <a16:creationId xmlns:a16="http://schemas.microsoft.com/office/drawing/2014/main" id="{4C34A0E6-6F11-44E8-B559-6577FF505C5C}"/>
                  </a:ext>
                </a:extLst>
              </p:cNvPr>
              <p:cNvGrpSpPr/>
              <p:nvPr/>
            </p:nvGrpSpPr>
            <p:grpSpPr>
              <a:xfrm>
                <a:off x="3374424" y="1709652"/>
                <a:ext cx="1291634" cy="293238"/>
                <a:chOff x="3314238" y="1767247"/>
                <a:chExt cx="1291634" cy="293238"/>
              </a:xfrm>
            </p:grpSpPr>
            <p:sp>
              <p:nvSpPr>
                <p:cNvPr id="60" name="Rectangle 23">
                  <a:extLst>
                    <a:ext uri="{FF2B5EF4-FFF2-40B4-BE49-F238E27FC236}">
                      <a16:creationId xmlns:a16="http://schemas.microsoft.com/office/drawing/2014/main" id="{BA50DE27-15B6-47B8-842E-8F2185A3AB8E}"/>
                    </a:ext>
                  </a:extLst>
                </p:cNvPr>
                <p:cNvSpPr>
                  <a:spLocks noChangeAspect="1" noChangeArrowheads="1"/>
                </p:cNvSpPr>
                <p:nvPr/>
              </p:nvSpPr>
              <p:spPr bwMode="auto">
                <a:xfrm>
                  <a:off x="3822004" y="1806145"/>
                  <a:ext cx="783868" cy="215444"/>
                </a:xfrm>
                <a:prstGeom prst="rect">
                  <a:avLst/>
                </a:prstGeom>
                <a:noFill/>
                <a:ln w="6350">
                  <a:noFill/>
                  <a:miter lim="800000"/>
                  <a:headEnd/>
                  <a:tailEnd/>
                </a:ln>
                <a:effectLst/>
              </p:spPr>
              <p:txBody>
                <a:bodyPr wrap="none" lIns="0" tIns="0" rIns="0" bIns="0" anchor="ctr">
                  <a:spAutoFit/>
                </a:bodyPr>
                <a:lstStyle/>
                <a:p>
                  <a:pPr algn="l" eaLnBrk="0" hangingPunct="0">
                    <a:spcBef>
                      <a:spcPct val="0"/>
                    </a:spcBef>
                  </a:pPr>
                  <a:r>
                    <a:rPr lang="pt-BR" sz="1400" noProof="1">
                      <a:latin typeface="Graphik" panose="020B0503030202060203" pitchFamily="34" charset="77"/>
                    </a:rPr>
                    <a:t>Excellent</a:t>
                  </a:r>
                </a:p>
              </p:txBody>
            </p:sp>
            <p:grpSp>
              <p:nvGrpSpPr>
                <p:cNvPr id="61" name="Group 60">
                  <a:extLst>
                    <a:ext uri="{FF2B5EF4-FFF2-40B4-BE49-F238E27FC236}">
                      <a16:creationId xmlns:a16="http://schemas.microsoft.com/office/drawing/2014/main" id="{3114BFDE-2211-44AB-B94A-011489FDC198}"/>
                    </a:ext>
                  </a:extLst>
                </p:cNvPr>
                <p:cNvGrpSpPr>
                  <a:grpSpLocks noChangeAspect="1"/>
                </p:cNvGrpSpPr>
                <p:nvPr/>
              </p:nvGrpSpPr>
              <p:grpSpPr bwMode="auto">
                <a:xfrm>
                  <a:off x="3314238" y="1767247"/>
                  <a:ext cx="293238" cy="293238"/>
                  <a:chOff x="4465638" y="3322638"/>
                  <a:chExt cx="212725" cy="212725"/>
                </a:xfrm>
              </p:grpSpPr>
              <p:sp>
                <p:nvSpPr>
                  <p:cNvPr id="62" name="Oval 61">
                    <a:extLst>
                      <a:ext uri="{FF2B5EF4-FFF2-40B4-BE49-F238E27FC236}">
                        <a16:creationId xmlns:a16="http://schemas.microsoft.com/office/drawing/2014/main" id="{8AE18158-33A3-403F-A50B-3A4B71E7164A}"/>
                      </a:ext>
                    </a:extLst>
                  </p:cNvPr>
                  <p:cNvSpPr/>
                  <p:nvPr/>
                </p:nvSpPr>
                <p:spPr bwMode="auto">
                  <a:xfrm>
                    <a:off x="4465638" y="3322638"/>
                    <a:ext cx="212725" cy="212725"/>
                  </a:xfrm>
                  <a:prstGeom prst="ellipse">
                    <a:avLst/>
                  </a:prstGeom>
                  <a:solidFill>
                    <a:schemeClr val="bg1"/>
                  </a:solidFill>
                  <a:ln w="6350" cmpd="sng">
                    <a:solidFill>
                      <a:schemeClr val="accent1"/>
                    </a:solidFill>
                    <a:prstDash val="solid"/>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pt-BR" sz="1400" kern="0" noProof="1">
                      <a:solidFill>
                        <a:sysClr val="windowText" lastClr="000000"/>
                      </a:solidFill>
                      <a:latin typeface="Graphik" panose="020B0503030202060203" pitchFamily="34" charset="77"/>
                      <a:cs typeface="Graphik" pitchFamily="34" charset="0"/>
                    </a:endParaRPr>
                  </a:p>
                </p:txBody>
              </p:sp>
              <p:sp>
                <p:nvSpPr>
                  <p:cNvPr id="63" name="Arc 62">
                    <a:extLst>
                      <a:ext uri="{FF2B5EF4-FFF2-40B4-BE49-F238E27FC236}">
                        <a16:creationId xmlns:a16="http://schemas.microsoft.com/office/drawing/2014/main" id="{86A07939-DF29-4E8E-A80A-14DCA512B27E}"/>
                      </a:ext>
                    </a:extLst>
                  </p:cNvPr>
                  <p:cNvSpPr/>
                  <p:nvPr/>
                </p:nvSpPr>
                <p:spPr bwMode="auto">
                  <a:xfrm>
                    <a:off x="4465638" y="3322638"/>
                    <a:ext cx="212725" cy="212725"/>
                  </a:xfrm>
                  <a:prstGeom prst="arc">
                    <a:avLst>
                      <a:gd name="adj1" fmla="val 16200000"/>
                      <a:gd name="adj2" fmla="val 16200000"/>
                    </a:avLst>
                  </a:prstGeom>
                  <a:solidFill>
                    <a:schemeClr val="tx1"/>
                  </a:solidFill>
                  <a:ln w="12700">
                    <a:no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sz="1400" noProof="1">
                      <a:latin typeface="Graphik" panose="020B0503030202060203" pitchFamily="34" charset="77"/>
                    </a:endParaRPr>
                  </a:p>
                </p:txBody>
              </p:sp>
            </p:grpSp>
          </p:grpSp>
          <p:grpSp>
            <p:nvGrpSpPr>
              <p:cNvPr id="64" name="Group 63">
                <a:extLst>
                  <a:ext uri="{FF2B5EF4-FFF2-40B4-BE49-F238E27FC236}">
                    <a16:creationId xmlns:a16="http://schemas.microsoft.com/office/drawing/2014/main" id="{3CC3227E-AED8-4899-946F-EFC38B0CCA3F}"/>
                  </a:ext>
                </a:extLst>
              </p:cNvPr>
              <p:cNvGrpSpPr/>
              <p:nvPr/>
            </p:nvGrpSpPr>
            <p:grpSpPr>
              <a:xfrm>
                <a:off x="3374424" y="2546074"/>
                <a:ext cx="1535291" cy="293238"/>
                <a:chOff x="3314238" y="2550545"/>
                <a:chExt cx="1535291" cy="293238"/>
              </a:xfrm>
            </p:grpSpPr>
            <p:sp>
              <p:nvSpPr>
                <p:cNvPr id="65" name="Rectangle 5">
                  <a:extLst>
                    <a:ext uri="{FF2B5EF4-FFF2-40B4-BE49-F238E27FC236}">
                      <a16:creationId xmlns:a16="http://schemas.microsoft.com/office/drawing/2014/main" id="{238D27AF-4F48-4D3D-BE8F-EB6DCA470BA0}"/>
                    </a:ext>
                  </a:extLst>
                </p:cNvPr>
                <p:cNvSpPr>
                  <a:spLocks noChangeAspect="1" noChangeArrowheads="1"/>
                </p:cNvSpPr>
                <p:nvPr/>
              </p:nvSpPr>
              <p:spPr bwMode="auto">
                <a:xfrm>
                  <a:off x="3822005" y="2589443"/>
                  <a:ext cx="1027524" cy="215444"/>
                </a:xfrm>
                <a:prstGeom prst="rect">
                  <a:avLst/>
                </a:prstGeom>
                <a:noFill/>
                <a:ln w="6350">
                  <a:noFill/>
                  <a:miter lim="800000"/>
                  <a:headEnd/>
                  <a:tailEnd/>
                </a:ln>
                <a:effectLst/>
              </p:spPr>
              <p:txBody>
                <a:bodyPr wrap="none" lIns="0" tIns="0" rIns="0" bIns="0" anchor="ctr">
                  <a:spAutoFit/>
                </a:bodyPr>
                <a:lstStyle/>
                <a:p>
                  <a:pPr algn="l" eaLnBrk="0" hangingPunct="0">
                    <a:spcBef>
                      <a:spcPct val="0"/>
                    </a:spcBef>
                  </a:pPr>
                  <a:r>
                    <a:rPr lang="pt-BR" sz="1400" noProof="1">
                      <a:latin typeface="Graphik" panose="020B0503030202060203" pitchFamily="34" charset="77"/>
                    </a:rPr>
                    <a:t>Satisfactory</a:t>
                  </a:r>
                </a:p>
              </p:txBody>
            </p:sp>
            <p:grpSp>
              <p:nvGrpSpPr>
                <p:cNvPr id="66" name="Group 65">
                  <a:extLst>
                    <a:ext uri="{FF2B5EF4-FFF2-40B4-BE49-F238E27FC236}">
                      <a16:creationId xmlns:a16="http://schemas.microsoft.com/office/drawing/2014/main" id="{613D8F64-5C04-4B5E-B455-7DE2FF2C8C3C}"/>
                    </a:ext>
                  </a:extLst>
                </p:cNvPr>
                <p:cNvGrpSpPr>
                  <a:grpSpLocks noChangeAspect="1"/>
                </p:cNvGrpSpPr>
                <p:nvPr/>
              </p:nvGrpSpPr>
              <p:grpSpPr bwMode="auto">
                <a:xfrm>
                  <a:off x="3314238" y="2550545"/>
                  <a:ext cx="293238" cy="293238"/>
                  <a:chOff x="4465638" y="3322638"/>
                  <a:chExt cx="212725" cy="212725"/>
                </a:xfrm>
              </p:grpSpPr>
              <p:sp>
                <p:nvSpPr>
                  <p:cNvPr id="67" name="Oval 66">
                    <a:extLst>
                      <a:ext uri="{FF2B5EF4-FFF2-40B4-BE49-F238E27FC236}">
                        <a16:creationId xmlns:a16="http://schemas.microsoft.com/office/drawing/2014/main" id="{11FA59C1-C76D-4F5C-A14F-0A2EFC60D352}"/>
                      </a:ext>
                    </a:extLst>
                  </p:cNvPr>
                  <p:cNvSpPr/>
                  <p:nvPr/>
                </p:nvSpPr>
                <p:spPr bwMode="auto">
                  <a:xfrm>
                    <a:off x="4465638" y="3322638"/>
                    <a:ext cx="212725" cy="212725"/>
                  </a:xfrm>
                  <a:prstGeom prst="ellipse">
                    <a:avLst/>
                  </a:prstGeom>
                  <a:solidFill>
                    <a:schemeClr val="bg1"/>
                  </a:solidFill>
                  <a:ln w="6350" cmpd="sng">
                    <a:solidFill>
                      <a:schemeClr val="tx1"/>
                    </a:solidFill>
                    <a:prstDash val="solid"/>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pt-BR" sz="1400" kern="0" noProof="1">
                      <a:solidFill>
                        <a:sysClr val="windowText" lastClr="000000"/>
                      </a:solidFill>
                      <a:latin typeface="Graphik" panose="020B0503030202060203" pitchFamily="34" charset="77"/>
                    </a:endParaRPr>
                  </a:p>
                </p:txBody>
              </p:sp>
              <p:sp>
                <p:nvSpPr>
                  <p:cNvPr id="68" name="Arc 67">
                    <a:extLst>
                      <a:ext uri="{FF2B5EF4-FFF2-40B4-BE49-F238E27FC236}">
                        <a16:creationId xmlns:a16="http://schemas.microsoft.com/office/drawing/2014/main" id="{7174484B-E0EB-481A-AADA-D3E0A3FAC2D2}"/>
                      </a:ext>
                    </a:extLst>
                  </p:cNvPr>
                  <p:cNvSpPr/>
                  <p:nvPr/>
                </p:nvSpPr>
                <p:spPr bwMode="auto">
                  <a:xfrm>
                    <a:off x="4465638" y="3322638"/>
                    <a:ext cx="212725" cy="212725"/>
                  </a:xfrm>
                  <a:prstGeom prst="arc">
                    <a:avLst>
                      <a:gd name="adj1" fmla="val 16200000"/>
                      <a:gd name="adj2" fmla="val 5400000"/>
                    </a:avLst>
                  </a:prstGeom>
                  <a:solidFill>
                    <a:schemeClr val="tx1"/>
                  </a:solidFill>
                  <a:ln w="12700">
                    <a:no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sz="1400" noProof="1">
                      <a:latin typeface="Graphik" panose="020B0503030202060203" pitchFamily="34" charset="77"/>
                    </a:endParaRPr>
                  </a:p>
                </p:txBody>
              </p:sp>
            </p:grpSp>
          </p:grpSp>
          <p:grpSp>
            <p:nvGrpSpPr>
              <p:cNvPr id="69" name="Group 68">
                <a:extLst>
                  <a:ext uri="{FF2B5EF4-FFF2-40B4-BE49-F238E27FC236}">
                    <a16:creationId xmlns:a16="http://schemas.microsoft.com/office/drawing/2014/main" id="{387A724F-6772-449B-82BB-D5EF9FCE7CC3}"/>
                  </a:ext>
                </a:extLst>
              </p:cNvPr>
              <p:cNvGrpSpPr/>
              <p:nvPr/>
            </p:nvGrpSpPr>
            <p:grpSpPr>
              <a:xfrm>
                <a:off x="3374424" y="2964285"/>
                <a:ext cx="903708" cy="293238"/>
                <a:chOff x="3314238" y="2932470"/>
                <a:chExt cx="903708" cy="293238"/>
              </a:xfrm>
            </p:grpSpPr>
            <p:sp>
              <p:nvSpPr>
                <p:cNvPr id="70" name="Rectangle 18">
                  <a:extLst>
                    <a:ext uri="{FF2B5EF4-FFF2-40B4-BE49-F238E27FC236}">
                      <a16:creationId xmlns:a16="http://schemas.microsoft.com/office/drawing/2014/main" id="{39CB1574-1968-48A3-8D38-6A4AD3E3AF86}"/>
                    </a:ext>
                  </a:extLst>
                </p:cNvPr>
                <p:cNvSpPr>
                  <a:spLocks noChangeAspect="1" noChangeArrowheads="1"/>
                </p:cNvSpPr>
                <p:nvPr/>
              </p:nvSpPr>
              <p:spPr bwMode="auto">
                <a:xfrm>
                  <a:off x="3822004" y="2971368"/>
                  <a:ext cx="395942" cy="215444"/>
                </a:xfrm>
                <a:prstGeom prst="rect">
                  <a:avLst/>
                </a:prstGeom>
                <a:noFill/>
                <a:ln w="6350">
                  <a:noFill/>
                  <a:miter lim="800000"/>
                  <a:headEnd/>
                  <a:tailEnd/>
                </a:ln>
                <a:effectLst/>
              </p:spPr>
              <p:txBody>
                <a:bodyPr wrap="none" lIns="0" tIns="0" rIns="0" bIns="0" anchor="ctr">
                  <a:spAutoFit/>
                </a:bodyPr>
                <a:lstStyle/>
                <a:p>
                  <a:pPr algn="l" eaLnBrk="0" hangingPunct="0">
                    <a:spcBef>
                      <a:spcPct val="0"/>
                    </a:spcBef>
                  </a:pPr>
                  <a:r>
                    <a:rPr lang="pt-BR" sz="1400" noProof="1">
                      <a:latin typeface="Graphik" panose="020B0503030202060203" pitchFamily="34" charset="77"/>
                    </a:rPr>
                    <a:t>Poor</a:t>
                  </a:r>
                </a:p>
              </p:txBody>
            </p:sp>
            <p:grpSp>
              <p:nvGrpSpPr>
                <p:cNvPr id="71" name="Group 70">
                  <a:extLst>
                    <a:ext uri="{FF2B5EF4-FFF2-40B4-BE49-F238E27FC236}">
                      <a16:creationId xmlns:a16="http://schemas.microsoft.com/office/drawing/2014/main" id="{93B78028-4D9E-4C46-BC6F-BEC5156D951A}"/>
                    </a:ext>
                  </a:extLst>
                </p:cNvPr>
                <p:cNvGrpSpPr>
                  <a:grpSpLocks noChangeAspect="1"/>
                </p:cNvGrpSpPr>
                <p:nvPr/>
              </p:nvGrpSpPr>
              <p:grpSpPr bwMode="auto">
                <a:xfrm>
                  <a:off x="3314238" y="2932470"/>
                  <a:ext cx="293238" cy="293238"/>
                  <a:chOff x="4465638" y="3322638"/>
                  <a:chExt cx="212725" cy="212725"/>
                </a:xfrm>
              </p:grpSpPr>
              <p:sp>
                <p:nvSpPr>
                  <p:cNvPr id="72" name="Oval 71">
                    <a:extLst>
                      <a:ext uri="{FF2B5EF4-FFF2-40B4-BE49-F238E27FC236}">
                        <a16:creationId xmlns:a16="http://schemas.microsoft.com/office/drawing/2014/main" id="{4C19CC65-87AF-4277-B37E-842AE34556DE}"/>
                      </a:ext>
                    </a:extLst>
                  </p:cNvPr>
                  <p:cNvSpPr/>
                  <p:nvPr/>
                </p:nvSpPr>
                <p:spPr bwMode="auto">
                  <a:xfrm>
                    <a:off x="4465638" y="3322638"/>
                    <a:ext cx="212725" cy="212725"/>
                  </a:xfrm>
                  <a:prstGeom prst="ellipse">
                    <a:avLst/>
                  </a:prstGeom>
                  <a:solidFill>
                    <a:schemeClr val="bg1"/>
                  </a:solidFill>
                  <a:ln w="6350" cmpd="sng">
                    <a:solidFill>
                      <a:schemeClr val="tx1"/>
                    </a:solidFill>
                    <a:prstDash val="solid"/>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pt-BR" sz="1400" kern="0" noProof="1">
                      <a:solidFill>
                        <a:sysClr val="windowText" lastClr="000000"/>
                      </a:solidFill>
                      <a:latin typeface="Graphik" panose="020B0503030202060203" pitchFamily="34" charset="77"/>
                    </a:endParaRPr>
                  </a:p>
                </p:txBody>
              </p:sp>
              <p:sp>
                <p:nvSpPr>
                  <p:cNvPr id="73" name="Arc 72">
                    <a:extLst>
                      <a:ext uri="{FF2B5EF4-FFF2-40B4-BE49-F238E27FC236}">
                        <a16:creationId xmlns:a16="http://schemas.microsoft.com/office/drawing/2014/main" id="{BFE244A7-8D96-40F0-B0BF-65BD0D27B9DF}"/>
                      </a:ext>
                    </a:extLst>
                  </p:cNvPr>
                  <p:cNvSpPr/>
                  <p:nvPr/>
                </p:nvSpPr>
                <p:spPr bwMode="auto">
                  <a:xfrm>
                    <a:off x="4465638" y="3322638"/>
                    <a:ext cx="212725" cy="212725"/>
                  </a:xfrm>
                  <a:prstGeom prst="arc">
                    <a:avLst/>
                  </a:prstGeom>
                  <a:solidFill>
                    <a:schemeClr val="tx1"/>
                  </a:solidFill>
                  <a:ln w="12700">
                    <a:no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sz="1400" noProof="1">
                      <a:latin typeface="Graphik" panose="020B0503030202060203" pitchFamily="34" charset="77"/>
                    </a:endParaRPr>
                  </a:p>
                </p:txBody>
              </p:sp>
            </p:grpSp>
          </p:grpSp>
          <p:grpSp>
            <p:nvGrpSpPr>
              <p:cNvPr id="74" name="Group 73">
                <a:extLst>
                  <a:ext uri="{FF2B5EF4-FFF2-40B4-BE49-F238E27FC236}">
                    <a16:creationId xmlns:a16="http://schemas.microsoft.com/office/drawing/2014/main" id="{70302A2C-BBD2-4007-9A2C-B34E72F23C76}"/>
                  </a:ext>
                </a:extLst>
              </p:cNvPr>
              <p:cNvGrpSpPr/>
              <p:nvPr/>
            </p:nvGrpSpPr>
            <p:grpSpPr>
              <a:xfrm>
                <a:off x="3374424" y="3382495"/>
                <a:ext cx="1400639" cy="298086"/>
                <a:chOff x="3314238" y="3382495"/>
                <a:chExt cx="1400639" cy="298086"/>
              </a:xfrm>
            </p:grpSpPr>
            <p:sp>
              <p:nvSpPr>
                <p:cNvPr id="75" name="Rectangle 15">
                  <a:extLst>
                    <a:ext uri="{FF2B5EF4-FFF2-40B4-BE49-F238E27FC236}">
                      <a16:creationId xmlns:a16="http://schemas.microsoft.com/office/drawing/2014/main" id="{71E6F8C3-2DE7-46EE-BDDA-3742442AFB74}"/>
                    </a:ext>
                  </a:extLst>
                </p:cNvPr>
                <p:cNvSpPr>
                  <a:spLocks noChangeAspect="1" noChangeArrowheads="1"/>
                </p:cNvSpPr>
                <p:nvPr/>
              </p:nvSpPr>
              <p:spPr bwMode="auto">
                <a:xfrm>
                  <a:off x="3822005" y="3465137"/>
                  <a:ext cx="892872" cy="215444"/>
                </a:xfrm>
                <a:prstGeom prst="rect">
                  <a:avLst/>
                </a:prstGeom>
                <a:noFill/>
                <a:ln w="6350">
                  <a:noFill/>
                  <a:miter lim="800000"/>
                  <a:headEnd/>
                  <a:tailEnd/>
                </a:ln>
                <a:effectLst/>
              </p:spPr>
              <p:txBody>
                <a:bodyPr wrap="none" lIns="0" tIns="0" rIns="0" bIns="0" anchor="ctr">
                  <a:spAutoFit/>
                </a:bodyPr>
                <a:lstStyle/>
                <a:p>
                  <a:pPr algn="l" eaLnBrk="0" hangingPunct="0">
                    <a:spcBef>
                      <a:spcPct val="0"/>
                    </a:spcBef>
                  </a:pPr>
                  <a:r>
                    <a:rPr lang="pt-BR" sz="1400" noProof="1">
                      <a:latin typeface="Graphik" panose="020B0503030202060203" pitchFamily="34" charset="77"/>
                    </a:rPr>
                    <a:t>Very poor </a:t>
                  </a:r>
                </a:p>
              </p:txBody>
            </p:sp>
            <p:sp>
              <p:nvSpPr>
                <p:cNvPr id="76" name="Oval 75">
                  <a:extLst>
                    <a:ext uri="{FF2B5EF4-FFF2-40B4-BE49-F238E27FC236}">
                      <a16:creationId xmlns:a16="http://schemas.microsoft.com/office/drawing/2014/main" id="{403B7AA7-A4DD-4849-B9B6-45222B7AC033}"/>
                    </a:ext>
                  </a:extLst>
                </p:cNvPr>
                <p:cNvSpPr/>
                <p:nvPr/>
              </p:nvSpPr>
              <p:spPr bwMode="auto">
                <a:xfrm>
                  <a:off x="3314238" y="3382495"/>
                  <a:ext cx="293238" cy="293238"/>
                </a:xfrm>
                <a:prstGeom prst="ellipse">
                  <a:avLst/>
                </a:prstGeom>
                <a:solidFill>
                  <a:schemeClr val="bg1"/>
                </a:solidFill>
                <a:ln w="6350" cmpd="sng">
                  <a:solidFill>
                    <a:schemeClr val="tx1"/>
                  </a:solidFill>
                  <a:prstDash val="solid"/>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pt-BR" sz="1400" kern="0" noProof="1">
                    <a:solidFill>
                      <a:sysClr val="windowText" lastClr="000000"/>
                    </a:solidFill>
                    <a:latin typeface="Graphik" panose="020B0503030202060203" pitchFamily="34" charset="77"/>
                    <a:cs typeface="Graphik" pitchFamily="34" charset="0"/>
                  </a:endParaRPr>
                </a:p>
              </p:txBody>
            </p:sp>
          </p:grpSp>
        </p:grpSp>
      </p:grpSp>
      <p:grpSp>
        <p:nvGrpSpPr>
          <p:cNvPr id="9" name="Group 8" descr="Harvey Ball Legends - very high to very low">
            <a:extLst>
              <a:ext uri="{FF2B5EF4-FFF2-40B4-BE49-F238E27FC236}">
                <a16:creationId xmlns:a16="http://schemas.microsoft.com/office/drawing/2014/main" id="{1E32E89A-C17E-4907-821C-B38CC6096B35}"/>
              </a:ext>
            </a:extLst>
          </p:cNvPr>
          <p:cNvGrpSpPr/>
          <p:nvPr/>
        </p:nvGrpSpPr>
        <p:grpSpPr>
          <a:xfrm>
            <a:off x="6683524" y="2352486"/>
            <a:ext cx="2924322" cy="1972668"/>
            <a:chOff x="1778605" y="4085706"/>
            <a:chExt cx="2924323" cy="1972668"/>
          </a:xfrm>
        </p:grpSpPr>
        <p:sp>
          <p:nvSpPr>
            <p:cNvPr id="53" name="Rectangle 86">
              <a:extLst>
                <a:ext uri="{FF2B5EF4-FFF2-40B4-BE49-F238E27FC236}">
                  <a16:creationId xmlns:a16="http://schemas.microsoft.com/office/drawing/2014/main" id="{2B67412B-17E6-4DD3-9C34-B7C07F6F39C9}"/>
                </a:ext>
              </a:extLst>
            </p:cNvPr>
            <p:cNvSpPr>
              <a:spLocks noChangeArrowheads="1"/>
            </p:cNvSpPr>
            <p:nvPr/>
          </p:nvSpPr>
          <p:spPr bwMode="auto">
            <a:xfrm>
              <a:off x="1778605" y="4085706"/>
              <a:ext cx="1185220" cy="332655"/>
            </a:xfrm>
            <a:prstGeom prst="rect">
              <a:avLst/>
            </a:prstGeom>
            <a:noFill/>
            <a:ln w="12700">
              <a:noFill/>
              <a:miter lim="800000"/>
              <a:headEnd/>
              <a:tailEnd/>
            </a:ln>
            <a:effectLst/>
          </p:spPr>
          <p:txBody>
            <a:bodyPr wrap="square" lIns="0" tIns="0" rIns="0" bIns="0">
              <a:spAutoFit/>
            </a:bodyPr>
            <a:lstStyle/>
            <a:p>
              <a:pPr algn="l">
                <a:lnSpc>
                  <a:spcPct val="80000"/>
                </a:lnSpc>
                <a:spcBef>
                  <a:spcPct val="0"/>
                </a:spcBef>
              </a:pPr>
              <a:r>
                <a:rPr lang="pt-BR" sz="1351" noProof="1">
                  <a:latin typeface="Graphik" panose="020B0503030202060203" pitchFamily="34" charset="77"/>
                </a:rPr>
                <a:t>Very high – </a:t>
              </a:r>
              <a:br>
                <a:rPr lang="pt-BR" sz="1351" noProof="1">
                  <a:latin typeface="Graphik" panose="020B0503030202060203" pitchFamily="34" charset="77"/>
                </a:rPr>
              </a:br>
              <a:r>
                <a:rPr lang="pt-BR" sz="1351" noProof="1">
                  <a:latin typeface="Graphik" panose="020B0503030202060203" pitchFamily="34" charset="77"/>
                </a:rPr>
                <a:t>very low</a:t>
              </a:r>
            </a:p>
          </p:txBody>
        </p:sp>
        <p:grpSp>
          <p:nvGrpSpPr>
            <p:cNvPr id="7" name="Group 6" descr="Score 2">
              <a:extLst>
                <a:ext uri="{FF2B5EF4-FFF2-40B4-BE49-F238E27FC236}">
                  <a16:creationId xmlns:a16="http://schemas.microsoft.com/office/drawing/2014/main" id="{558F9B6A-4676-4958-BC62-42B083326AE1}"/>
                </a:ext>
              </a:extLst>
            </p:cNvPr>
            <p:cNvGrpSpPr/>
            <p:nvPr/>
          </p:nvGrpSpPr>
          <p:grpSpPr>
            <a:xfrm>
              <a:off x="3374424" y="4163935"/>
              <a:ext cx="1328504" cy="1894439"/>
              <a:chOff x="3374424" y="4163935"/>
              <a:chExt cx="1328504" cy="1894439"/>
            </a:xfrm>
          </p:grpSpPr>
          <p:grpSp>
            <p:nvGrpSpPr>
              <p:cNvPr id="77" name="Group 76">
                <a:extLst>
                  <a:ext uri="{FF2B5EF4-FFF2-40B4-BE49-F238E27FC236}">
                    <a16:creationId xmlns:a16="http://schemas.microsoft.com/office/drawing/2014/main" id="{9747CFE0-5F9F-4C7A-8E4F-78775534CE15}"/>
                  </a:ext>
                </a:extLst>
              </p:cNvPr>
              <p:cNvGrpSpPr/>
              <p:nvPr/>
            </p:nvGrpSpPr>
            <p:grpSpPr>
              <a:xfrm>
                <a:off x="3374424" y="4564235"/>
                <a:ext cx="913327" cy="293238"/>
                <a:chOff x="3314238" y="4564235"/>
                <a:chExt cx="913327" cy="293238"/>
              </a:xfrm>
            </p:grpSpPr>
            <p:sp>
              <p:nvSpPr>
                <p:cNvPr id="78" name="Rectangle 68">
                  <a:extLst>
                    <a:ext uri="{FF2B5EF4-FFF2-40B4-BE49-F238E27FC236}">
                      <a16:creationId xmlns:a16="http://schemas.microsoft.com/office/drawing/2014/main" id="{6747820A-B871-4B58-A1A7-6F9D44866322}"/>
                    </a:ext>
                  </a:extLst>
                </p:cNvPr>
                <p:cNvSpPr>
                  <a:spLocks noChangeAspect="1" noChangeArrowheads="1"/>
                </p:cNvSpPr>
                <p:nvPr/>
              </p:nvSpPr>
              <p:spPr bwMode="auto">
                <a:xfrm>
                  <a:off x="3822005" y="4603131"/>
                  <a:ext cx="405560" cy="215444"/>
                </a:xfrm>
                <a:prstGeom prst="rect">
                  <a:avLst/>
                </a:prstGeom>
                <a:noFill/>
                <a:ln w="6350">
                  <a:noFill/>
                  <a:miter lim="800000"/>
                  <a:headEnd/>
                  <a:tailEnd/>
                </a:ln>
                <a:effectLst/>
              </p:spPr>
              <p:txBody>
                <a:bodyPr wrap="none" lIns="0" tIns="0" rIns="0" bIns="0" anchor="ctr">
                  <a:spAutoFit/>
                </a:bodyPr>
                <a:lstStyle/>
                <a:p>
                  <a:pPr algn="l" eaLnBrk="0" hangingPunct="0">
                    <a:spcBef>
                      <a:spcPct val="0"/>
                    </a:spcBef>
                  </a:pPr>
                  <a:r>
                    <a:rPr lang="pt-BR" sz="1400" noProof="1">
                      <a:latin typeface="Graphik" panose="020B0503030202060203" pitchFamily="34" charset="77"/>
                    </a:rPr>
                    <a:t>High</a:t>
                  </a:r>
                </a:p>
              </p:txBody>
            </p:sp>
            <p:sp>
              <p:nvSpPr>
                <p:cNvPr id="79" name="Oval 78">
                  <a:extLst>
                    <a:ext uri="{FF2B5EF4-FFF2-40B4-BE49-F238E27FC236}">
                      <a16:creationId xmlns:a16="http://schemas.microsoft.com/office/drawing/2014/main" id="{17341D36-CAB2-493C-BC14-7090450C2F31}"/>
                    </a:ext>
                  </a:extLst>
                </p:cNvPr>
                <p:cNvSpPr/>
                <p:nvPr/>
              </p:nvSpPr>
              <p:spPr bwMode="auto">
                <a:xfrm>
                  <a:off x="3314238" y="4564235"/>
                  <a:ext cx="293238" cy="293238"/>
                </a:xfrm>
                <a:prstGeom prst="ellipse">
                  <a:avLst/>
                </a:prstGeom>
                <a:solidFill>
                  <a:schemeClr val="bg1"/>
                </a:solidFill>
                <a:ln w="6350" cmpd="sng">
                  <a:solidFill>
                    <a:schemeClr val="accent2"/>
                  </a:solidFill>
                  <a:prstDash val="solid"/>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pt-BR" sz="1400" kern="0" noProof="1">
                    <a:solidFill>
                      <a:sysClr val="windowText" lastClr="000000"/>
                    </a:solidFill>
                    <a:latin typeface="Graphik" panose="020B0503030202060203" pitchFamily="34" charset="77"/>
                    <a:cs typeface="Graphik" pitchFamily="34" charset="0"/>
                  </a:endParaRPr>
                </a:p>
              </p:txBody>
            </p:sp>
            <p:sp>
              <p:nvSpPr>
                <p:cNvPr id="80" name="Arc 79">
                  <a:extLst>
                    <a:ext uri="{FF2B5EF4-FFF2-40B4-BE49-F238E27FC236}">
                      <a16:creationId xmlns:a16="http://schemas.microsoft.com/office/drawing/2014/main" id="{26A26068-2566-4443-B1A6-F7C428B0C3A5}"/>
                    </a:ext>
                  </a:extLst>
                </p:cNvPr>
                <p:cNvSpPr/>
                <p:nvPr/>
              </p:nvSpPr>
              <p:spPr bwMode="auto">
                <a:xfrm>
                  <a:off x="3314238" y="4564235"/>
                  <a:ext cx="293238" cy="293238"/>
                </a:xfrm>
                <a:prstGeom prst="arc">
                  <a:avLst>
                    <a:gd name="adj1" fmla="val 16200000"/>
                    <a:gd name="adj2" fmla="val 10800000"/>
                  </a:avLst>
                </a:prstGeom>
                <a:solidFill>
                  <a:srgbClr val="A57AFF"/>
                </a:solidFill>
                <a:ln w="12700">
                  <a:solidFill>
                    <a:srgbClr val="A57AFF"/>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sz="1400" noProof="1">
                    <a:latin typeface="Graphik" panose="020B0503030202060203" pitchFamily="34" charset="77"/>
                  </a:endParaRPr>
                </a:p>
              </p:txBody>
            </p:sp>
          </p:grpSp>
          <p:grpSp>
            <p:nvGrpSpPr>
              <p:cNvPr id="81" name="Group 80">
                <a:extLst>
                  <a:ext uri="{FF2B5EF4-FFF2-40B4-BE49-F238E27FC236}">
                    <a16:creationId xmlns:a16="http://schemas.microsoft.com/office/drawing/2014/main" id="{265EC409-75B7-4A3E-9286-369ED15F289C}"/>
                  </a:ext>
                </a:extLst>
              </p:cNvPr>
              <p:cNvGrpSpPr/>
              <p:nvPr/>
            </p:nvGrpSpPr>
            <p:grpSpPr>
              <a:xfrm>
                <a:off x="3374424" y="5765136"/>
                <a:ext cx="1249958" cy="293238"/>
                <a:chOff x="3314238" y="5765136"/>
                <a:chExt cx="1249958" cy="293238"/>
              </a:xfrm>
            </p:grpSpPr>
            <p:sp>
              <p:nvSpPr>
                <p:cNvPr id="82" name="Rectangle 73">
                  <a:extLst>
                    <a:ext uri="{FF2B5EF4-FFF2-40B4-BE49-F238E27FC236}">
                      <a16:creationId xmlns:a16="http://schemas.microsoft.com/office/drawing/2014/main" id="{CB38F09A-72A2-45C7-B921-CA847955A148}"/>
                    </a:ext>
                  </a:extLst>
                </p:cNvPr>
                <p:cNvSpPr>
                  <a:spLocks noChangeAspect="1" noChangeArrowheads="1"/>
                </p:cNvSpPr>
                <p:nvPr/>
              </p:nvSpPr>
              <p:spPr bwMode="auto">
                <a:xfrm>
                  <a:off x="3822005" y="5804032"/>
                  <a:ext cx="742191" cy="215444"/>
                </a:xfrm>
                <a:prstGeom prst="rect">
                  <a:avLst/>
                </a:prstGeom>
                <a:noFill/>
                <a:ln w="6350">
                  <a:noFill/>
                  <a:miter lim="800000"/>
                  <a:headEnd/>
                  <a:tailEnd/>
                </a:ln>
                <a:effectLst/>
              </p:spPr>
              <p:txBody>
                <a:bodyPr wrap="none" lIns="0" tIns="0" rIns="0" bIns="0" anchor="ctr">
                  <a:spAutoFit/>
                </a:bodyPr>
                <a:lstStyle/>
                <a:p>
                  <a:pPr algn="l" eaLnBrk="0" hangingPunct="0">
                    <a:spcBef>
                      <a:spcPct val="0"/>
                    </a:spcBef>
                  </a:pPr>
                  <a:r>
                    <a:rPr lang="pt-BR" sz="1400" noProof="1">
                      <a:latin typeface="Graphik" panose="020B0503030202060203" pitchFamily="34" charset="77"/>
                    </a:rPr>
                    <a:t>Very low</a:t>
                  </a:r>
                </a:p>
              </p:txBody>
            </p:sp>
            <p:sp>
              <p:nvSpPr>
                <p:cNvPr id="83" name="Oval 82">
                  <a:extLst>
                    <a:ext uri="{FF2B5EF4-FFF2-40B4-BE49-F238E27FC236}">
                      <a16:creationId xmlns:a16="http://schemas.microsoft.com/office/drawing/2014/main" id="{B73715A7-815D-454F-A2A4-31B76228F460}"/>
                    </a:ext>
                  </a:extLst>
                </p:cNvPr>
                <p:cNvSpPr/>
                <p:nvPr/>
              </p:nvSpPr>
              <p:spPr bwMode="auto">
                <a:xfrm>
                  <a:off x="3314238" y="5765136"/>
                  <a:ext cx="293238" cy="293238"/>
                </a:xfrm>
                <a:prstGeom prst="ellipse">
                  <a:avLst/>
                </a:prstGeom>
                <a:solidFill>
                  <a:schemeClr val="bg1"/>
                </a:solidFill>
                <a:ln w="6350" cmpd="sng">
                  <a:solidFill>
                    <a:srgbClr val="A57AFF"/>
                  </a:solidFill>
                  <a:prstDash val="solid"/>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pt-BR" sz="1400" kern="0" noProof="1">
                    <a:solidFill>
                      <a:sysClr val="windowText" lastClr="000000"/>
                    </a:solidFill>
                    <a:latin typeface="Graphik" panose="020B0503030202060203" pitchFamily="34" charset="77"/>
                    <a:cs typeface="Graphik" pitchFamily="34" charset="0"/>
                  </a:endParaRPr>
                </a:p>
              </p:txBody>
            </p:sp>
          </p:grpSp>
          <p:grpSp>
            <p:nvGrpSpPr>
              <p:cNvPr id="84" name="Group 83">
                <a:extLst>
                  <a:ext uri="{FF2B5EF4-FFF2-40B4-BE49-F238E27FC236}">
                    <a16:creationId xmlns:a16="http://schemas.microsoft.com/office/drawing/2014/main" id="{E69132AD-447F-4CBE-9E83-4F5F83A753AD}"/>
                  </a:ext>
                </a:extLst>
              </p:cNvPr>
              <p:cNvGrpSpPr/>
              <p:nvPr/>
            </p:nvGrpSpPr>
            <p:grpSpPr>
              <a:xfrm>
                <a:off x="3374424" y="4163935"/>
                <a:ext cx="1328504" cy="293238"/>
                <a:chOff x="3314238" y="4163935"/>
                <a:chExt cx="1328504" cy="293238"/>
              </a:xfrm>
            </p:grpSpPr>
            <p:sp>
              <p:nvSpPr>
                <p:cNvPr id="85" name="Rectangle 81">
                  <a:extLst>
                    <a:ext uri="{FF2B5EF4-FFF2-40B4-BE49-F238E27FC236}">
                      <a16:creationId xmlns:a16="http://schemas.microsoft.com/office/drawing/2014/main" id="{7F994218-D7A7-4E2D-B69A-C0449322F516}"/>
                    </a:ext>
                  </a:extLst>
                </p:cNvPr>
                <p:cNvSpPr>
                  <a:spLocks noChangeAspect="1" noChangeArrowheads="1"/>
                </p:cNvSpPr>
                <p:nvPr/>
              </p:nvSpPr>
              <p:spPr bwMode="auto">
                <a:xfrm>
                  <a:off x="3822003" y="4202831"/>
                  <a:ext cx="820739" cy="215444"/>
                </a:xfrm>
                <a:prstGeom prst="rect">
                  <a:avLst/>
                </a:prstGeom>
                <a:noFill/>
                <a:ln w="6350">
                  <a:noFill/>
                  <a:miter lim="800000"/>
                  <a:headEnd/>
                  <a:tailEnd/>
                </a:ln>
                <a:effectLst/>
              </p:spPr>
              <p:txBody>
                <a:bodyPr wrap="none" lIns="0" tIns="0" rIns="0" bIns="0" anchor="ctr">
                  <a:spAutoFit/>
                </a:bodyPr>
                <a:lstStyle/>
                <a:p>
                  <a:pPr algn="l" eaLnBrk="0" hangingPunct="0">
                    <a:spcBef>
                      <a:spcPct val="0"/>
                    </a:spcBef>
                  </a:pPr>
                  <a:r>
                    <a:rPr lang="pt-BR" sz="1400" noProof="1">
                      <a:latin typeface="Graphik" panose="020B0503030202060203" pitchFamily="34" charset="77"/>
                    </a:rPr>
                    <a:t>Very high</a:t>
                  </a:r>
                </a:p>
              </p:txBody>
            </p:sp>
            <p:grpSp>
              <p:nvGrpSpPr>
                <p:cNvPr id="86" name="Group 85">
                  <a:extLst>
                    <a:ext uri="{FF2B5EF4-FFF2-40B4-BE49-F238E27FC236}">
                      <a16:creationId xmlns:a16="http://schemas.microsoft.com/office/drawing/2014/main" id="{63FC1FCB-F0DF-4D8A-BB70-C693DCBC9B22}"/>
                    </a:ext>
                  </a:extLst>
                </p:cNvPr>
                <p:cNvGrpSpPr>
                  <a:grpSpLocks noChangeAspect="1"/>
                </p:cNvGrpSpPr>
                <p:nvPr/>
              </p:nvGrpSpPr>
              <p:grpSpPr bwMode="auto">
                <a:xfrm>
                  <a:off x="3314238" y="4163935"/>
                  <a:ext cx="293238" cy="293238"/>
                  <a:chOff x="4465638" y="3322638"/>
                  <a:chExt cx="212725" cy="212725"/>
                </a:xfrm>
              </p:grpSpPr>
              <p:sp>
                <p:nvSpPr>
                  <p:cNvPr id="87" name="Oval 86">
                    <a:extLst>
                      <a:ext uri="{FF2B5EF4-FFF2-40B4-BE49-F238E27FC236}">
                        <a16:creationId xmlns:a16="http://schemas.microsoft.com/office/drawing/2014/main" id="{A7706A92-1669-40A7-AD54-F298CB4BA507}"/>
                      </a:ext>
                    </a:extLst>
                  </p:cNvPr>
                  <p:cNvSpPr/>
                  <p:nvPr/>
                </p:nvSpPr>
                <p:spPr bwMode="auto">
                  <a:xfrm>
                    <a:off x="4465638" y="3322638"/>
                    <a:ext cx="212725" cy="212725"/>
                  </a:xfrm>
                  <a:prstGeom prst="ellipse">
                    <a:avLst/>
                  </a:prstGeom>
                  <a:solidFill>
                    <a:schemeClr val="bg1"/>
                  </a:solidFill>
                  <a:ln w="6350" cmpd="sng">
                    <a:solidFill>
                      <a:schemeClr val="accent2"/>
                    </a:solidFill>
                    <a:prstDash val="solid"/>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pt-BR" sz="1400" kern="0" noProof="1">
                      <a:solidFill>
                        <a:sysClr val="windowText" lastClr="000000"/>
                      </a:solidFill>
                      <a:latin typeface="Graphik" panose="020B0503030202060203" pitchFamily="34" charset="77"/>
                      <a:cs typeface="Graphik" pitchFamily="34" charset="0"/>
                    </a:endParaRPr>
                  </a:p>
                </p:txBody>
              </p:sp>
              <p:sp>
                <p:nvSpPr>
                  <p:cNvPr id="88" name="Arc 87">
                    <a:extLst>
                      <a:ext uri="{FF2B5EF4-FFF2-40B4-BE49-F238E27FC236}">
                        <a16:creationId xmlns:a16="http://schemas.microsoft.com/office/drawing/2014/main" id="{0665C66D-01E8-48DD-8467-05030AF7593F}"/>
                      </a:ext>
                    </a:extLst>
                  </p:cNvPr>
                  <p:cNvSpPr/>
                  <p:nvPr/>
                </p:nvSpPr>
                <p:spPr bwMode="auto">
                  <a:xfrm>
                    <a:off x="4465638" y="3322638"/>
                    <a:ext cx="212725" cy="212725"/>
                  </a:xfrm>
                  <a:prstGeom prst="arc">
                    <a:avLst>
                      <a:gd name="adj1" fmla="val 16200000"/>
                      <a:gd name="adj2" fmla="val 16200000"/>
                    </a:avLst>
                  </a:prstGeom>
                  <a:solidFill>
                    <a:srgbClr val="A57AFF"/>
                  </a:solidFill>
                  <a:ln w="12700">
                    <a:solidFill>
                      <a:srgbClr val="A57AFF"/>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sz="1400" noProof="1">
                      <a:latin typeface="Graphik" panose="020B0503030202060203" pitchFamily="34" charset="77"/>
                    </a:endParaRPr>
                  </a:p>
                </p:txBody>
              </p:sp>
            </p:grpSp>
          </p:grpSp>
          <p:grpSp>
            <p:nvGrpSpPr>
              <p:cNvPr id="89" name="Group 88">
                <a:extLst>
                  <a:ext uri="{FF2B5EF4-FFF2-40B4-BE49-F238E27FC236}">
                    <a16:creationId xmlns:a16="http://schemas.microsoft.com/office/drawing/2014/main" id="{915202A2-A281-4D50-9B35-28CB5B0AFE56}"/>
                  </a:ext>
                </a:extLst>
              </p:cNvPr>
              <p:cNvGrpSpPr/>
              <p:nvPr/>
            </p:nvGrpSpPr>
            <p:grpSpPr>
              <a:xfrm>
                <a:off x="3374424" y="4964535"/>
                <a:ext cx="1205074" cy="293238"/>
                <a:chOff x="3314238" y="4964535"/>
                <a:chExt cx="1205074" cy="293238"/>
              </a:xfrm>
            </p:grpSpPr>
            <p:sp>
              <p:nvSpPr>
                <p:cNvPr id="90" name="Rectangle 63">
                  <a:extLst>
                    <a:ext uri="{FF2B5EF4-FFF2-40B4-BE49-F238E27FC236}">
                      <a16:creationId xmlns:a16="http://schemas.microsoft.com/office/drawing/2014/main" id="{1B406DA3-F177-4F74-B3AE-430D30E035F2}"/>
                    </a:ext>
                  </a:extLst>
                </p:cNvPr>
                <p:cNvSpPr>
                  <a:spLocks noChangeAspect="1" noChangeArrowheads="1"/>
                </p:cNvSpPr>
                <p:nvPr/>
              </p:nvSpPr>
              <p:spPr bwMode="auto">
                <a:xfrm>
                  <a:off x="3822005" y="5003431"/>
                  <a:ext cx="697307" cy="215444"/>
                </a:xfrm>
                <a:prstGeom prst="rect">
                  <a:avLst/>
                </a:prstGeom>
                <a:noFill/>
                <a:ln w="6350">
                  <a:noFill/>
                  <a:miter lim="800000"/>
                  <a:headEnd/>
                  <a:tailEnd/>
                </a:ln>
                <a:effectLst/>
              </p:spPr>
              <p:txBody>
                <a:bodyPr wrap="none" lIns="0" tIns="0" rIns="0" bIns="0" anchor="ctr">
                  <a:spAutoFit/>
                </a:bodyPr>
                <a:lstStyle/>
                <a:p>
                  <a:pPr algn="l" eaLnBrk="0" hangingPunct="0">
                    <a:spcBef>
                      <a:spcPct val="0"/>
                    </a:spcBef>
                  </a:pPr>
                  <a:r>
                    <a:rPr lang="pt-BR" sz="1400" noProof="1">
                      <a:latin typeface="Graphik" panose="020B0503030202060203" pitchFamily="34" charset="77"/>
                    </a:rPr>
                    <a:t>Medium</a:t>
                  </a:r>
                </a:p>
              </p:txBody>
            </p:sp>
            <p:sp>
              <p:nvSpPr>
                <p:cNvPr id="91" name="Oval 90">
                  <a:extLst>
                    <a:ext uri="{FF2B5EF4-FFF2-40B4-BE49-F238E27FC236}">
                      <a16:creationId xmlns:a16="http://schemas.microsoft.com/office/drawing/2014/main" id="{D06EBBED-B16E-422B-8021-412CF453681C}"/>
                    </a:ext>
                  </a:extLst>
                </p:cNvPr>
                <p:cNvSpPr/>
                <p:nvPr/>
              </p:nvSpPr>
              <p:spPr bwMode="auto">
                <a:xfrm>
                  <a:off x="3314238" y="4964535"/>
                  <a:ext cx="293238" cy="293238"/>
                </a:xfrm>
                <a:prstGeom prst="ellipse">
                  <a:avLst/>
                </a:prstGeom>
                <a:solidFill>
                  <a:schemeClr val="bg1"/>
                </a:solidFill>
                <a:ln w="6350" cmpd="sng">
                  <a:solidFill>
                    <a:srgbClr val="A57AFF"/>
                  </a:solidFill>
                  <a:prstDash val="solid"/>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pt-BR" sz="1400" kern="0" noProof="1">
                    <a:solidFill>
                      <a:sysClr val="windowText" lastClr="000000"/>
                    </a:solidFill>
                    <a:latin typeface="Graphik" panose="020B0503030202060203" pitchFamily="34" charset="77"/>
                    <a:cs typeface="Graphik" pitchFamily="34" charset="0"/>
                  </a:endParaRPr>
                </a:p>
              </p:txBody>
            </p:sp>
            <p:sp>
              <p:nvSpPr>
                <p:cNvPr id="92" name="Arc 91">
                  <a:extLst>
                    <a:ext uri="{FF2B5EF4-FFF2-40B4-BE49-F238E27FC236}">
                      <a16:creationId xmlns:a16="http://schemas.microsoft.com/office/drawing/2014/main" id="{D8DEC7C1-E51D-4A9B-A3D4-8C87041F3B50}"/>
                    </a:ext>
                  </a:extLst>
                </p:cNvPr>
                <p:cNvSpPr/>
                <p:nvPr/>
              </p:nvSpPr>
              <p:spPr bwMode="auto">
                <a:xfrm>
                  <a:off x="3314238" y="4964535"/>
                  <a:ext cx="293238" cy="293238"/>
                </a:xfrm>
                <a:prstGeom prst="arc">
                  <a:avLst>
                    <a:gd name="adj1" fmla="val 16200000"/>
                    <a:gd name="adj2" fmla="val 5400000"/>
                  </a:avLst>
                </a:prstGeom>
                <a:solidFill>
                  <a:srgbClr val="A57AFF"/>
                </a:solidFill>
                <a:ln w="12700">
                  <a:no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sz="1400" noProof="1">
                    <a:latin typeface="Graphik" panose="020B0503030202060203" pitchFamily="34" charset="77"/>
                  </a:endParaRPr>
                </a:p>
              </p:txBody>
            </p:sp>
          </p:grpSp>
          <p:grpSp>
            <p:nvGrpSpPr>
              <p:cNvPr id="93" name="Group 92">
                <a:extLst>
                  <a:ext uri="{FF2B5EF4-FFF2-40B4-BE49-F238E27FC236}">
                    <a16:creationId xmlns:a16="http://schemas.microsoft.com/office/drawing/2014/main" id="{B1490169-E27E-4B12-8A21-E1413A31349F}"/>
                  </a:ext>
                </a:extLst>
              </p:cNvPr>
              <p:cNvGrpSpPr/>
              <p:nvPr/>
            </p:nvGrpSpPr>
            <p:grpSpPr>
              <a:xfrm>
                <a:off x="3374424" y="5364835"/>
                <a:ext cx="860427" cy="293238"/>
                <a:chOff x="3314238" y="5364835"/>
                <a:chExt cx="860427" cy="293238"/>
              </a:xfrm>
            </p:grpSpPr>
            <p:sp>
              <p:nvSpPr>
                <p:cNvPr id="94" name="Rectangle 76">
                  <a:extLst>
                    <a:ext uri="{FF2B5EF4-FFF2-40B4-BE49-F238E27FC236}">
                      <a16:creationId xmlns:a16="http://schemas.microsoft.com/office/drawing/2014/main" id="{D42C0615-951E-4A41-9BF5-1D5A380B2DC2}"/>
                    </a:ext>
                  </a:extLst>
                </p:cNvPr>
                <p:cNvSpPr>
                  <a:spLocks noChangeAspect="1" noChangeArrowheads="1"/>
                </p:cNvSpPr>
                <p:nvPr/>
              </p:nvSpPr>
              <p:spPr bwMode="auto">
                <a:xfrm>
                  <a:off x="3822004" y="5403731"/>
                  <a:ext cx="352661" cy="215444"/>
                </a:xfrm>
                <a:prstGeom prst="rect">
                  <a:avLst/>
                </a:prstGeom>
                <a:noFill/>
                <a:ln w="6350">
                  <a:noFill/>
                  <a:miter lim="800000"/>
                  <a:headEnd/>
                  <a:tailEnd/>
                </a:ln>
                <a:effectLst/>
              </p:spPr>
              <p:txBody>
                <a:bodyPr wrap="none" lIns="0" tIns="0" rIns="0" bIns="0" anchor="ctr">
                  <a:spAutoFit/>
                </a:bodyPr>
                <a:lstStyle/>
                <a:p>
                  <a:pPr algn="l" eaLnBrk="0" hangingPunct="0">
                    <a:spcBef>
                      <a:spcPct val="0"/>
                    </a:spcBef>
                  </a:pPr>
                  <a:r>
                    <a:rPr lang="pt-BR" sz="1400" noProof="1">
                      <a:latin typeface="Graphik" panose="020B0503030202060203" pitchFamily="34" charset="77"/>
                    </a:rPr>
                    <a:t>Low</a:t>
                  </a:r>
                </a:p>
              </p:txBody>
            </p:sp>
            <p:sp>
              <p:nvSpPr>
                <p:cNvPr id="95" name="Oval 94">
                  <a:extLst>
                    <a:ext uri="{FF2B5EF4-FFF2-40B4-BE49-F238E27FC236}">
                      <a16:creationId xmlns:a16="http://schemas.microsoft.com/office/drawing/2014/main" id="{D73F8BC1-FD49-46A2-868E-2460A6DEE8F4}"/>
                    </a:ext>
                  </a:extLst>
                </p:cNvPr>
                <p:cNvSpPr/>
                <p:nvPr/>
              </p:nvSpPr>
              <p:spPr bwMode="auto">
                <a:xfrm>
                  <a:off x="3314238" y="5364835"/>
                  <a:ext cx="293238" cy="293238"/>
                </a:xfrm>
                <a:prstGeom prst="ellipse">
                  <a:avLst/>
                </a:prstGeom>
                <a:solidFill>
                  <a:schemeClr val="bg1"/>
                </a:solidFill>
                <a:ln w="6350" cmpd="sng">
                  <a:solidFill>
                    <a:srgbClr val="A57AFF"/>
                  </a:solidFill>
                  <a:prstDash val="solid"/>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pt-BR" sz="1400" kern="0" noProof="1">
                    <a:solidFill>
                      <a:sysClr val="windowText" lastClr="000000"/>
                    </a:solidFill>
                    <a:latin typeface="Graphik" panose="020B0503030202060203" pitchFamily="34" charset="77"/>
                    <a:cs typeface="Graphik" pitchFamily="34" charset="0"/>
                  </a:endParaRPr>
                </a:p>
              </p:txBody>
            </p:sp>
            <p:sp>
              <p:nvSpPr>
                <p:cNvPr id="96" name="Arc 95">
                  <a:extLst>
                    <a:ext uri="{FF2B5EF4-FFF2-40B4-BE49-F238E27FC236}">
                      <a16:creationId xmlns:a16="http://schemas.microsoft.com/office/drawing/2014/main" id="{0648516F-DF46-4768-A3DC-FA78BF2AB330}"/>
                    </a:ext>
                  </a:extLst>
                </p:cNvPr>
                <p:cNvSpPr/>
                <p:nvPr/>
              </p:nvSpPr>
              <p:spPr bwMode="auto">
                <a:xfrm>
                  <a:off x="3314238" y="5364835"/>
                  <a:ext cx="293238" cy="293238"/>
                </a:xfrm>
                <a:prstGeom prst="arc">
                  <a:avLst/>
                </a:prstGeom>
                <a:solidFill>
                  <a:srgbClr val="A57AFF"/>
                </a:solidFill>
                <a:ln w="12700">
                  <a:no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sz="1400" noProof="1">
                    <a:latin typeface="Graphik" panose="020B0503030202060203" pitchFamily="34" charset="77"/>
                  </a:endParaRPr>
                </a:p>
              </p:txBody>
            </p:sp>
          </p:grpSp>
        </p:grpSp>
      </p:grpSp>
    </p:spTree>
    <p:extLst>
      <p:ext uri="{BB962C8B-B14F-4D97-AF65-F5344CB8AC3E}">
        <p14:creationId xmlns:p14="http://schemas.microsoft.com/office/powerpoint/2010/main" val="2796007181"/>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CDA1681-E249-2089-9B1A-D258068558C1}"/>
              </a:ext>
            </a:extLst>
          </p:cNvPr>
          <p:cNvGraphicFramePr>
            <a:graphicFrameLocks noChangeAspect="1"/>
          </p:cNvGraphicFramePr>
          <p:nvPr>
            <p:custDataLst>
              <p:tags r:id="rId1"/>
            </p:custDataLst>
            <p:extLst>
              <p:ext uri="{D42A27DB-BD31-4B8C-83A1-F6EECF244321}">
                <p14:modId xmlns:p14="http://schemas.microsoft.com/office/powerpoint/2010/main" val="2292937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3" name="think-cell data - do not delete" hidden="1">
                        <a:extLst>
                          <a:ext uri="{FF2B5EF4-FFF2-40B4-BE49-F238E27FC236}">
                            <a16:creationId xmlns:a16="http://schemas.microsoft.com/office/drawing/2014/main" id="{3CDA1681-E249-2089-9B1A-D258068558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8C86DCA-E252-45B6-8790-F0CA74EA47D8}"/>
              </a:ext>
            </a:extLst>
          </p:cNvPr>
          <p:cNvSpPr>
            <a:spLocks noGrp="1"/>
          </p:cNvSpPr>
          <p:nvPr>
            <p:ph type="title"/>
          </p:nvPr>
        </p:nvSpPr>
        <p:spPr>
          <a:xfrm>
            <a:off x="1191348" y="3429000"/>
            <a:ext cx="5190523" cy="984885"/>
          </a:xfrm>
        </p:spPr>
        <p:txBody>
          <a:bodyPr vert="horz"/>
          <a:lstStyle/>
          <a:p>
            <a:r>
              <a:rPr lang="pt-BR" noProof="1">
                <a:latin typeface="Graphik Semibold" panose="020B0703030202060203" pitchFamily="34" charset="0"/>
              </a:rPr>
              <a:t>Thank you</a:t>
            </a:r>
          </a:p>
        </p:txBody>
      </p:sp>
    </p:spTree>
    <p:extLst>
      <p:ext uri="{BB962C8B-B14F-4D97-AF65-F5344CB8AC3E}">
        <p14:creationId xmlns:p14="http://schemas.microsoft.com/office/powerpoint/2010/main" val="15839316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9BCC5A-B34C-03B8-FD80-966D6E824F6A}"/>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7682B6E-5601-FEEF-6644-6282EA12B093}"/>
              </a:ext>
            </a:extLst>
          </p:cNvPr>
          <p:cNvGraphicFramePr>
            <a:graphicFrameLocks noChangeAspect="1"/>
          </p:cNvGraphicFramePr>
          <p:nvPr>
            <p:custDataLst>
              <p:tags r:id="rId1"/>
            </p:custDataLst>
            <p:extLst>
              <p:ext uri="{D42A27DB-BD31-4B8C-83A1-F6EECF244321}">
                <p14:modId xmlns:p14="http://schemas.microsoft.com/office/powerpoint/2010/main" val="474976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3" name="think-cell data - do not delete" hidden="1">
                        <a:extLst>
                          <a:ext uri="{FF2B5EF4-FFF2-40B4-BE49-F238E27FC236}">
                            <a16:creationId xmlns:a16="http://schemas.microsoft.com/office/drawing/2014/main" id="{67682B6E-5601-FEEF-6644-6282EA12B0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14">
            <a:extLst>
              <a:ext uri="{FF2B5EF4-FFF2-40B4-BE49-F238E27FC236}">
                <a16:creationId xmlns:a16="http://schemas.microsoft.com/office/drawing/2014/main" id="{30F25435-6701-93C4-B4CF-3AB186712E2E}"/>
              </a:ext>
            </a:extLst>
          </p:cNvPr>
          <p:cNvSpPr>
            <a:spLocks noGrp="1"/>
          </p:cNvSpPr>
          <p:nvPr>
            <p:ph type="title"/>
          </p:nvPr>
        </p:nvSpPr>
        <p:spPr>
          <a:xfrm>
            <a:off x="563410" y="558086"/>
            <a:ext cx="9398470" cy="787908"/>
          </a:xfrm>
        </p:spPr>
        <p:txBody>
          <a:bodyPr vert="horz"/>
          <a:lstStyle/>
          <a:p>
            <a:r>
              <a:rPr lang="pt-BR" b="1" noProof="1"/>
              <a:t>Evolução Histórica do Machine Learning e Deep Learning</a:t>
            </a:r>
            <a:endParaRPr lang="pt-BR" noProof="1"/>
          </a:p>
        </p:txBody>
      </p:sp>
      <p:sp>
        <p:nvSpPr>
          <p:cNvPr id="22" name="Text Placeholder 21">
            <a:extLst>
              <a:ext uri="{FF2B5EF4-FFF2-40B4-BE49-F238E27FC236}">
                <a16:creationId xmlns:a16="http://schemas.microsoft.com/office/drawing/2014/main" id="{D4DB7F20-86FC-7516-1ABA-6DD3782BAE22}"/>
              </a:ext>
            </a:extLst>
          </p:cNvPr>
          <p:cNvSpPr>
            <a:spLocks noGrp="1"/>
          </p:cNvSpPr>
          <p:nvPr>
            <p:ph type="body" sz="quarter" idx="26"/>
          </p:nvPr>
        </p:nvSpPr>
        <p:spPr>
          <a:xfrm>
            <a:off x="563410" y="1609787"/>
            <a:ext cx="6665429" cy="384048"/>
          </a:xfrm>
        </p:spPr>
        <p:txBody>
          <a:bodyPr/>
          <a:lstStyle/>
          <a:p>
            <a:r>
              <a:rPr lang="pt-BR" noProof="1">
                <a:solidFill>
                  <a:schemeClr val="bg2"/>
                </a:solidFill>
              </a:rPr>
              <a:t>Principais contribuições científicas na área das redes neurais</a:t>
            </a:r>
          </a:p>
        </p:txBody>
      </p:sp>
      <p:grpSp>
        <p:nvGrpSpPr>
          <p:cNvPr id="63" name="Group 62">
            <a:extLst>
              <a:ext uri="{FF2B5EF4-FFF2-40B4-BE49-F238E27FC236}">
                <a16:creationId xmlns:a16="http://schemas.microsoft.com/office/drawing/2014/main" id="{3B3EDE60-1B76-8589-E3D5-335D0DC8475F}"/>
              </a:ext>
            </a:extLst>
          </p:cNvPr>
          <p:cNvGrpSpPr/>
          <p:nvPr/>
        </p:nvGrpSpPr>
        <p:grpSpPr>
          <a:xfrm>
            <a:off x="4943100" y="2525284"/>
            <a:ext cx="4314790" cy="3763647"/>
            <a:chOff x="4743153" y="2525284"/>
            <a:chExt cx="4314790" cy="3763647"/>
          </a:xfrm>
        </p:grpSpPr>
        <p:sp>
          <p:nvSpPr>
            <p:cNvPr id="6" name="Text Placeholder 22">
              <a:extLst>
                <a:ext uri="{FF2B5EF4-FFF2-40B4-BE49-F238E27FC236}">
                  <a16:creationId xmlns:a16="http://schemas.microsoft.com/office/drawing/2014/main" id="{8C1A392E-1823-0DFB-2E68-6510738A57D4}"/>
                </a:ext>
              </a:extLst>
            </p:cNvPr>
            <p:cNvSpPr txBox="1">
              <a:spLocks/>
            </p:cNvSpPr>
            <p:nvPr/>
          </p:nvSpPr>
          <p:spPr>
            <a:xfrm>
              <a:off x="4743153" y="2525284"/>
              <a:ext cx="4314790" cy="734935"/>
            </a:xfrm>
            <a:prstGeom prst="rect">
              <a:avLst/>
            </a:prstGeom>
            <a:ln>
              <a:noFill/>
            </a:ln>
          </p:spPr>
          <p:txBody>
            <a:bodyPr vert="horz" lIns="0" tIns="0" rIns="0" bIns="0" rtlCol="0">
              <a:noAutofit/>
            </a:bodyPr>
            <a:lstStyle>
              <a:lvl1pPr marL="0" indent="0" algn="l" defTabSz="228594" rtl="0" eaLnBrk="1" latinLnBrk="0" hangingPunct="1">
                <a:lnSpc>
                  <a:spcPct val="100000"/>
                </a:lnSpc>
                <a:spcBef>
                  <a:spcPts val="0"/>
                </a:spcBef>
                <a:spcAft>
                  <a:spcPts val="1200"/>
                </a:spcAft>
                <a:buFont typeface="Arial" panose="020B0604020202020204" pitchFamily="34" charset="0"/>
                <a:buNone/>
                <a:defRPr lang="en-US" sz="1200" b="0" kern="1200" dirty="0" smtClean="0">
                  <a:solidFill>
                    <a:schemeClr val="tx1"/>
                  </a:solidFill>
                  <a:latin typeface="+mn-lt"/>
                  <a:ea typeface="+mn-ea"/>
                  <a:cs typeface="+mn-cs"/>
                </a:defRPr>
              </a:lvl1pPr>
              <a:lvl2pPr marL="228594" indent="-228594" algn="l" defTabSz="228594" rtl="0" eaLnBrk="1" latinLnBrk="0" hangingPunct="1">
                <a:lnSpc>
                  <a:spcPct val="100000"/>
                </a:lnSpc>
                <a:spcBef>
                  <a:spcPts val="0"/>
                </a:spcBef>
                <a:spcAft>
                  <a:spcPts val="1200"/>
                </a:spcAft>
                <a:buClrTx/>
                <a:buFont typeface="Arial" panose="020B0604020202020204" pitchFamily="34" charset="0"/>
                <a:buChar char="•"/>
                <a:defRPr lang="en-US" sz="1400" b="0" kern="1200" dirty="0" smtClean="0">
                  <a:solidFill>
                    <a:schemeClr val="tx1"/>
                  </a:solidFill>
                  <a:latin typeface="+mn-lt"/>
                  <a:ea typeface="+mn-ea"/>
                  <a:cs typeface="+mn-cs"/>
                </a:defRPr>
              </a:lvl2pPr>
              <a:lvl3pPr marL="457189" indent="-228594" algn="l" defTabSz="228594" rtl="0" eaLnBrk="1" latinLnBrk="0" hangingPunct="1">
                <a:lnSpc>
                  <a:spcPct val="100000"/>
                </a:lnSpc>
                <a:spcBef>
                  <a:spcPts val="0"/>
                </a:spcBef>
                <a:spcAft>
                  <a:spcPts val="1200"/>
                </a:spcAft>
                <a:buFont typeface="System Font"/>
                <a:buChar char="–"/>
                <a:defRPr sz="1200" kern="1200">
                  <a:solidFill>
                    <a:schemeClr val="tx1"/>
                  </a:solidFill>
                  <a:latin typeface="+mn-lt"/>
                  <a:ea typeface="+mn-ea"/>
                  <a:cs typeface="+mn-cs"/>
                </a:defRPr>
              </a:lvl3pPr>
              <a:lvl4pPr marL="685783" indent="-228594" algn="l" defTabSz="228594" rtl="0" eaLnBrk="1" latinLnBrk="0" hangingPunct="1">
                <a:lnSpc>
                  <a:spcPct val="100000"/>
                </a:lnSpc>
                <a:spcBef>
                  <a:spcPts val="0"/>
                </a:spcBef>
                <a:spcAft>
                  <a:spcPts val="1200"/>
                </a:spcAft>
                <a:buFont typeface="Arial" panose="020B0604020202020204" pitchFamily="34" charset="0"/>
                <a:buChar char="•"/>
                <a:defRPr sz="1100" kern="1200">
                  <a:solidFill>
                    <a:schemeClr val="tx1"/>
                  </a:solidFill>
                  <a:latin typeface="+mn-lt"/>
                  <a:ea typeface="+mn-ea"/>
                  <a:cs typeface="+mn-cs"/>
                </a:defRPr>
              </a:lvl4pPr>
              <a:lvl5pPr marL="914377" indent="-228594" algn="l" defTabSz="228594" rtl="0" eaLnBrk="1" latinLnBrk="0" hangingPunct="1">
                <a:lnSpc>
                  <a:spcPct val="100000"/>
                </a:lnSpc>
                <a:spcBef>
                  <a:spcPts val="0"/>
                </a:spcBef>
                <a:spcAft>
                  <a:spcPts val="1200"/>
                </a:spcAft>
                <a:buFont typeface="System Font"/>
                <a:buChar char="–"/>
                <a:defRPr sz="1100" kern="1200">
                  <a:solidFill>
                    <a:schemeClr val="tx1"/>
                  </a:solidFill>
                  <a:latin typeface="+mn-lt"/>
                  <a:ea typeface="+mn-ea"/>
                  <a:cs typeface="+mn-cs"/>
                </a:defRPr>
              </a:lvl5pPr>
              <a:lvl6pPr marL="11113" indent="0" algn="l" defTabSz="228594" rtl="0" eaLnBrk="1" latinLnBrk="0" hangingPunct="1">
                <a:lnSpc>
                  <a:spcPct val="90000"/>
                </a:lnSpc>
                <a:spcBef>
                  <a:spcPts val="0"/>
                </a:spcBef>
                <a:spcAft>
                  <a:spcPts val="1200"/>
                </a:spcAft>
                <a:buFont typeface="Graphik" panose="020B0503030202060203" pitchFamily="34" charset="0"/>
                <a:buNone/>
                <a:tabLst/>
                <a:defRPr sz="1200" kern="1200">
                  <a:solidFill>
                    <a:schemeClr val="tx1"/>
                  </a:solidFill>
                  <a:latin typeface="+mn-lt"/>
                  <a:ea typeface="+mn-ea"/>
                  <a:cs typeface="+mn-cs"/>
                </a:defRPr>
              </a:lvl6pPr>
              <a:lvl7pPr marL="0" indent="0" algn="l" defTabSz="22859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mn-lt"/>
                  <a:ea typeface="+mn-ea"/>
                  <a:cs typeface="+mn-cs"/>
                </a:defRPr>
              </a:lvl7pPr>
              <a:lvl8pPr marL="0" indent="0" algn="l" defTabSz="22859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mn-lt"/>
                  <a:ea typeface="+mn-ea"/>
                  <a:cs typeface="+mn-cs"/>
                </a:defRPr>
              </a:lvl8pPr>
              <a:lvl9pPr marL="0" indent="0" algn="l" defTabSz="22859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mn-lt"/>
                  <a:ea typeface="+mn-ea"/>
                  <a:cs typeface="+mn-cs"/>
                </a:defRPr>
              </a:lvl9pPr>
            </a:lstStyle>
            <a:p>
              <a:r>
                <a:rPr lang="pt-BR" noProof="1"/>
                <a:t>Introduziu o Perceptron, o primeiro modelo treinável de rede neural artificial. Estabeleceu a ideia de aprendizado ajustando pesos para classificar padrões – o início das redes neurais modernas.</a:t>
              </a:r>
            </a:p>
          </p:txBody>
        </p:sp>
        <p:sp>
          <p:nvSpPr>
            <p:cNvPr id="7" name="Text Placeholder 25">
              <a:extLst>
                <a:ext uri="{FF2B5EF4-FFF2-40B4-BE49-F238E27FC236}">
                  <a16:creationId xmlns:a16="http://schemas.microsoft.com/office/drawing/2014/main" id="{E6A421C7-8810-A41F-BBA4-225DEED2D7FE}"/>
                </a:ext>
              </a:extLst>
            </p:cNvPr>
            <p:cNvSpPr txBox="1">
              <a:spLocks/>
            </p:cNvSpPr>
            <p:nvPr/>
          </p:nvSpPr>
          <p:spPr>
            <a:xfrm>
              <a:off x="4743153" y="3538534"/>
              <a:ext cx="4314790" cy="734935"/>
            </a:xfrm>
            <a:prstGeom prst="rect">
              <a:avLst/>
            </a:prstGeom>
            <a:ln>
              <a:noFill/>
            </a:ln>
          </p:spPr>
          <p:txBody>
            <a:bodyPr vert="horz" lIns="0" tIns="0" rIns="0" bIns="0" rtlCol="0">
              <a:noAutofit/>
            </a:bodyPr>
            <a:lstStyle>
              <a:lvl1pPr marL="0" indent="0" algn="l" defTabSz="228594" rtl="0" eaLnBrk="1" latinLnBrk="0" hangingPunct="1">
                <a:lnSpc>
                  <a:spcPct val="100000"/>
                </a:lnSpc>
                <a:spcBef>
                  <a:spcPts val="0"/>
                </a:spcBef>
                <a:spcAft>
                  <a:spcPts val="1200"/>
                </a:spcAft>
                <a:buFont typeface="Arial" panose="020B0604020202020204" pitchFamily="34" charset="0"/>
                <a:buNone/>
                <a:defRPr lang="en-US" sz="1200" b="0" kern="1200" dirty="0" smtClean="0">
                  <a:solidFill>
                    <a:schemeClr val="tx1"/>
                  </a:solidFill>
                  <a:latin typeface="+mn-lt"/>
                  <a:ea typeface="+mn-ea"/>
                  <a:cs typeface="+mn-cs"/>
                </a:defRPr>
              </a:lvl1pPr>
              <a:lvl2pPr marL="228594" indent="-228594" algn="l" defTabSz="228594" rtl="0" eaLnBrk="1" latinLnBrk="0" hangingPunct="1">
                <a:lnSpc>
                  <a:spcPct val="100000"/>
                </a:lnSpc>
                <a:spcBef>
                  <a:spcPts val="0"/>
                </a:spcBef>
                <a:spcAft>
                  <a:spcPts val="1200"/>
                </a:spcAft>
                <a:buClrTx/>
                <a:buFont typeface="Arial" panose="020B0604020202020204" pitchFamily="34" charset="0"/>
                <a:buChar char="•"/>
                <a:defRPr lang="en-US" sz="1400" b="0" kern="1200" dirty="0" smtClean="0">
                  <a:solidFill>
                    <a:schemeClr val="tx1"/>
                  </a:solidFill>
                  <a:latin typeface="+mn-lt"/>
                  <a:ea typeface="+mn-ea"/>
                  <a:cs typeface="+mn-cs"/>
                </a:defRPr>
              </a:lvl2pPr>
              <a:lvl3pPr marL="457189" indent="-228594" algn="l" defTabSz="228594" rtl="0" eaLnBrk="1" latinLnBrk="0" hangingPunct="1">
                <a:lnSpc>
                  <a:spcPct val="100000"/>
                </a:lnSpc>
                <a:spcBef>
                  <a:spcPts val="0"/>
                </a:spcBef>
                <a:spcAft>
                  <a:spcPts val="1200"/>
                </a:spcAft>
                <a:buFont typeface="System Font"/>
                <a:buChar char="–"/>
                <a:defRPr sz="1200" kern="1200">
                  <a:solidFill>
                    <a:schemeClr val="tx1"/>
                  </a:solidFill>
                  <a:latin typeface="+mn-lt"/>
                  <a:ea typeface="+mn-ea"/>
                  <a:cs typeface="+mn-cs"/>
                </a:defRPr>
              </a:lvl3pPr>
              <a:lvl4pPr marL="685783" indent="-228594" algn="l" defTabSz="228594" rtl="0" eaLnBrk="1" latinLnBrk="0" hangingPunct="1">
                <a:lnSpc>
                  <a:spcPct val="100000"/>
                </a:lnSpc>
                <a:spcBef>
                  <a:spcPts val="0"/>
                </a:spcBef>
                <a:spcAft>
                  <a:spcPts val="1200"/>
                </a:spcAft>
                <a:buFont typeface="Arial" panose="020B0604020202020204" pitchFamily="34" charset="0"/>
                <a:buChar char="•"/>
                <a:defRPr sz="1100" kern="1200">
                  <a:solidFill>
                    <a:schemeClr val="tx1"/>
                  </a:solidFill>
                  <a:latin typeface="+mn-lt"/>
                  <a:ea typeface="+mn-ea"/>
                  <a:cs typeface="+mn-cs"/>
                </a:defRPr>
              </a:lvl4pPr>
              <a:lvl5pPr marL="914377" indent="-228594" algn="l" defTabSz="228594" rtl="0" eaLnBrk="1" latinLnBrk="0" hangingPunct="1">
                <a:lnSpc>
                  <a:spcPct val="100000"/>
                </a:lnSpc>
                <a:spcBef>
                  <a:spcPts val="0"/>
                </a:spcBef>
                <a:spcAft>
                  <a:spcPts val="1200"/>
                </a:spcAft>
                <a:buFont typeface="System Font"/>
                <a:buChar char="–"/>
                <a:defRPr sz="1100" kern="1200">
                  <a:solidFill>
                    <a:schemeClr val="tx1"/>
                  </a:solidFill>
                  <a:latin typeface="+mn-lt"/>
                  <a:ea typeface="+mn-ea"/>
                  <a:cs typeface="+mn-cs"/>
                </a:defRPr>
              </a:lvl5pPr>
              <a:lvl6pPr marL="11113" indent="0" algn="l" defTabSz="228594" rtl="0" eaLnBrk="1" latinLnBrk="0" hangingPunct="1">
                <a:lnSpc>
                  <a:spcPct val="90000"/>
                </a:lnSpc>
                <a:spcBef>
                  <a:spcPts val="0"/>
                </a:spcBef>
                <a:spcAft>
                  <a:spcPts val="1200"/>
                </a:spcAft>
                <a:buFont typeface="Graphik" panose="020B0503030202060203" pitchFamily="34" charset="0"/>
                <a:buNone/>
                <a:tabLst/>
                <a:defRPr sz="1200" kern="1200">
                  <a:solidFill>
                    <a:schemeClr val="tx1"/>
                  </a:solidFill>
                  <a:latin typeface="+mn-lt"/>
                  <a:ea typeface="+mn-ea"/>
                  <a:cs typeface="+mn-cs"/>
                </a:defRPr>
              </a:lvl6pPr>
              <a:lvl7pPr marL="0" indent="0" algn="l" defTabSz="22859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mn-lt"/>
                  <a:ea typeface="+mn-ea"/>
                  <a:cs typeface="+mn-cs"/>
                </a:defRPr>
              </a:lvl7pPr>
              <a:lvl8pPr marL="0" indent="0" algn="l" defTabSz="22859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mn-lt"/>
                  <a:ea typeface="+mn-ea"/>
                  <a:cs typeface="+mn-cs"/>
                </a:defRPr>
              </a:lvl8pPr>
              <a:lvl9pPr marL="0" indent="0" algn="l" defTabSz="22859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mn-lt"/>
                  <a:ea typeface="+mn-ea"/>
                  <a:cs typeface="+mn-cs"/>
                </a:defRPr>
              </a:lvl9pPr>
            </a:lstStyle>
            <a:p>
              <a:r>
                <a:rPr lang="pt-BR" noProof="1"/>
                <a:t>Formalizou o algoritmo de backpropagation, permitindo treinar redes neurais multicamadas (MLPs).</a:t>
              </a:r>
            </a:p>
          </p:txBody>
        </p:sp>
        <p:sp>
          <p:nvSpPr>
            <p:cNvPr id="8" name="Text Placeholder 28">
              <a:extLst>
                <a:ext uri="{FF2B5EF4-FFF2-40B4-BE49-F238E27FC236}">
                  <a16:creationId xmlns:a16="http://schemas.microsoft.com/office/drawing/2014/main" id="{7935A70E-27C4-1FE7-408B-22C445CBA35A}"/>
                </a:ext>
              </a:extLst>
            </p:cNvPr>
            <p:cNvSpPr txBox="1">
              <a:spLocks/>
            </p:cNvSpPr>
            <p:nvPr/>
          </p:nvSpPr>
          <p:spPr>
            <a:xfrm>
              <a:off x="4743153" y="4540746"/>
              <a:ext cx="4314790" cy="734935"/>
            </a:xfrm>
            <a:prstGeom prst="rect">
              <a:avLst/>
            </a:prstGeom>
            <a:ln>
              <a:noFill/>
            </a:ln>
          </p:spPr>
          <p:txBody>
            <a:bodyPr vert="horz" lIns="0" tIns="0" rIns="0" bIns="0" rtlCol="0">
              <a:noAutofit/>
            </a:bodyPr>
            <a:lstStyle>
              <a:lvl1pPr marL="0" indent="0" algn="l" defTabSz="228594" rtl="0" eaLnBrk="1" latinLnBrk="0" hangingPunct="1">
                <a:lnSpc>
                  <a:spcPct val="100000"/>
                </a:lnSpc>
                <a:spcBef>
                  <a:spcPts val="0"/>
                </a:spcBef>
                <a:spcAft>
                  <a:spcPts val="1200"/>
                </a:spcAft>
                <a:buFont typeface="Arial" panose="020B0604020202020204" pitchFamily="34" charset="0"/>
                <a:buNone/>
                <a:defRPr lang="en-US" sz="1200" b="0" kern="1200" dirty="0" smtClean="0">
                  <a:solidFill>
                    <a:schemeClr val="tx1"/>
                  </a:solidFill>
                  <a:latin typeface="+mn-lt"/>
                  <a:ea typeface="+mn-ea"/>
                  <a:cs typeface="+mn-cs"/>
                </a:defRPr>
              </a:lvl1pPr>
              <a:lvl2pPr marL="228594" indent="-228594" algn="l" defTabSz="228594" rtl="0" eaLnBrk="1" latinLnBrk="0" hangingPunct="1">
                <a:lnSpc>
                  <a:spcPct val="100000"/>
                </a:lnSpc>
                <a:spcBef>
                  <a:spcPts val="0"/>
                </a:spcBef>
                <a:spcAft>
                  <a:spcPts val="1200"/>
                </a:spcAft>
                <a:buClrTx/>
                <a:buFont typeface="Arial" panose="020B0604020202020204" pitchFamily="34" charset="0"/>
                <a:buChar char="•"/>
                <a:defRPr lang="en-US" sz="1400" b="0" kern="1200" dirty="0" smtClean="0">
                  <a:solidFill>
                    <a:schemeClr val="tx1"/>
                  </a:solidFill>
                  <a:latin typeface="+mn-lt"/>
                  <a:ea typeface="+mn-ea"/>
                  <a:cs typeface="+mn-cs"/>
                </a:defRPr>
              </a:lvl2pPr>
              <a:lvl3pPr marL="457189" indent="-228594" algn="l" defTabSz="228594" rtl="0" eaLnBrk="1" latinLnBrk="0" hangingPunct="1">
                <a:lnSpc>
                  <a:spcPct val="100000"/>
                </a:lnSpc>
                <a:spcBef>
                  <a:spcPts val="0"/>
                </a:spcBef>
                <a:spcAft>
                  <a:spcPts val="1200"/>
                </a:spcAft>
                <a:buFont typeface="System Font"/>
                <a:buChar char="–"/>
                <a:defRPr sz="1200" kern="1200">
                  <a:solidFill>
                    <a:schemeClr val="tx1"/>
                  </a:solidFill>
                  <a:latin typeface="+mn-lt"/>
                  <a:ea typeface="+mn-ea"/>
                  <a:cs typeface="+mn-cs"/>
                </a:defRPr>
              </a:lvl3pPr>
              <a:lvl4pPr marL="685783" indent="-228594" algn="l" defTabSz="228594" rtl="0" eaLnBrk="1" latinLnBrk="0" hangingPunct="1">
                <a:lnSpc>
                  <a:spcPct val="100000"/>
                </a:lnSpc>
                <a:spcBef>
                  <a:spcPts val="0"/>
                </a:spcBef>
                <a:spcAft>
                  <a:spcPts val="1200"/>
                </a:spcAft>
                <a:buFont typeface="Arial" panose="020B0604020202020204" pitchFamily="34" charset="0"/>
                <a:buChar char="•"/>
                <a:defRPr sz="1100" kern="1200">
                  <a:solidFill>
                    <a:schemeClr val="tx1"/>
                  </a:solidFill>
                  <a:latin typeface="+mn-lt"/>
                  <a:ea typeface="+mn-ea"/>
                  <a:cs typeface="+mn-cs"/>
                </a:defRPr>
              </a:lvl4pPr>
              <a:lvl5pPr marL="914377" indent="-228594" algn="l" defTabSz="228594" rtl="0" eaLnBrk="1" latinLnBrk="0" hangingPunct="1">
                <a:lnSpc>
                  <a:spcPct val="100000"/>
                </a:lnSpc>
                <a:spcBef>
                  <a:spcPts val="0"/>
                </a:spcBef>
                <a:spcAft>
                  <a:spcPts val="1200"/>
                </a:spcAft>
                <a:buFont typeface="System Font"/>
                <a:buChar char="–"/>
                <a:defRPr sz="1100" kern="1200">
                  <a:solidFill>
                    <a:schemeClr val="tx1"/>
                  </a:solidFill>
                  <a:latin typeface="+mn-lt"/>
                  <a:ea typeface="+mn-ea"/>
                  <a:cs typeface="+mn-cs"/>
                </a:defRPr>
              </a:lvl5pPr>
              <a:lvl6pPr marL="11113" indent="0" algn="l" defTabSz="228594" rtl="0" eaLnBrk="1" latinLnBrk="0" hangingPunct="1">
                <a:lnSpc>
                  <a:spcPct val="90000"/>
                </a:lnSpc>
                <a:spcBef>
                  <a:spcPts val="0"/>
                </a:spcBef>
                <a:spcAft>
                  <a:spcPts val="1200"/>
                </a:spcAft>
                <a:buFont typeface="Graphik" panose="020B0503030202060203" pitchFamily="34" charset="0"/>
                <a:buNone/>
                <a:tabLst/>
                <a:defRPr sz="1200" kern="1200">
                  <a:solidFill>
                    <a:schemeClr val="tx1"/>
                  </a:solidFill>
                  <a:latin typeface="+mn-lt"/>
                  <a:ea typeface="+mn-ea"/>
                  <a:cs typeface="+mn-cs"/>
                </a:defRPr>
              </a:lvl6pPr>
              <a:lvl7pPr marL="0" indent="0" algn="l" defTabSz="22859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mn-lt"/>
                  <a:ea typeface="+mn-ea"/>
                  <a:cs typeface="+mn-cs"/>
                </a:defRPr>
              </a:lvl7pPr>
              <a:lvl8pPr marL="0" indent="0" algn="l" defTabSz="22859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mn-lt"/>
                  <a:ea typeface="+mn-ea"/>
                  <a:cs typeface="+mn-cs"/>
                </a:defRPr>
              </a:lvl8pPr>
              <a:lvl9pPr marL="0" indent="0" algn="l" defTabSz="22859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mn-lt"/>
                  <a:ea typeface="+mn-ea"/>
                  <a:cs typeface="+mn-cs"/>
                </a:defRPr>
              </a:lvl9pPr>
            </a:lstStyle>
            <a:p>
              <a:r>
                <a:rPr lang="pt-BR" noProof="1"/>
                <a:t>Primeiro grande sucesso de CNNs profundas treinadas em GPU. A AlexNet superou drasticamente o estado da arte no ImageNet, desencadeando a explosão mundial do Deep Learning em visão computacional e IA moderna.</a:t>
              </a:r>
            </a:p>
          </p:txBody>
        </p:sp>
        <p:sp>
          <p:nvSpPr>
            <p:cNvPr id="9" name="Text Placeholder 31">
              <a:extLst>
                <a:ext uri="{FF2B5EF4-FFF2-40B4-BE49-F238E27FC236}">
                  <a16:creationId xmlns:a16="http://schemas.microsoft.com/office/drawing/2014/main" id="{20C4CE68-9BE8-C83E-AB3A-8C0964B00838}"/>
                </a:ext>
              </a:extLst>
            </p:cNvPr>
            <p:cNvSpPr txBox="1">
              <a:spLocks/>
            </p:cNvSpPr>
            <p:nvPr/>
          </p:nvSpPr>
          <p:spPr>
            <a:xfrm>
              <a:off x="4743153" y="5553996"/>
              <a:ext cx="4314790" cy="734935"/>
            </a:xfrm>
            <a:prstGeom prst="rect">
              <a:avLst/>
            </a:prstGeom>
            <a:ln>
              <a:noFill/>
            </a:ln>
          </p:spPr>
          <p:txBody>
            <a:bodyPr vert="horz" lIns="0" tIns="0" rIns="0" bIns="0" rtlCol="0">
              <a:noAutofit/>
            </a:bodyPr>
            <a:lstStyle>
              <a:lvl1pPr marL="0" indent="0" algn="l" defTabSz="228594" rtl="0" eaLnBrk="1" latinLnBrk="0" hangingPunct="1">
                <a:lnSpc>
                  <a:spcPct val="100000"/>
                </a:lnSpc>
                <a:spcBef>
                  <a:spcPts val="0"/>
                </a:spcBef>
                <a:spcAft>
                  <a:spcPts val="1200"/>
                </a:spcAft>
                <a:buFont typeface="Arial" panose="020B0604020202020204" pitchFamily="34" charset="0"/>
                <a:buNone/>
                <a:defRPr lang="en-US" sz="1200" b="0" kern="1200" dirty="0" smtClean="0">
                  <a:solidFill>
                    <a:schemeClr val="tx1"/>
                  </a:solidFill>
                  <a:latin typeface="+mn-lt"/>
                  <a:ea typeface="+mn-ea"/>
                  <a:cs typeface="+mn-cs"/>
                </a:defRPr>
              </a:lvl1pPr>
              <a:lvl2pPr marL="228594" indent="-228594" algn="l" defTabSz="228594" rtl="0" eaLnBrk="1" latinLnBrk="0" hangingPunct="1">
                <a:lnSpc>
                  <a:spcPct val="100000"/>
                </a:lnSpc>
                <a:spcBef>
                  <a:spcPts val="0"/>
                </a:spcBef>
                <a:spcAft>
                  <a:spcPts val="1200"/>
                </a:spcAft>
                <a:buClrTx/>
                <a:buFont typeface="Arial" panose="020B0604020202020204" pitchFamily="34" charset="0"/>
                <a:buChar char="•"/>
                <a:defRPr lang="en-US" sz="1400" b="0" kern="1200" dirty="0" smtClean="0">
                  <a:solidFill>
                    <a:schemeClr val="tx1"/>
                  </a:solidFill>
                  <a:latin typeface="+mn-lt"/>
                  <a:ea typeface="+mn-ea"/>
                  <a:cs typeface="+mn-cs"/>
                </a:defRPr>
              </a:lvl2pPr>
              <a:lvl3pPr marL="457189" indent="-228594" algn="l" defTabSz="228594" rtl="0" eaLnBrk="1" latinLnBrk="0" hangingPunct="1">
                <a:lnSpc>
                  <a:spcPct val="100000"/>
                </a:lnSpc>
                <a:spcBef>
                  <a:spcPts val="0"/>
                </a:spcBef>
                <a:spcAft>
                  <a:spcPts val="1200"/>
                </a:spcAft>
                <a:buFont typeface="System Font"/>
                <a:buChar char="–"/>
                <a:defRPr sz="1200" kern="1200">
                  <a:solidFill>
                    <a:schemeClr val="tx1"/>
                  </a:solidFill>
                  <a:latin typeface="+mn-lt"/>
                  <a:ea typeface="+mn-ea"/>
                  <a:cs typeface="+mn-cs"/>
                </a:defRPr>
              </a:lvl3pPr>
              <a:lvl4pPr marL="685783" indent="-228594" algn="l" defTabSz="228594" rtl="0" eaLnBrk="1" latinLnBrk="0" hangingPunct="1">
                <a:lnSpc>
                  <a:spcPct val="100000"/>
                </a:lnSpc>
                <a:spcBef>
                  <a:spcPts val="0"/>
                </a:spcBef>
                <a:spcAft>
                  <a:spcPts val="1200"/>
                </a:spcAft>
                <a:buFont typeface="Arial" panose="020B0604020202020204" pitchFamily="34" charset="0"/>
                <a:buChar char="•"/>
                <a:defRPr sz="1100" kern="1200">
                  <a:solidFill>
                    <a:schemeClr val="tx1"/>
                  </a:solidFill>
                  <a:latin typeface="+mn-lt"/>
                  <a:ea typeface="+mn-ea"/>
                  <a:cs typeface="+mn-cs"/>
                </a:defRPr>
              </a:lvl4pPr>
              <a:lvl5pPr marL="914377" indent="-228594" algn="l" defTabSz="228594" rtl="0" eaLnBrk="1" latinLnBrk="0" hangingPunct="1">
                <a:lnSpc>
                  <a:spcPct val="100000"/>
                </a:lnSpc>
                <a:spcBef>
                  <a:spcPts val="0"/>
                </a:spcBef>
                <a:spcAft>
                  <a:spcPts val="1200"/>
                </a:spcAft>
                <a:buFont typeface="System Font"/>
                <a:buChar char="–"/>
                <a:defRPr sz="1100" kern="1200">
                  <a:solidFill>
                    <a:schemeClr val="tx1"/>
                  </a:solidFill>
                  <a:latin typeface="+mn-lt"/>
                  <a:ea typeface="+mn-ea"/>
                  <a:cs typeface="+mn-cs"/>
                </a:defRPr>
              </a:lvl5pPr>
              <a:lvl6pPr marL="11113" indent="0" algn="l" defTabSz="228594" rtl="0" eaLnBrk="1" latinLnBrk="0" hangingPunct="1">
                <a:lnSpc>
                  <a:spcPct val="90000"/>
                </a:lnSpc>
                <a:spcBef>
                  <a:spcPts val="0"/>
                </a:spcBef>
                <a:spcAft>
                  <a:spcPts val="1200"/>
                </a:spcAft>
                <a:buFont typeface="Graphik" panose="020B0503030202060203" pitchFamily="34" charset="0"/>
                <a:buNone/>
                <a:tabLst/>
                <a:defRPr sz="1200" kern="1200">
                  <a:solidFill>
                    <a:schemeClr val="tx1"/>
                  </a:solidFill>
                  <a:latin typeface="+mn-lt"/>
                  <a:ea typeface="+mn-ea"/>
                  <a:cs typeface="+mn-cs"/>
                </a:defRPr>
              </a:lvl6pPr>
              <a:lvl7pPr marL="0" indent="0" algn="l" defTabSz="22859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mn-lt"/>
                  <a:ea typeface="+mn-ea"/>
                  <a:cs typeface="+mn-cs"/>
                </a:defRPr>
              </a:lvl7pPr>
              <a:lvl8pPr marL="0" indent="0" algn="l" defTabSz="22859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mn-lt"/>
                  <a:ea typeface="+mn-ea"/>
                  <a:cs typeface="+mn-cs"/>
                </a:defRPr>
              </a:lvl8pPr>
              <a:lvl9pPr marL="0" indent="0" algn="l" defTabSz="22859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mn-lt"/>
                  <a:ea typeface="+mn-ea"/>
                  <a:cs typeface="+mn-cs"/>
                </a:defRPr>
              </a:lvl9pPr>
            </a:lstStyle>
            <a:p>
              <a:r>
                <a:rPr lang="pt-BR" noProof="1"/>
                <a:t>Introduziu a arquitetura Transformer baseada exclusivamente em self-attention, eliminando RNNs e permitindo paralelização total. Tornou-se a  base de modelos como BERT, GPT e toda a IA moderna multimodal.</a:t>
              </a:r>
            </a:p>
          </p:txBody>
        </p:sp>
      </p:grpSp>
      <p:grpSp>
        <p:nvGrpSpPr>
          <p:cNvPr id="64" name="Group 63">
            <a:extLst>
              <a:ext uri="{FF2B5EF4-FFF2-40B4-BE49-F238E27FC236}">
                <a16:creationId xmlns:a16="http://schemas.microsoft.com/office/drawing/2014/main" id="{F36D43BF-2382-14F7-8FD8-61A58FF3EC05}"/>
              </a:ext>
            </a:extLst>
          </p:cNvPr>
          <p:cNvGrpSpPr/>
          <p:nvPr/>
        </p:nvGrpSpPr>
        <p:grpSpPr>
          <a:xfrm>
            <a:off x="9659469" y="2525284"/>
            <a:ext cx="1994217" cy="3761072"/>
            <a:chOff x="9659469" y="2525284"/>
            <a:chExt cx="1994217" cy="3761072"/>
          </a:xfrm>
        </p:grpSpPr>
        <p:sp>
          <p:nvSpPr>
            <p:cNvPr id="19" name="Text Placeholder 23">
              <a:extLst>
                <a:ext uri="{FF2B5EF4-FFF2-40B4-BE49-F238E27FC236}">
                  <a16:creationId xmlns:a16="http://schemas.microsoft.com/office/drawing/2014/main" id="{70E74A1B-FB9E-D4D3-890F-BFE38B29EFA0}"/>
                </a:ext>
              </a:extLst>
            </p:cNvPr>
            <p:cNvSpPr txBox="1">
              <a:spLocks/>
            </p:cNvSpPr>
            <p:nvPr/>
          </p:nvSpPr>
          <p:spPr>
            <a:xfrm>
              <a:off x="9659469" y="2525284"/>
              <a:ext cx="1994217" cy="732360"/>
            </a:xfrm>
            <a:prstGeom prst="rect">
              <a:avLst/>
            </a:prstGeom>
            <a:ln>
              <a:noFill/>
            </a:ln>
          </p:spPr>
          <p:txBody>
            <a:bodyPr vert="horz" lIns="0" tIns="0" rIns="0" bIns="0" rtlCol="0" anchor="t">
              <a:noAutofit/>
            </a:bodyPr>
            <a:lstStyle>
              <a:lvl1pPr marL="0" indent="0" algn="l" defTabSz="228594" rtl="0" eaLnBrk="1" latinLnBrk="0" hangingPunct="1">
                <a:lnSpc>
                  <a:spcPct val="90000"/>
                </a:lnSpc>
                <a:spcBef>
                  <a:spcPts val="0"/>
                </a:spcBef>
                <a:spcAft>
                  <a:spcPts val="0"/>
                </a:spcAft>
                <a:buFont typeface="Arial" panose="020B0604020202020204" pitchFamily="34" charset="0"/>
                <a:buNone/>
                <a:defRPr sz="1600" b="0" i="0" kern="1200">
                  <a:solidFill>
                    <a:schemeClr val="bg2"/>
                  </a:solidFill>
                  <a:latin typeface="+mn-lt"/>
                  <a:ea typeface="+mn-ea"/>
                  <a:cs typeface="+mn-cs"/>
                </a:defRPr>
              </a:lvl1pPr>
              <a:lvl2pPr marL="457189" indent="0" algn="l" defTabSz="228594" rtl="0" eaLnBrk="1" latinLnBrk="0" hangingPunct="1">
                <a:lnSpc>
                  <a:spcPct val="100000"/>
                </a:lnSpc>
                <a:spcBef>
                  <a:spcPts val="0"/>
                </a:spcBef>
                <a:spcAft>
                  <a:spcPts val="1200"/>
                </a:spcAft>
                <a:buClrTx/>
                <a:buFont typeface="Arial" panose="020B0604020202020204" pitchFamily="34" charset="0"/>
                <a:buNone/>
                <a:defRPr sz="2000" b="1" kern="1200">
                  <a:solidFill>
                    <a:schemeClr val="tx1"/>
                  </a:solidFill>
                  <a:latin typeface="+mn-lt"/>
                  <a:ea typeface="+mn-ea"/>
                  <a:cs typeface="+mn-cs"/>
                </a:defRPr>
              </a:lvl2pPr>
              <a:lvl3pPr marL="914377" indent="0" algn="l" defTabSz="228594" rtl="0" eaLnBrk="1" latinLnBrk="0" hangingPunct="1">
                <a:lnSpc>
                  <a:spcPct val="100000"/>
                </a:lnSpc>
                <a:spcBef>
                  <a:spcPts val="0"/>
                </a:spcBef>
                <a:spcAft>
                  <a:spcPts val="1200"/>
                </a:spcAft>
                <a:buFont typeface="System Font"/>
                <a:buNone/>
                <a:defRPr sz="1800" b="1" kern="1200">
                  <a:solidFill>
                    <a:schemeClr val="tx1"/>
                  </a:solidFill>
                  <a:latin typeface="+mn-lt"/>
                  <a:ea typeface="+mn-ea"/>
                  <a:cs typeface="+mn-cs"/>
                </a:defRPr>
              </a:lvl3pPr>
              <a:lvl4pPr marL="1371566" indent="0" algn="l" defTabSz="228594" rtl="0" eaLnBrk="1" latinLnBrk="0" hangingPunct="1">
                <a:lnSpc>
                  <a:spcPct val="10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4pPr>
              <a:lvl5pPr marL="1828754" indent="0" algn="l" defTabSz="228594" rtl="0" eaLnBrk="1" latinLnBrk="0" hangingPunct="1">
                <a:lnSpc>
                  <a:spcPct val="100000"/>
                </a:lnSpc>
                <a:spcBef>
                  <a:spcPts val="0"/>
                </a:spcBef>
                <a:spcAft>
                  <a:spcPts val="1200"/>
                </a:spcAft>
                <a:buFont typeface="System Font"/>
                <a:buNone/>
                <a:defRPr sz="1600" b="1" kern="1200">
                  <a:solidFill>
                    <a:schemeClr val="tx1"/>
                  </a:solidFill>
                  <a:latin typeface="+mn-lt"/>
                  <a:ea typeface="+mn-ea"/>
                  <a:cs typeface="+mn-cs"/>
                </a:defRPr>
              </a:lvl5pPr>
              <a:lvl6pPr marL="2285943" indent="0" algn="l" defTabSz="228594" rtl="0" eaLnBrk="1" latinLnBrk="0" hangingPunct="1">
                <a:lnSpc>
                  <a:spcPct val="90000"/>
                </a:lnSpc>
                <a:spcBef>
                  <a:spcPts val="0"/>
                </a:spcBef>
                <a:spcAft>
                  <a:spcPts val="1200"/>
                </a:spcAft>
                <a:buFont typeface="Graphik" panose="020B0503030202060203" pitchFamily="34" charset="0"/>
                <a:buNone/>
                <a:tabLst/>
                <a:defRPr sz="1600" b="1" kern="1200">
                  <a:solidFill>
                    <a:schemeClr val="tx1"/>
                  </a:solidFill>
                  <a:latin typeface="+mn-lt"/>
                  <a:ea typeface="+mn-ea"/>
                  <a:cs typeface="+mn-cs"/>
                </a:defRPr>
              </a:lvl6pPr>
              <a:lvl7pPr marL="2743131"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7pPr>
              <a:lvl8pPr marL="3200320"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8pPr>
              <a:lvl9pPr marL="3657509"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2"/>
                  </a:solidFill>
                  <a:latin typeface="+mn-lt"/>
                  <a:ea typeface="+mn-ea"/>
                  <a:cs typeface="+mn-cs"/>
                </a:defRPr>
              </a:lvl9pPr>
            </a:lstStyle>
            <a:p>
              <a:r>
                <a:rPr lang="pt-BR" noProof="1"/>
                <a:t>Nascimento das redes neurais</a:t>
              </a:r>
            </a:p>
          </p:txBody>
        </p:sp>
        <p:sp>
          <p:nvSpPr>
            <p:cNvPr id="20" name="Text Placeholder 26">
              <a:extLst>
                <a:ext uri="{FF2B5EF4-FFF2-40B4-BE49-F238E27FC236}">
                  <a16:creationId xmlns:a16="http://schemas.microsoft.com/office/drawing/2014/main" id="{3E86331F-76AC-A874-24EF-CC0165DF56BE}"/>
                </a:ext>
              </a:extLst>
            </p:cNvPr>
            <p:cNvSpPr txBox="1">
              <a:spLocks/>
            </p:cNvSpPr>
            <p:nvPr/>
          </p:nvSpPr>
          <p:spPr>
            <a:xfrm>
              <a:off x="9659469" y="3538534"/>
              <a:ext cx="1994217" cy="732360"/>
            </a:xfrm>
            <a:prstGeom prst="rect">
              <a:avLst/>
            </a:prstGeom>
            <a:ln>
              <a:noFill/>
            </a:ln>
          </p:spPr>
          <p:txBody>
            <a:bodyPr vert="horz" lIns="0" tIns="0" rIns="0" bIns="0" rtlCol="0" anchor="t">
              <a:noAutofit/>
            </a:bodyPr>
            <a:lstStyle>
              <a:lvl1pPr marL="0" indent="0" algn="l" defTabSz="228594" rtl="0" eaLnBrk="1" latinLnBrk="0" hangingPunct="1">
                <a:lnSpc>
                  <a:spcPct val="90000"/>
                </a:lnSpc>
                <a:spcBef>
                  <a:spcPts val="0"/>
                </a:spcBef>
                <a:spcAft>
                  <a:spcPts val="0"/>
                </a:spcAft>
                <a:buFont typeface="Arial" panose="020B0604020202020204" pitchFamily="34" charset="0"/>
                <a:buNone/>
                <a:defRPr sz="1600" b="0" i="0" kern="1200">
                  <a:solidFill>
                    <a:schemeClr val="bg2"/>
                  </a:solidFill>
                  <a:latin typeface="+mn-lt"/>
                  <a:ea typeface="+mn-ea"/>
                  <a:cs typeface="+mn-cs"/>
                </a:defRPr>
              </a:lvl1pPr>
              <a:lvl2pPr marL="457189" indent="0" algn="l" defTabSz="228594" rtl="0" eaLnBrk="1" latinLnBrk="0" hangingPunct="1">
                <a:lnSpc>
                  <a:spcPct val="100000"/>
                </a:lnSpc>
                <a:spcBef>
                  <a:spcPts val="0"/>
                </a:spcBef>
                <a:spcAft>
                  <a:spcPts val="1200"/>
                </a:spcAft>
                <a:buClrTx/>
                <a:buFont typeface="Arial" panose="020B0604020202020204" pitchFamily="34" charset="0"/>
                <a:buNone/>
                <a:defRPr sz="2000" b="1" kern="1200">
                  <a:solidFill>
                    <a:schemeClr val="tx1"/>
                  </a:solidFill>
                  <a:latin typeface="+mn-lt"/>
                  <a:ea typeface="+mn-ea"/>
                  <a:cs typeface="+mn-cs"/>
                </a:defRPr>
              </a:lvl2pPr>
              <a:lvl3pPr marL="914377" indent="0" algn="l" defTabSz="228594" rtl="0" eaLnBrk="1" latinLnBrk="0" hangingPunct="1">
                <a:lnSpc>
                  <a:spcPct val="100000"/>
                </a:lnSpc>
                <a:spcBef>
                  <a:spcPts val="0"/>
                </a:spcBef>
                <a:spcAft>
                  <a:spcPts val="1200"/>
                </a:spcAft>
                <a:buFont typeface="System Font"/>
                <a:buNone/>
                <a:defRPr sz="1800" b="1" kern="1200">
                  <a:solidFill>
                    <a:schemeClr val="tx1"/>
                  </a:solidFill>
                  <a:latin typeface="+mn-lt"/>
                  <a:ea typeface="+mn-ea"/>
                  <a:cs typeface="+mn-cs"/>
                </a:defRPr>
              </a:lvl3pPr>
              <a:lvl4pPr marL="1371566" indent="0" algn="l" defTabSz="228594" rtl="0" eaLnBrk="1" latinLnBrk="0" hangingPunct="1">
                <a:lnSpc>
                  <a:spcPct val="10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4pPr>
              <a:lvl5pPr marL="1828754" indent="0" algn="l" defTabSz="228594" rtl="0" eaLnBrk="1" latinLnBrk="0" hangingPunct="1">
                <a:lnSpc>
                  <a:spcPct val="100000"/>
                </a:lnSpc>
                <a:spcBef>
                  <a:spcPts val="0"/>
                </a:spcBef>
                <a:spcAft>
                  <a:spcPts val="1200"/>
                </a:spcAft>
                <a:buFont typeface="System Font"/>
                <a:buNone/>
                <a:defRPr sz="1600" b="1" kern="1200">
                  <a:solidFill>
                    <a:schemeClr val="tx1"/>
                  </a:solidFill>
                  <a:latin typeface="+mn-lt"/>
                  <a:ea typeface="+mn-ea"/>
                  <a:cs typeface="+mn-cs"/>
                </a:defRPr>
              </a:lvl5pPr>
              <a:lvl6pPr marL="2285943" indent="0" algn="l" defTabSz="228594" rtl="0" eaLnBrk="1" latinLnBrk="0" hangingPunct="1">
                <a:lnSpc>
                  <a:spcPct val="90000"/>
                </a:lnSpc>
                <a:spcBef>
                  <a:spcPts val="0"/>
                </a:spcBef>
                <a:spcAft>
                  <a:spcPts val="1200"/>
                </a:spcAft>
                <a:buFont typeface="Graphik" panose="020B0503030202060203" pitchFamily="34" charset="0"/>
                <a:buNone/>
                <a:tabLst/>
                <a:defRPr sz="1600" b="1" kern="1200">
                  <a:solidFill>
                    <a:schemeClr val="tx1"/>
                  </a:solidFill>
                  <a:latin typeface="+mn-lt"/>
                  <a:ea typeface="+mn-ea"/>
                  <a:cs typeface="+mn-cs"/>
                </a:defRPr>
              </a:lvl6pPr>
              <a:lvl7pPr marL="2743131"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7pPr>
              <a:lvl8pPr marL="3200320"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8pPr>
              <a:lvl9pPr marL="3657509"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2"/>
                  </a:solidFill>
                  <a:latin typeface="+mn-lt"/>
                  <a:ea typeface="+mn-ea"/>
                  <a:cs typeface="+mn-cs"/>
                </a:defRPr>
              </a:lvl9pPr>
            </a:lstStyle>
            <a:p>
              <a:r>
                <a:rPr lang="pt-BR" noProof="1"/>
                <a:t>Aprendizado profundo se torna viável</a:t>
              </a:r>
            </a:p>
          </p:txBody>
        </p:sp>
        <p:sp>
          <p:nvSpPr>
            <p:cNvPr id="34" name="Text Placeholder 29">
              <a:extLst>
                <a:ext uri="{FF2B5EF4-FFF2-40B4-BE49-F238E27FC236}">
                  <a16:creationId xmlns:a16="http://schemas.microsoft.com/office/drawing/2014/main" id="{05D7C42C-691D-F1B7-4449-09793FA52B49}"/>
                </a:ext>
              </a:extLst>
            </p:cNvPr>
            <p:cNvSpPr txBox="1">
              <a:spLocks/>
            </p:cNvSpPr>
            <p:nvPr/>
          </p:nvSpPr>
          <p:spPr>
            <a:xfrm>
              <a:off x="9659469" y="4540746"/>
              <a:ext cx="1994217" cy="732360"/>
            </a:xfrm>
            <a:prstGeom prst="rect">
              <a:avLst/>
            </a:prstGeom>
            <a:ln>
              <a:noFill/>
            </a:ln>
          </p:spPr>
          <p:txBody>
            <a:bodyPr vert="horz" lIns="0" tIns="0" rIns="0" bIns="0" rtlCol="0" anchor="t">
              <a:noAutofit/>
            </a:bodyPr>
            <a:lstStyle>
              <a:lvl1pPr marL="0" indent="0" algn="l" defTabSz="228594" rtl="0" eaLnBrk="1" latinLnBrk="0" hangingPunct="1">
                <a:lnSpc>
                  <a:spcPct val="90000"/>
                </a:lnSpc>
                <a:spcBef>
                  <a:spcPts val="0"/>
                </a:spcBef>
                <a:spcAft>
                  <a:spcPts val="0"/>
                </a:spcAft>
                <a:buFont typeface="Arial" panose="020B0604020202020204" pitchFamily="34" charset="0"/>
                <a:buNone/>
                <a:defRPr sz="1600" b="0" i="0" kern="1200">
                  <a:solidFill>
                    <a:schemeClr val="bg2"/>
                  </a:solidFill>
                  <a:latin typeface="+mn-lt"/>
                  <a:ea typeface="+mn-ea"/>
                  <a:cs typeface="+mn-cs"/>
                </a:defRPr>
              </a:lvl1pPr>
              <a:lvl2pPr marL="457189" indent="0" algn="l" defTabSz="228594" rtl="0" eaLnBrk="1" latinLnBrk="0" hangingPunct="1">
                <a:lnSpc>
                  <a:spcPct val="100000"/>
                </a:lnSpc>
                <a:spcBef>
                  <a:spcPts val="0"/>
                </a:spcBef>
                <a:spcAft>
                  <a:spcPts val="1200"/>
                </a:spcAft>
                <a:buClrTx/>
                <a:buFont typeface="Arial" panose="020B0604020202020204" pitchFamily="34" charset="0"/>
                <a:buNone/>
                <a:defRPr sz="2000" b="1" kern="1200">
                  <a:solidFill>
                    <a:schemeClr val="tx1"/>
                  </a:solidFill>
                  <a:latin typeface="+mn-lt"/>
                  <a:ea typeface="+mn-ea"/>
                  <a:cs typeface="+mn-cs"/>
                </a:defRPr>
              </a:lvl2pPr>
              <a:lvl3pPr marL="914377" indent="0" algn="l" defTabSz="228594" rtl="0" eaLnBrk="1" latinLnBrk="0" hangingPunct="1">
                <a:lnSpc>
                  <a:spcPct val="100000"/>
                </a:lnSpc>
                <a:spcBef>
                  <a:spcPts val="0"/>
                </a:spcBef>
                <a:spcAft>
                  <a:spcPts val="1200"/>
                </a:spcAft>
                <a:buFont typeface="System Font"/>
                <a:buNone/>
                <a:defRPr sz="1800" b="1" kern="1200">
                  <a:solidFill>
                    <a:schemeClr val="tx1"/>
                  </a:solidFill>
                  <a:latin typeface="+mn-lt"/>
                  <a:ea typeface="+mn-ea"/>
                  <a:cs typeface="+mn-cs"/>
                </a:defRPr>
              </a:lvl3pPr>
              <a:lvl4pPr marL="1371566" indent="0" algn="l" defTabSz="228594" rtl="0" eaLnBrk="1" latinLnBrk="0" hangingPunct="1">
                <a:lnSpc>
                  <a:spcPct val="10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4pPr>
              <a:lvl5pPr marL="1828754" indent="0" algn="l" defTabSz="228594" rtl="0" eaLnBrk="1" latinLnBrk="0" hangingPunct="1">
                <a:lnSpc>
                  <a:spcPct val="100000"/>
                </a:lnSpc>
                <a:spcBef>
                  <a:spcPts val="0"/>
                </a:spcBef>
                <a:spcAft>
                  <a:spcPts val="1200"/>
                </a:spcAft>
                <a:buFont typeface="System Font"/>
                <a:buNone/>
                <a:defRPr sz="1600" b="1" kern="1200">
                  <a:solidFill>
                    <a:schemeClr val="tx1"/>
                  </a:solidFill>
                  <a:latin typeface="+mn-lt"/>
                  <a:ea typeface="+mn-ea"/>
                  <a:cs typeface="+mn-cs"/>
                </a:defRPr>
              </a:lvl5pPr>
              <a:lvl6pPr marL="2285943" indent="0" algn="l" defTabSz="228594" rtl="0" eaLnBrk="1" latinLnBrk="0" hangingPunct="1">
                <a:lnSpc>
                  <a:spcPct val="90000"/>
                </a:lnSpc>
                <a:spcBef>
                  <a:spcPts val="0"/>
                </a:spcBef>
                <a:spcAft>
                  <a:spcPts val="1200"/>
                </a:spcAft>
                <a:buFont typeface="Graphik" panose="020B0503030202060203" pitchFamily="34" charset="0"/>
                <a:buNone/>
                <a:tabLst/>
                <a:defRPr sz="1600" b="1" kern="1200">
                  <a:solidFill>
                    <a:schemeClr val="tx1"/>
                  </a:solidFill>
                  <a:latin typeface="+mn-lt"/>
                  <a:ea typeface="+mn-ea"/>
                  <a:cs typeface="+mn-cs"/>
                </a:defRPr>
              </a:lvl6pPr>
              <a:lvl7pPr marL="2743131"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7pPr>
              <a:lvl8pPr marL="3200320"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8pPr>
              <a:lvl9pPr marL="3657509"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2"/>
                  </a:solidFill>
                  <a:latin typeface="+mn-lt"/>
                  <a:ea typeface="+mn-ea"/>
                  <a:cs typeface="+mn-cs"/>
                </a:defRPr>
              </a:lvl9pPr>
            </a:lstStyle>
            <a:p>
              <a:r>
                <a:rPr lang="pt-BR" noProof="1"/>
                <a:t>Início da era moderna do Deep Learning</a:t>
              </a:r>
            </a:p>
          </p:txBody>
        </p:sp>
        <p:sp>
          <p:nvSpPr>
            <p:cNvPr id="35" name="Text Placeholder 32">
              <a:extLst>
                <a:ext uri="{FF2B5EF4-FFF2-40B4-BE49-F238E27FC236}">
                  <a16:creationId xmlns:a16="http://schemas.microsoft.com/office/drawing/2014/main" id="{C7CF13B3-06E9-39D4-F97B-DA7121A00E9E}"/>
                </a:ext>
              </a:extLst>
            </p:cNvPr>
            <p:cNvSpPr txBox="1">
              <a:spLocks/>
            </p:cNvSpPr>
            <p:nvPr/>
          </p:nvSpPr>
          <p:spPr>
            <a:xfrm>
              <a:off x="9659469" y="5553996"/>
              <a:ext cx="1994217" cy="732360"/>
            </a:xfrm>
            <a:prstGeom prst="rect">
              <a:avLst/>
            </a:prstGeom>
            <a:ln>
              <a:noFill/>
            </a:ln>
          </p:spPr>
          <p:txBody>
            <a:bodyPr vert="horz" lIns="0" tIns="0" rIns="0" bIns="0" rtlCol="0" anchor="t">
              <a:noAutofit/>
            </a:bodyPr>
            <a:lstStyle>
              <a:lvl1pPr marL="0" indent="0" algn="l" defTabSz="228594" rtl="0" eaLnBrk="1" latinLnBrk="0" hangingPunct="1">
                <a:lnSpc>
                  <a:spcPct val="90000"/>
                </a:lnSpc>
                <a:spcBef>
                  <a:spcPts val="0"/>
                </a:spcBef>
                <a:spcAft>
                  <a:spcPts val="0"/>
                </a:spcAft>
                <a:buFont typeface="Arial" panose="020B0604020202020204" pitchFamily="34" charset="0"/>
                <a:buNone/>
                <a:defRPr sz="1600" b="0" i="0" kern="1200">
                  <a:solidFill>
                    <a:schemeClr val="bg2"/>
                  </a:solidFill>
                  <a:latin typeface="+mn-lt"/>
                  <a:ea typeface="+mn-ea"/>
                  <a:cs typeface="+mn-cs"/>
                </a:defRPr>
              </a:lvl1pPr>
              <a:lvl2pPr marL="457189" indent="0" algn="l" defTabSz="228594" rtl="0" eaLnBrk="1" latinLnBrk="0" hangingPunct="1">
                <a:lnSpc>
                  <a:spcPct val="100000"/>
                </a:lnSpc>
                <a:spcBef>
                  <a:spcPts val="0"/>
                </a:spcBef>
                <a:spcAft>
                  <a:spcPts val="1200"/>
                </a:spcAft>
                <a:buClrTx/>
                <a:buFont typeface="Arial" panose="020B0604020202020204" pitchFamily="34" charset="0"/>
                <a:buNone/>
                <a:defRPr sz="2000" b="1" kern="1200">
                  <a:solidFill>
                    <a:schemeClr val="tx1"/>
                  </a:solidFill>
                  <a:latin typeface="+mn-lt"/>
                  <a:ea typeface="+mn-ea"/>
                  <a:cs typeface="+mn-cs"/>
                </a:defRPr>
              </a:lvl2pPr>
              <a:lvl3pPr marL="914377" indent="0" algn="l" defTabSz="228594" rtl="0" eaLnBrk="1" latinLnBrk="0" hangingPunct="1">
                <a:lnSpc>
                  <a:spcPct val="100000"/>
                </a:lnSpc>
                <a:spcBef>
                  <a:spcPts val="0"/>
                </a:spcBef>
                <a:spcAft>
                  <a:spcPts val="1200"/>
                </a:spcAft>
                <a:buFont typeface="System Font"/>
                <a:buNone/>
                <a:defRPr sz="1800" b="1" kern="1200">
                  <a:solidFill>
                    <a:schemeClr val="tx1"/>
                  </a:solidFill>
                  <a:latin typeface="+mn-lt"/>
                  <a:ea typeface="+mn-ea"/>
                  <a:cs typeface="+mn-cs"/>
                </a:defRPr>
              </a:lvl3pPr>
              <a:lvl4pPr marL="1371566" indent="0" algn="l" defTabSz="228594" rtl="0" eaLnBrk="1" latinLnBrk="0" hangingPunct="1">
                <a:lnSpc>
                  <a:spcPct val="10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4pPr>
              <a:lvl5pPr marL="1828754" indent="0" algn="l" defTabSz="228594" rtl="0" eaLnBrk="1" latinLnBrk="0" hangingPunct="1">
                <a:lnSpc>
                  <a:spcPct val="100000"/>
                </a:lnSpc>
                <a:spcBef>
                  <a:spcPts val="0"/>
                </a:spcBef>
                <a:spcAft>
                  <a:spcPts val="1200"/>
                </a:spcAft>
                <a:buFont typeface="System Font"/>
                <a:buNone/>
                <a:defRPr sz="1600" b="1" kern="1200">
                  <a:solidFill>
                    <a:schemeClr val="tx1"/>
                  </a:solidFill>
                  <a:latin typeface="+mn-lt"/>
                  <a:ea typeface="+mn-ea"/>
                  <a:cs typeface="+mn-cs"/>
                </a:defRPr>
              </a:lvl5pPr>
              <a:lvl6pPr marL="2285943" indent="0" algn="l" defTabSz="228594" rtl="0" eaLnBrk="1" latinLnBrk="0" hangingPunct="1">
                <a:lnSpc>
                  <a:spcPct val="90000"/>
                </a:lnSpc>
                <a:spcBef>
                  <a:spcPts val="0"/>
                </a:spcBef>
                <a:spcAft>
                  <a:spcPts val="1200"/>
                </a:spcAft>
                <a:buFont typeface="Graphik" panose="020B0503030202060203" pitchFamily="34" charset="0"/>
                <a:buNone/>
                <a:tabLst/>
                <a:defRPr sz="1600" b="1" kern="1200">
                  <a:solidFill>
                    <a:schemeClr val="tx1"/>
                  </a:solidFill>
                  <a:latin typeface="+mn-lt"/>
                  <a:ea typeface="+mn-ea"/>
                  <a:cs typeface="+mn-cs"/>
                </a:defRPr>
              </a:lvl6pPr>
              <a:lvl7pPr marL="2743131"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7pPr>
              <a:lvl8pPr marL="3200320"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8pPr>
              <a:lvl9pPr marL="3657509"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2"/>
                  </a:solidFill>
                  <a:latin typeface="+mn-lt"/>
                  <a:ea typeface="+mn-ea"/>
                  <a:cs typeface="+mn-cs"/>
                </a:defRPr>
              </a:lvl9pPr>
            </a:lstStyle>
            <a:p>
              <a:r>
                <a:rPr lang="pt-BR" noProof="1"/>
                <a:t>Revolução arquitetural -  base da IA atual</a:t>
              </a:r>
            </a:p>
          </p:txBody>
        </p:sp>
      </p:grpSp>
      <p:grpSp>
        <p:nvGrpSpPr>
          <p:cNvPr id="62" name="Group 61">
            <a:extLst>
              <a:ext uri="{FF2B5EF4-FFF2-40B4-BE49-F238E27FC236}">
                <a16:creationId xmlns:a16="http://schemas.microsoft.com/office/drawing/2014/main" id="{7823D059-6728-FBE0-CA69-FD6046A2DBFA}"/>
              </a:ext>
            </a:extLst>
          </p:cNvPr>
          <p:cNvGrpSpPr/>
          <p:nvPr/>
        </p:nvGrpSpPr>
        <p:grpSpPr>
          <a:xfrm>
            <a:off x="563410" y="2525284"/>
            <a:ext cx="3978110" cy="3761072"/>
            <a:chOff x="563410" y="2525284"/>
            <a:chExt cx="3978110" cy="3761072"/>
          </a:xfrm>
        </p:grpSpPr>
        <p:sp>
          <p:nvSpPr>
            <p:cNvPr id="49" name="Text Placeholder 20">
              <a:extLst>
                <a:ext uri="{FF2B5EF4-FFF2-40B4-BE49-F238E27FC236}">
                  <a16:creationId xmlns:a16="http://schemas.microsoft.com/office/drawing/2014/main" id="{608A8FE4-0ECF-5DF4-9999-552C08F1DB13}"/>
                </a:ext>
              </a:extLst>
            </p:cNvPr>
            <p:cNvSpPr txBox="1">
              <a:spLocks/>
            </p:cNvSpPr>
            <p:nvPr/>
          </p:nvSpPr>
          <p:spPr>
            <a:xfrm>
              <a:off x="563410" y="2525284"/>
              <a:ext cx="3744430" cy="732360"/>
            </a:xfrm>
            <a:prstGeom prst="rect">
              <a:avLst/>
            </a:prstGeom>
            <a:ln>
              <a:noFill/>
            </a:ln>
          </p:spPr>
          <p:txBody>
            <a:bodyPr vert="horz" lIns="0" tIns="0" rIns="0" bIns="0" rtlCol="0" anchor="t">
              <a:noAutofit/>
            </a:bodyPr>
            <a:lstStyle>
              <a:lvl1pPr marL="0" indent="0" algn="l" defTabSz="228594" rtl="0" eaLnBrk="1" latinLnBrk="0" hangingPunct="1">
                <a:lnSpc>
                  <a:spcPct val="90000"/>
                </a:lnSpc>
                <a:spcBef>
                  <a:spcPts val="0"/>
                </a:spcBef>
                <a:spcAft>
                  <a:spcPts val="0"/>
                </a:spcAft>
                <a:buFont typeface="Arial" panose="020B0604020202020204" pitchFamily="34" charset="0"/>
                <a:buNone/>
                <a:defRPr sz="1600" b="0" i="0" kern="1200">
                  <a:solidFill>
                    <a:schemeClr val="tx1"/>
                  </a:solidFill>
                  <a:latin typeface="Graphik Semibold" panose="020B0703030202060203" pitchFamily="34" charset="0"/>
                  <a:ea typeface="+mn-ea"/>
                  <a:cs typeface="+mn-cs"/>
                </a:defRPr>
              </a:lvl1pPr>
              <a:lvl2pPr marL="457189" indent="0" algn="l" defTabSz="228594" rtl="0" eaLnBrk="1" latinLnBrk="0" hangingPunct="1">
                <a:lnSpc>
                  <a:spcPct val="100000"/>
                </a:lnSpc>
                <a:spcBef>
                  <a:spcPts val="0"/>
                </a:spcBef>
                <a:spcAft>
                  <a:spcPts val="1200"/>
                </a:spcAft>
                <a:buClrTx/>
                <a:buFont typeface="Arial" panose="020B0604020202020204" pitchFamily="34" charset="0"/>
                <a:buNone/>
                <a:defRPr sz="2000" b="1" kern="1200">
                  <a:solidFill>
                    <a:schemeClr val="tx1"/>
                  </a:solidFill>
                  <a:latin typeface="+mn-lt"/>
                  <a:ea typeface="+mn-ea"/>
                  <a:cs typeface="+mn-cs"/>
                </a:defRPr>
              </a:lvl2pPr>
              <a:lvl3pPr marL="914377" indent="0" algn="l" defTabSz="228594" rtl="0" eaLnBrk="1" latinLnBrk="0" hangingPunct="1">
                <a:lnSpc>
                  <a:spcPct val="100000"/>
                </a:lnSpc>
                <a:spcBef>
                  <a:spcPts val="0"/>
                </a:spcBef>
                <a:spcAft>
                  <a:spcPts val="1200"/>
                </a:spcAft>
                <a:buFont typeface="System Font"/>
                <a:buNone/>
                <a:defRPr sz="1800" b="1" kern="1200">
                  <a:solidFill>
                    <a:schemeClr val="tx1"/>
                  </a:solidFill>
                  <a:latin typeface="+mn-lt"/>
                  <a:ea typeface="+mn-ea"/>
                  <a:cs typeface="+mn-cs"/>
                </a:defRPr>
              </a:lvl3pPr>
              <a:lvl4pPr marL="1371566" indent="0" algn="l" defTabSz="228594" rtl="0" eaLnBrk="1" latinLnBrk="0" hangingPunct="1">
                <a:lnSpc>
                  <a:spcPct val="10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4pPr>
              <a:lvl5pPr marL="1828754" indent="0" algn="l" defTabSz="228594" rtl="0" eaLnBrk="1" latinLnBrk="0" hangingPunct="1">
                <a:lnSpc>
                  <a:spcPct val="100000"/>
                </a:lnSpc>
                <a:spcBef>
                  <a:spcPts val="0"/>
                </a:spcBef>
                <a:spcAft>
                  <a:spcPts val="1200"/>
                </a:spcAft>
                <a:buFont typeface="System Font"/>
                <a:buNone/>
                <a:defRPr sz="1600" b="1" kern="1200">
                  <a:solidFill>
                    <a:schemeClr val="tx1"/>
                  </a:solidFill>
                  <a:latin typeface="+mn-lt"/>
                  <a:ea typeface="+mn-ea"/>
                  <a:cs typeface="+mn-cs"/>
                </a:defRPr>
              </a:lvl5pPr>
              <a:lvl6pPr marL="2285943" indent="0" algn="l" defTabSz="228594" rtl="0" eaLnBrk="1" latinLnBrk="0" hangingPunct="1">
                <a:lnSpc>
                  <a:spcPct val="90000"/>
                </a:lnSpc>
                <a:spcBef>
                  <a:spcPts val="0"/>
                </a:spcBef>
                <a:spcAft>
                  <a:spcPts val="1200"/>
                </a:spcAft>
                <a:buFont typeface="Graphik" panose="020B0503030202060203" pitchFamily="34" charset="0"/>
                <a:buNone/>
                <a:tabLst/>
                <a:defRPr sz="1600" b="1" kern="1200">
                  <a:solidFill>
                    <a:schemeClr val="tx1"/>
                  </a:solidFill>
                  <a:latin typeface="+mn-lt"/>
                  <a:ea typeface="+mn-ea"/>
                  <a:cs typeface="+mn-cs"/>
                </a:defRPr>
              </a:lvl6pPr>
              <a:lvl7pPr marL="2743131"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7pPr>
              <a:lvl8pPr marL="3200320"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8pPr>
              <a:lvl9pPr marL="3657509"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2"/>
                  </a:solidFill>
                  <a:latin typeface="+mn-lt"/>
                  <a:ea typeface="+mn-ea"/>
                  <a:cs typeface="+mn-cs"/>
                </a:defRPr>
              </a:lvl9pPr>
            </a:lstStyle>
            <a:p>
              <a:r>
                <a:rPr lang="pt-BR" noProof="1"/>
                <a:t>Perceptron (1958)</a:t>
              </a:r>
            </a:p>
            <a:p>
              <a:r>
                <a:rPr lang="pt-BR" sz="1100" noProof="1">
                  <a:latin typeface="Graphik" panose="020B0503030202060203" pitchFamily="34" charset="0"/>
                </a:rPr>
                <a:t>Autor: Frank Rosenblatt</a:t>
              </a:r>
            </a:p>
            <a:p>
              <a:r>
                <a:rPr lang="pt-BR" sz="1100" noProof="1">
                  <a:latin typeface="Graphik" panose="020B0503030202060203" pitchFamily="34" charset="0"/>
                </a:rPr>
                <a:t>Artigo: “The Perceptron: A Probabilistic Model for Information Storage and Organization in the Brain”</a:t>
              </a:r>
            </a:p>
          </p:txBody>
        </p:sp>
        <p:sp>
          <p:nvSpPr>
            <p:cNvPr id="50" name="Text Placeholder 24">
              <a:extLst>
                <a:ext uri="{FF2B5EF4-FFF2-40B4-BE49-F238E27FC236}">
                  <a16:creationId xmlns:a16="http://schemas.microsoft.com/office/drawing/2014/main" id="{3AB6F912-98C8-5003-B956-930375C54A32}"/>
                </a:ext>
              </a:extLst>
            </p:cNvPr>
            <p:cNvSpPr txBox="1">
              <a:spLocks/>
            </p:cNvSpPr>
            <p:nvPr/>
          </p:nvSpPr>
          <p:spPr>
            <a:xfrm>
              <a:off x="563410" y="3538534"/>
              <a:ext cx="3744430" cy="732360"/>
            </a:xfrm>
            <a:prstGeom prst="rect">
              <a:avLst/>
            </a:prstGeom>
            <a:ln>
              <a:noFill/>
            </a:ln>
          </p:spPr>
          <p:txBody>
            <a:bodyPr vert="horz" lIns="0" tIns="0" rIns="0" bIns="0" rtlCol="0" anchor="t">
              <a:noAutofit/>
            </a:bodyPr>
            <a:lstStyle>
              <a:lvl1pPr marL="0" indent="0" algn="l" defTabSz="228594" rtl="0" eaLnBrk="1" latinLnBrk="0" hangingPunct="1">
                <a:lnSpc>
                  <a:spcPct val="90000"/>
                </a:lnSpc>
                <a:spcBef>
                  <a:spcPts val="0"/>
                </a:spcBef>
                <a:spcAft>
                  <a:spcPts val="0"/>
                </a:spcAft>
                <a:buFont typeface="Arial" panose="020B0604020202020204" pitchFamily="34" charset="0"/>
                <a:buNone/>
                <a:defRPr sz="1600" b="0" i="0" kern="1200">
                  <a:solidFill>
                    <a:schemeClr val="tx1"/>
                  </a:solidFill>
                  <a:latin typeface="Graphik Semibold" panose="020B0703030202060203" pitchFamily="34" charset="0"/>
                  <a:ea typeface="+mn-ea"/>
                  <a:cs typeface="+mn-cs"/>
                </a:defRPr>
              </a:lvl1pPr>
              <a:lvl2pPr marL="457189" indent="0" algn="l" defTabSz="228594" rtl="0" eaLnBrk="1" latinLnBrk="0" hangingPunct="1">
                <a:lnSpc>
                  <a:spcPct val="100000"/>
                </a:lnSpc>
                <a:spcBef>
                  <a:spcPts val="0"/>
                </a:spcBef>
                <a:spcAft>
                  <a:spcPts val="1200"/>
                </a:spcAft>
                <a:buClrTx/>
                <a:buFont typeface="Arial" panose="020B0604020202020204" pitchFamily="34" charset="0"/>
                <a:buNone/>
                <a:defRPr sz="2000" b="1" kern="1200">
                  <a:solidFill>
                    <a:schemeClr val="tx1"/>
                  </a:solidFill>
                  <a:latin typeface="+mn-lt"/>
                  <a:ea typeface="+mn-ea"/>
                  <a:cs typeface="+mn-cs"/>
                </a:defRPr>
              </a:lvl2pPr>
              <a:lvl3pPr marL="914377" indent="0" algn="l" defTabSz="228594" rtl="0" eaLnBrk="1" latinLnBrk="0" hangingPunct="1">
                <a:lnSpc>
                  <a:spcPct val="100000"/>
                </a:lnSpc>
                <a:spcBef>
                  <a:spcPts val="0"/>
                </a:spcBef>
                <a:spcAft>
                  <a:spcPts val="1200"/>
                </a:spcAft>
                <a:buFont typeface="System Font"/>
                <a:buNone/>
                <a:defRPr sz="1800" b="1" kern="1200">
                  <a:solidFill>
                    <a:schemeClr val="tx1"/>
                  </a:solidFill>
                  <a:latin typeface="+mn-lt"/>
                  <a:ea typeface="+mn-ea"/>
                  <a:cs typeface="+mn-cs"/>
                </a:defRPr>
              </a:lvl3pPr>
              <a:lvl4pPr marL="1371566" indent="0" algn="l" defTabSz="228594" rtl="0" eaLnBrk="1" latinLnBrk="0" hangingPunct="1">
                <a:lnSpc>
                  <a:spcPct val="10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4pPr>
              <a:lvl5pPr marL="1828754" indent="0" algn="l" defTabSz="228594" rtl="0" eaLnBrk="1" latinLnBrk="0" hangingPunct="1">
                <a:lnSpc>
                  <a:spcPct val="100000"/>
                </a:lnSpc>
                <a:spcBef>
                  <a:spcPts val="0"/>
                </a:spcBef>
                <a:spcAft>
                  <a:spcPts val="1200"/>
                </a:spcAft>
                <a:buFont typeface="System Font"/>
                <a:buNone/>
                <a:defRPr sz="1600" b="1" kern="1200">
                  <a:solidFill>
                    <a:schemeClr val="tx1"/>
                  </a:solidFill>
                  <a:latin typeface="+mn-lt"/>
                  <a:ea typeface="+mn-ea"/>
                  <a:cs typeface="+mn-cs"/>
                </a:defRPr>
              </a:lvl5pPr>
              <a:lvl6pPr marL="2285943" indent="0" algn="l" defTabSz="228594" rtl="0" eaLnBrk="1" latinLnBrk="0" hangingPunct="1">
                <a:lnSpc>
                  <a:spcPct val="90000"/>
                </a:lnSpc>
                <a:spcBef>
                  <a:spcPts val="0"/>
                </a:spcBef>
                <a:spcAft>
                  <a:spcPts val="1200"/>
                </a:spcAft>
                <a:buFont typeface="Graphik" panose="020B0503030202060203" pitchFamily="34" charset="0"/>
                <a:buNone/>
                <a:tabLst/>
                <a:defRPr sz="1600" b="1" kern="1200">
                  <a:solidFill>
                    <a:schemeClr val="tx1"/>
                  </a:solidFill>
                  <a:latin typeface="+mn-lt"/>
                  <a:ea typeface="+mn-ea"/>
                  <a:cs typeface="+mn-cs"/>
                </a:defRPr>
              </a:lvl6pPr>
              <a:lvl7pPr marL="2743131"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7pPr>
              <a:lvl8pPr marL="3200320"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8pPr>
              <a:lvl9pPr marL="3657509"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2"/>
                  </a:solidFill>
                  <a:latin typeface="+mn-lt"/>
                  <a:ea typeface="+mn-ea"/>
                  <a:cs typeface="+mn-cs"/>
                </a:defRPr>
              </a:lvl9pPr>
            </a:lstStyle>
            <a:p>
              <a:r>
                <a:rPr lang="pt-BR" noProof="1"/>
                <a:t>Backpropagation (1986)</a:t>
              </a:r>
            </a:p>
            <a:p>
              <a:r>
                <a:rPr lang="pt-BR" sz="1100" noProof="1">
                  <a:latin typeface="Graphik" panose="020B0503030202060203" pitchFamily="34" charset="0"/>
                </a:rPr>
                <a:t>Autores: Rumelhart, Hinton &amp; Williams</a:t>
              </a:r>
            </a:p>
            <a:p>
              <a:r>
                <a:rPr lang="pt-BR" sz="1100" noProof="1">
                  <a:latin typeface="Graphik" panose="020B0503030202060203" pitchFamily="34" charset="0"/>
                </a:rPr>
                <a:t>Artigo: “Learning representations by back-propagating errors”</a:t>
              </a:r>
            </a:p>
          </p:txBody>
        </p:sp>
        <p:sp>
          <p:nvSpPr>
            <p:cNvPr id="51" name="Text Placeholder 27">
              <a:extLst>
                <a:ext uri="{FF2B5EF4-FFF2-40B4-BE49-F238E27FC236}">
                  <a16:creationId xmlns:a16="http://schemas.microsoft.com/office/drawing/2014/main" id="{89E39666-DE88-96F1-EFC7-A476BFAFF0D8}"/>
                </a:ext>
              </a:extLst>
            </p:cNvPr>
            <p:cNvSpPr txBox="1">
              <a:spLocks/>
            </p:cNvSpPr>
            <p:nvPr/>
          </p:nvSpPr>
          <p:spPr>
            <a:xfrm>
              <a:off x="563410" y="4540746"/>
              <a:ext cx="3744430" cy="732360"/>
            </a:xfrm>
            <a:prstGeom prst="rect">
              <a:avLst/>
            </a:prstGeom>
            <a:ln>
              <a:noFill/>
            </a:ln>
          </p:spPr>
          <p:txBody>
            <a:bodyPr vert="horz" lIns="0" tIns="0" rIns="0" bIns="0" rtlCol="0" anchor="t">
              <a:noAutofit/>
            </a:bodyPr>
            <a:lstStyle>
              <a:lvl1pPr marL="0" indent="0" algn="l" defTabSz="228594" rtl="0" eaLnBrk="1" latinLnBrk="0" hangingPunct="1">
                <a:lnSpc>
                  <a:spcPct val="90000"/>
                </a:lnSpc>
                <a:spcBef>
                  <a:spcPts val="0"/>
                </a:spcBef>
                <a:spcAft>
                  <a:spcPts val="0"/>
                </a:spcAft>
                <a:buFont typeface="Arial" panose="020B0604020202020204" pitchFamily="34" charset="0"/>
                <a:buNone/>
                <a:defRPr sz="1600" b="0" i="0" kern="1200">
                  <a:solidFill>
                    <a:schemeClr val="tx1"/>
                  </a:solidFill>
                  <a:latin typeface="Graphik Semibold" panose="020B0703030202060203" pitchFamily="34" charset="0"/>
                  <a:ea typeface="+mn-ea"/>
                  <a:cs typeface="+mn-cs"/>
                </a:defRPr>
              </a:lvl1pPr>
              <a:lvl2pPr marL="457189" indent="0" algn="l" defTabSz="228594" rtl="0" eaLnBrk="1" latinLnBrk="0" hangingPunct="1">
                <a:lnSpc>
                  <a:spcPct val="100000"/>
                </a:lnSpc>
                <a:spcBef>
                  <a:spcPts val="0"/>
                </a:spcBef>
                <a:spcAft>
                  <a:spcPts val="1200"/>
                </a:spcAft>
                <a:buClrTx/>
                <a:buFont typeface="Arial" panose="020B0604020202020204" pitchFamily="34" charset="0"/>
                <a:buNone/>
                <a:defRPr sz="2000" b="1" kern="1200">
                  <a:solidFill>
                    <a:schemeClr val="tx1"/>
                  </a:solidFill>
                  <a:latin typeface="+mn-lt"/>
                  <a:ea typeface="+mn-ea"/>
                  <a:cs typeface="+mn-cs"/>
                </a:defRPr>
              </a:lvl2pPr>
              <a:lvl3pPr marL="914377" indent="0" algn="l" defTabSz="228594" rtl="0" eaLnBrk="1" latinLnBrk="0" hangingPunct="1">
                <a:lnSpc>
                  <a:spcPct val="100000"/>
                </a:lnSpc>
                <a:spcBef>
                  <a:spcPts val="0"/>
                </a:spcBef>
                <a:spcAft>
                  <a:spcPts val="1200"/>
                </a:spcAft>
                <a:buFont typeface="System Font"/>
                <a:buNone/>
                <a:defRPr sz="1800" b="1" kern="1200">
                  <a:solidFill>
                    <a:schemeClr val="tx1"/>
                  </a:solidFill>
                  <a:latin typeface="+mn-lt"/>
                  <a:ea typeface="+mn-ea"/>
                  <a:cs typeface="+mn-cs"/>
                </a:defRPr>
              </a:lvl3pPr>
              <a:lvl4pPr marL="1371566" indent="0" algn="l" defTabSz="228594" rtl="0" eaLnBrk="1" latinLnBrk="0" hangingPunct="1">
                <a:lnSpc>
                  <a:spcPct val="10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4pPr>
              <a:lvl5pPr marL="1828754" indent="0" algn="l" defTabSz="228594" rtl="0" eaLnBrk="1" latinLnBrk="0" hangingPunct="1">
                <a:lnSpc>
                  <a:spcPct val="100000"/>
                </a:lnSpc>
                <a:spcBef>
                  <a:spcPts val="0"/>
                </a:spcBef>
                <a:spcAft>
                  <a:spcPts val="1200"/>
                </a:spcAft>
                <a:buFont typeface="System Font"/>
                <a:buNone/>
                <a:defRPr sz="1600" b="1" kern="1200">
                  <a:solidFill>
                    <a:schemeClr val="tx1"/>
                  </a:solidFill>
                  <a:latin typeface="+mn-lt"/>
                  <a:ea typeface="+mn-ea"/>
                  <a:cs typeface="+mn-cs"/>
                </a:defRPr>
              </a:lvl5pPr>
              <a:lvl6pPr marL="2285943" indent="0" algn="l" defTabSz="228594" rtl="0" eaLnBrk="1" latinLnBrk="0" hangingPunct="1">
                <a:lnSpc>
                  <a:spcPct val="90000"/>
                </a:lnSpc>
                <a:spcBef>
                  <a:spcPts val="0"/>
                </a:spcBef>
                <a:spcAft>
                  <a:spcPts val="1200"/>
                </a:spcAft>
                <a:buFont typeface="Graphik" panose="020B0503030202060203" pitchFamily="34" charset="0"/>
                <a:buNone/>
                <a:tabLst/>
                <a:defRPr sz="1600" b="1" kern="1200">
                  <a:solidFill>
                    <a:schemeClr val="tx1"/>
                  </a:solidFill>
                  <a:latin typeface="+mn-lt"/>
                  <a:ea typeface="+mn-ea"/>
                  <a:cs typeface="+mn-cs"/>
                </a:defRPr>
              </a:lvl6pPr>
              <a:lvl7pPr marL="2743131"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7pPr>
              <a:lvl8pPr marL="3200320"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8pPr>
              <a:lvl9pPr marL="3657509"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2"/>
                  </a:solidFill>
                  <a:latin typeface="+mn-lt"/>
                  <a:ea typeface="+mn-ea"/>
                  <a:cs typeface="+mn-cs"/>
                </a:defRPr>
              </a:lvl9pPr>
            </a:lstStyle>
            <a:p>
              <a:r>
                <a:rPr lang="pt-BR" noProof="1"/>
                <a:t>AlexNet/ImageNet (2012)</a:t>
              </a:r>
            </a:p>
            <a:p>
              <a:r>
                <a:rPr lang="pt-BR" sz="1100" noProof="1">
                  <a:latin typeface="Graphik" panose="020B0503030202060203" pitchFamily="34" charset="0"/>
                </a:rPr>
                <a:t>Autores: Krizhevsky, Sutskever &amp; Hinton</a:t>
              </a:r>
            </a:p>
            <a:p>
              <a:r>
                <a:rPr lang="pt-BR" sz="1100" noProof="1">
                  <a:latin typeface="Graphik" panose="020B0503030202060203" pitchFamily="34" charset="0"/>
                </a:rPr>
                <a:t>Artigo: “Image Net Classification with Deep Convolutional Neural Networks (CNNs)”</a:t>
              </a:r>
            </a:p>
            <a:p>
              <a:endParaRPr lang="pt-BR" noProof="1"/>
            </a:p>
          </p:txBody>
        </p:sp>
        <p:sp>
          <p:nvSpPr>
            <p:cNvPr id="52" name="Text Placeholder 30">
              <a:extLst>
                <a:ext uri="{FF2B5EF4-FFF2-40B4-BE49-F238E27FC236}">
                  <a16:creationId xmlns:a16="http://schemas.microsoft.com/office/drawing/2014/main" id="{4D5BC4B0-604A-00A2-2397-2D05FE35B1EE}"/>
                </a:ext>
              </a:extLst>
            </p:cNvPr>
            <p:cNvSpPr txBox="1">
              <a:spLocks/>
            </p:cNvSpPr>
            <p:nvPr/>
          </p:nvSpPr>
          <p:spPr>
            <a:xfrm>
              <a:off x="563410" y="5553996"/>
              <a:ext cx="3978110" cy="732360"/>
            </a:xfrm>
            <a:prstGeom prst="rect">
              <a:avLst/>
            </a:prstGeom>
            <a:ln>
              <a:noFill/>
            </a:ln>
          </p:spPr>
          <p:txBody>
            <a:bodyPr vert="horz" lIns="0" tIns="0" rIns="0" bIns="0" rtlCol="0" anchor="t">
              <a:noAutofit/>
            </a:bodyPr>
            <a:lstStyle>
              <a:lvl1pPr marL="0" indent="0" algn="l" defTabSz="228594" rtl="0" eaLnBrk="1" latinLnBrk="0" hangingPunct="1">
                <a:lnSpc>
                  <a:spcPct val="90000"/>
                </a:lnSpc>
                <a:spcBef>
                  <a:spcPts val="0"/>
                </a:spcBef>
                <a:spcAft>
                  <a:spcPts val="0"/>
                </a:spcAft>
                <a:buFont typeface="Arial" panose="020B0604020202020204" pitchFamily="34" charset="0"/>
                <a:buNone/>
                <a:defRPr sz="1600" b="0" i="0" kern="1200">
                  <a:solidFill>
                    <a:schemeClr val="tx1"/>
                  </a:solidFill>
                  <a:latin typeface="Graphik Semibold" panose="020B0703030202060203" pitchFamily="34" charset="0"/>
                  <a:ea typeface="+mn-ea"/>
                  <a:cs typeface="+mn-cs"/>
                </a:defRPr>
              </a:lvl1pPr>
              <a:lvl2pPr marL="457189" indent="0" algn="l" defTabSz="228594" rtl="0" eaLnBrk="1" latinLnBrk="0" hangingPunct="1">
                <a:lnSpc>
                  <a:spcPct val="100000"/>
                </a:lnSpc>
                <a:spcBef>
                  <a:spcPts val="0"/>
                </a:spcBef>
                <a:spcAft>
                  <a:spcPts val="1200"/>
                </a:spcAft>
                <a:buClrTx/>
                <a:buFont typeface="Arial" panose="020B0604020202020204" pitchFamily="34" charset="0"/>
                <a:buNone/>
                <a:defRPr sz="2000" b="1" kern="1200">
                  <a:solidFill>
                    <a:schemeClr val="tx1"/>
                  </a:solidFill>
                  <a:latin typeface="+mn-lt"/>
                  <a:ea typeface="+mn-ea"/>
                  <a:cs typeface="+mn-cs"/>
                </a:defRPr>
              </a:lvl2pPr>
              <a:lvl3pPr marL="914377" indent="0" algn="l" defTabSz="228594" rtl="0" eaLnBrk="1" latinLnBrk="0" hangingPunct="1">
                <a:lnSpc>
                  <a:spcPct val="100000"/>
                </a:lnSpc>
                <a:spcBef>
                  <a:spcPts val="0"/>
                </a:spcBef>
                <a:spcAft>
                  <a:spcPts val="1200"/>
                </a:spcAft>
                <a:buFont typeface="System Font"/>
                <a:buNone/>
                <a:defRPr sz="1800" b="1" kern="1200">
                  <a:solidFill>
                    <a:schemeClr val="tx1"/>
                  </a:solidFill>
                  <a:latin typeface="+mn-lt"/>
                  <a:ea typeface="+mn-ea"/>
                  <a:cs typeface="+mn-cs"/>
                </a:defRPr>
              </a:lvl3pPr>
              <a:lvl4pPr marL="1371566" indent="0" algn="l" defTabSz="228594" rtl="0" eaLnBrk="1" latinLnBrk="0" hangingPunct="1">
                <a:lnSpc>
                  <a:spcPct val="10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4pPr>
              <a:lvl5pPr marL="1828754" indent="0" algn="l" defTabSz="228594" rtl="0" eaLnBrk="1" latinLnBrk="0" hangingPunct="1">
                <a:lnSpc>
                  <a:spcPct val="100000"/>
                </a:lnSpc>
                <a:spcBef>
                  <a:spcPts val="0"/>
                </a:spcBef>
                <a:spcAft>
                  <a:spcPts val="1200"/>
                </a:spcAft>
                <a:buFont typeface="System Font"/>
                <a:buNone/>
                <a:defRPr sz="1600" b="1" kern="1200">
                  <a:solidFill>
                    <a:schemeClr val="tx1"/>
                  </a:solidFill>
                  <a:latin typeface="+mn-lt"/>
                  <a:ea typeface="+mn-ea"/>
                  <a:cs typeface="+mn-cs"/>
                </a:defRPr>
              </a:lvl5pPr>
              <a:lvl6pPr marL="2285943" indent="0" algn="l" defTabSz="228594" rtl="0" eaLnBrk="1" latinLnBrk="0" hangingPunct="1">
                <a:lnSpc>
                  <a:spcPct val="90000"/>
                </a:lnSpc>
                <a:spcBef>
                  <a:spcPts val="0"/>
                </a:spcBef>
                <a:spcAft>
                  <a:spcPts val="1200"/>
                </a:spcAft>
                <a:buFont typeface="Graphik" panose="020B0503030202060203" pitchFamily="34" charset="0"/>
                <a:buNone/>
                <a:tabLst/>
                <a:defRPr sz="1600" b="1" kern="1200">
                  <a:solidFill>
                    <a:schemeClr val="tx1"/>
                  </a:solidFill>
                  <a:latin typeface="+mn-lt"/>
                  <a:ea typeface="+mn-ea"/>
                  <a:cs typeface="+mn-cs"/>
                </a:defRPr>
              </a:lvl6pPr>
              <a:lvl7pPr marL="2743131"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7pPr>
              <a:lvl8pPr marL="3200320"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8pPr>
              <a:lvl9pPr marL="3657509"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2"/>
                  </a:solidFill>
                  <a:latin typeface="+mn-lt"/>
                  <a:ea typeface="+mn-ea"/>
                  <a:cs typeface="+mn-cs"/>
                </a:defRPr>
              </a:lvl9pPr>
            </a:lstStyle>
            <a:p>
              <a:r>
                <a:rPr lang="pt-BR" noProof="1"/>
                <a:t>Transformers (2017)</a:t>
              </a:r>
            </a:p>
            <a:p>
              <a:r>
                <a:rPr lang="pt-BR" sz="1100" noProof="1">
                  <a:latin typeface="Graphik" panose="020B0503030202060203" pitchFamily="34" charset="0"/>
                </a:rPr>
                <a:t>Autores: Vaswani et al.</a:t>
              </a:r>
            </a:p>
            <a:p>
              <a:r>
                <a:rPr lang="pt-BR" sz="1100" noProof="1">
                  <a:latin typeface="Graphik" panose="020B0503030202060203" pitchFamily="34" charset="0"/>
                </a:rPr>
                <a:t>Artigo: “Attention is All You Need”</a:t>
              </a:r>
            </a:p>
            <a:p>
              <a:endParaRPr lang="pt-BR" noProof="1"/>
            </a:p>
          </p:txBody>
        </p:sp>
      </p:grpSp>
    </p:spTree>
    <p:extLst>
      <p:ext uri="{BB962C8B-B14F-4D97-AF65-F5344CB8AC3E}">
        <p14:creationId xmlns:p14="http://schemas.microsoft.com/office/powerpoint/2010/main" val="11616072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205233FB-74B4-9C31-B636-C4916E4F3996}"/>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BF6CDC2-B77E-F70A-FA59-8B6CA8AA58C2}"/>
              </a:ext>
            </a:extLst>
          </p:cNvPr>
          <p:cNvGraphicFramePr>
            <a:graphicFrameLocks noChangeAspect="1"/>
          </p:cNvGraphicFramePr>
          <p:nvPr>
            <p:custDataLst>
              <p:tags r:id="rId1"/>
            </p:custDataLst>
            <p:extLst>
              <p:ext uri="{D42A27DB-BD31-4B8C-83A1-F6EECF244321}">
                <p14:modId xmlns:p14="http://schemas.microsoft.com/office/powerpoint/2010/main" val="1621819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3" name="think-cell data - do not delete" hidden="1">
                        <a:extLst>
                          <a:ext uri="{FF2B5EF4-FFF2-40B4-BE49-F238E27FC236}">
                            <a16:creationId xmlns:a16="http://schemas.microsoft.com/office/drawing/2014/main" id="{3BF6CDC2-B77E-F70A-FA59-8B6CA8AA58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14">
            <a:extLst>
              <a:ext uri="{FF2B5EF4-FFF2-40B4-BE49-F238E27FC236}">
                <a16:creationId xmlns:a16="http://schemas.microsoft.com/office/drawing/2014/main" id="{36FF970A-CC01-72CE-CB5D-1EB0CFEDF8CE}"/>
              </a:ext>
            </a:extLst>
          </p:cNvPr>
          <p:cNvSpPr>
            <a:spLocks noGrp="1"/>
          </p:cNvSpPr>
          <p:nvPr>
            <p:ph type="title"/>
          </p:nvPr>
        </p:nvSpPr>
        <p:spPr>
          <a:xfrm>
            <a:off x="563410" y="558086"/>
            <a:ext cx="9398470" cy="393954"/>
          </a:xfrm>
        </p:spPr>
        <p:txBody>
          <a:bodyPr vert="horz"/>
          <a:lstStyle/>
          <a:p>
            <a:r>
              <a:rPr lang="pt-BR" b="1" noProof="1"/>
              <a:t>Fundamentos da Incerteza em Deep Learning</a:t>
            </a:r>
            <a:endParaRPr lang="pt-BR" noProof="1"/>
          </a:p>
        </p:txBody>
      </p:sp>
      <p:sp>
        <p:nvSpPr>
          <p:cNvPr id="22" name="Text Placeholder 21">
            <a:extLst>
              <a:ext uri="{FF2B5EF4-FFF2-40B4-BE49-F238E27FC236}">
                <a16:creationId xmlns:a16="http://schemas.microsoft.com/office/drawing/2014/main" id="{31DA9933-0570-F441-8276-E9F32C5FB1DB}"/>
              </a:ext>
            </a:extLst>
          </p:cNvPr>
          <p:cNvSpPr>
            <a:spLocks noGrp="1"/>
          </p:cNvSpPr>
          <p:nvPr>
            <p:ph type="body" sz="quarter" idx="26"/>
          </p:nvPr>
        </p:nvSpPr>
        <p:spPr>
          <a:xfrm>
            <a:off x="563410" y="1609787"/>
            <a:ext cx="8067510" cy="384048"/>
          </a:xfrm>
        </p:spPr>
        <p:txBody>
          <a:bodyPr/>
          <a:lstStyle/>
          <a:p>
            <a:r>
              <a:rPr lang="pt-BR" noProof="1">
                <a:solidFill>
                  <a:schemeClr val="bg2"/>
                </a:solidFill>
              </a:rPr>
              <a:t>Abordagens para estimativa de incerteza em modelos de Deep Learning</a:t>
            </a:r>
          </a:p>
        </p:txBody>
      </p:sp>
      <p:sp>
        <p:nvSpPr>
          <p:cNvPr id="6" name="Text Placeholder 22">
            <a:extLst>
              <a:ext uri="{FF2B5EF4-FFF2-40B4-BE49-F238E27FC236}">
                <a16:creationId xmlns:a16="http://schemas.microsoft.com/office/drawing/2014/main" id="{E667CEC1-A892-B0E0-C8C1-844EAE1EA10E}"/>
              </a:ext>
            </a:extLst>
          </p:cNvPr>
          <p:cNvSpPr txBox="1">
            <a:spLocks/>
          </p:cNvSpPr>
          <p:nvPr/>
        </p:nvSpPr>
        <p:spPr>
          <a:xfrm>
            <a:off x="4943100" y="2525284"/>
            <a:ext cx="4314790" cy="734935"/>
          </a:xfrm>
          <a:prstGeom prst="rect">
            <a:avLst/>
          </a:prstGeom>
          <a:ln>
            <a:noFill/>
          </a:ln>
        </p:spPr>
        <p:txBody>
          <a:bodyPr vert="horz" lIns="0" tIns="0" rIns="0" bIns="0" rtlCol="0">
            <a:noAutofit/>
          </a:bodyPr>
          <a:lstStyle>
            <a:lvl1pPr marL="0" indent="0" algn="l" defTabSz="228594" rtl="0" eaLnBrk="1" latinLnBrk="0" hangingPunct="1">
              <a:lnSpc>
                <a:spcPct val="100000"/>
              </a:lnSpc>
              <a:spcBef>
                <a:spcPts val="0"/>
              </a:spcBef>
              <a:spcAft>
                <a:spcPts val="1200"/>
              </a:spcAft>
              <a:buFont typeface="Arial" panose="020B0604020202020204" pitchFamily="34" charset="0"/>
              <a:buNone/>
              <a:defRPr lang="en-US" sz="1200" b="0" kern="1200" dirty="0" smtClean="0">
                <a:solidFill>
                  <a:schemeClr val="tx1"/>
                </a:solidFill>
                <a:latin typeface="+mn-lt"/>
                <a:ea typeface="+mn-ea"/>
                <a:cs typeface="+mn-cs"/>
              </a:defRPr>
            </a:lvl1pPr>
            <a:lvl2pPr marL="228594" indent="-228594" algn="l" defTabSz="228594" rtl="0" eaLnBrk="1" latinLnBrk="0" hangingPunct="1">
              <a:lnSpc>
                <a:spcPct val="100000"/>
              </a:lnSpc>
              <a:spcBef>
                <a:spcPts val="0"/>
              </a:spcBef>
              <a:spcAft>
                <a:spcPts val="1200"/>
              </a:spcAft>
              <a:buClrTx/>
              <a:buFont typeface="Arial" panose="020B0604020202020204" pitchFamily="34" charset="0"/>
              <a:buChar char="•"/>
              <a:defRPr lang="en-US" sz="1400" b="0" kern="1200" dirty="0" smtClean="0">
                <a:solidFill>
                  <a:schemeClr val="tx1"/>
                </a:solidFill>
                <a:latin typeface="+mn-lt"/>
                <a:ea typeface="+mn-ea"/>
                <a:cs typeface="+mn-cs"/>
              </a:defRPr>
            </a:lvl2pPr>
            <a:lvl3pPr marL="457189" indent="-228594" algn="l" defTabSz="228594" rtl="0" eaLnBrk="1" latinLnBrk="0" hangingPunct="1">
              <a:lnSpc>
                <a:spcPct val="100000"/>
              </a:lnSpc>
              <a:spcBef>
                <a:spcPts val="0"/>
              </a:spcBef>
              <a:spcAft>
                <a:spcPts val="1200"/>
              </a:spcAft>
              <a:buFont typeface="System Font"/>
              <a:buChar char="–"/>
              <a:defRPr sz="1200" kern="1200">
                <a:solidFill>
                  <a:schemeClr val="tx1"/>
                </a:solidFill>
                <a:latin typeface="+mn-lt"/>
                <a:ea typeface="+mn-ea"/>
                <a:cs typeface="+mn-cs"/>
              </a:defRPr>
            </a:lvl3pPr>
            <a:lvl4pPr marL="685783" indent="-228594" algn="l" defTabSz="228594" rtl="0" eaLnBrk="1" latinLnBrk="0" hangingPunct="1">
              <a:lnSpc>
                <a:spcPct val="100000"/>
              </a:lnSpc>
              <a:spcBef>
                <a:spcPts val="0"/>
              </a:spcBef>
              <a:spcAft>
                <a:spcPts val="1200"/>
              </a:spcAft>
              <a:buFont typeface="Arial" panose="020B0604020202020204" pitchFamily="34" charset="0"/>
              <a:buChar char="•"/>
              <a:defRPr sz="1100" kern="1200">
                <a:solidFill>
                  <a:schemeClr val="tx1"/>
                </a:solidFill>
                <a:latin typeface="+mn-lt"/>
                <a:ea typeface="+mn-ea"/>
                <a:cs typeface="+mn-cs"/>
              </a:defRPr>
            </a:lvl4pPr>
            <a:lvl5pPr marL="914377" indent="-228594" algn="l" defTabSz="228594" rtl="0" eaLnBrk="1" latinLnBrk="0" hangingPunct="1">
              <a:lnSpc>
                <a:spcPct val="100000"/>
              </a:lnSpc>
              <a:spcBef>
                <a:spcPts val="0"/>
              </a:spcBef>
              <a:spcAft>
                <a:spcPts val="1200"/>
              </a:spcAft>
              <a:buFont typeface="System Font"/>
              <a:buChar char="–"/>
              <a:defRPr sz="1100" kern="1200">
                <a:solidFill>
                  <a:schemeClr val="tx1"/>
                </a:solidFill>
                <a:latin typeface="+mn-lt"/>
                <a:ea typeface="+mn-ea"/>
                <a:cs typeface="+mn-cs"/>
              </a:defRPr>
            </a:lvl5pPr>
            <a:lvl6pPr marL="11113" indent="0" algn="l" defTabSz="228594" rtl="0" eaLnBrk="1" latinLnBrk="0" hangingPunct="1">
              <a:lnSpc>
                <a:spcPct val="90000"/>
              </a:lnSpc>
              <a:spcBef>
                <a:spcPts val="0"/>
              </a:spcBef>
              <a:spcAft>
                <a:spcPts val="1200"/>
              </a:spcAft>
              <a:buFont typeface="Graphik" panose="020B0503030202060203" pitchFamily="34" charset="0"/>
              <a:buNone/>
              <a:tabLst/>
              <a:defRPr sz="1200" kern="1200">
                <a:solidFill>
                  <a:schemeClr val="tx1"/>
                </a:solidFill>
                <a:latin typeface="+mn-lt"/>
                <a:ea typeface="+mn-ea"/>
                <a:cs typeface="+mn-cs"/>
              </a:defRPr>
            </a:lvl6pPr>
            <a:lvl7pPr marL="0" indent="0" algn="l" defTabSz="22859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mn-lt"/>
                <a:ea typeface="+mn-ea"/>
                <a:cs typeface="+mn-cs"/>
              </a:defRPr>
            </a:lvl7pPr>
            <a:lvl8pPr marL="0" indent="0" algn="l" defTabSz="22859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mn-lt"/>
                <a:ea typeface="+mn-ea"/>
                <a:cs typeface="+mn-cs"/>
              </a:defRPr>
            </a:lvl8pPr>
            <a:lvl9pPr marL="0" indent="0" algn="l" defTabSz="22859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mn-lt"/>
                <a:ea typeface="+mn-ea"/>
                <a:cs typeface="+mn-cs"/>
              </a:defRPr>
            </a:lvl9pPr>
          </a:lstStyle>
          <a:p>
            <a:r>
              <a:rPr lang="pt-BR" noProof="1"/>
              <a:t>Mostrou que o Dropout pode ser interpretado como aproximação Bayesiana, permitindo estimar incerteza epistêmica via múltiplos forward passes.</a:t>
            </a:r>
          </a:p>
        </p:txBody>
      </p:sp>
      <p:sp>
        <p:nvSpPr>
          <p:cNvPr id="7" name="Text Placeholder 25">
            <a:extLst>
              <a:ext uri="{FF2B5EF4-FFF2-40B4-BE49-F238E27FC236}">
                <a16:creationId xmlns:a16="http://schemas.microsoft.com/office/drawing/2014/main" id="{437BEABA-D725-DFCC-BAD2-4F50B20079FD}"/>
              </a:ext>
            </a:extLst>
          </p:cNvPr>
          <p:cNvSpPr txBox="1">
            <a:spLocks/>
          </p:cNvSpPr>
          <p:nvPr/>
        </p:nvSpPr>
        <p:spPr>
          <a:xfrm>
            <a:off x="4943100" y="3538534"/>
            <a:ext cx="4314790" cy="734935"/>
          </a:xfrm>
          <a:prstGeom prst="rect">
            <a:avLst/>
          </a:prstGeom>
          <a:ln>
            <a:noFill/>
          </a:ln>
        </p:spPr>
        <p:txBody>
          <a:bodyPr vert="horz" lIns="0" tIns="0" rIns="0" bIns="0" rtlCol="0">
            <a:noAutofit/>
          </a:bodyPr>
          <a:lstStyle>
            <a:lvl1pPr marL="0" indent="0" algn="l" defTabSz="228594" rtl="0" eaLnBrk="1" latinLnBrk="0" hangingPunct="1">
              <a:lnSpc>
                <a:spcPct val="100000"/>
              </a:lnSpc>
              <a:spcBef>
                <a:spcPts val="0"/>
              </a:spcBef>
              <a:spcAft>
                <a:spcPts val="1200"/>
              </a:spcAft>
              <a:buFont typeface="Arial" panose="020B0604020202020204" pitchFamily="34" charset="0"/>
              <a:buNone/>
              <a:defRPr lang="en-US" sz="1200" b="0" kern="1200" dirty="0" smtClean="0">
                <a:solidFill>
                  <a:schemeClr val="tx1"/>
                </a:solidFill>
                <a:latin typeface="+mn-lt"/>
                <a:ea typeface="+mn-ea"/>
                <a:cs typeface="+mn-cs"/>
              </a:defRPr>
            </a:lvl1pPr>
            <a:lvl2pPr marL="228594" indent="-228594" algn="l" defTabSz="228594" rtl="0" eaLnBrk="1" latinLnBrk="0" hangingPunct="1">
              <a:lnSpc>
                <a:spcPct val="100000"/>
              </a:lnSpc>
              <a:spcBef>
                <a:spcPts val="0"/>
              </a:spcBef>
              <a:spcAft>
                <a:spcPts val="1200"/>
              </a:spcAft>
              <a:buClrTx/>
              <a:buFont typeface="Arial" panose="020B0604020202020204" pitchFamily="34" charset="0"/>
              <a:buChar char="•"/>
              <a:defRPr lang="en-US" sz="1400" b="0" kern="1200" dirty="0" smtClean="0">
                <a:solidFill>
                  <a:schemeClr val="tx1"/>
                </a:solidFill>
                <a:latin typeface="+mn-lt"/>
                <a:ea typeface="+mn-ea"/>
                <a:cs typeface="+mn-cs"/>
              </a:defRPr>
            </a:lvl2pPr>
            <a:lvl3pPr marL="457189" indent="-228594" algn="l" defTabSz="228594" rtl="0" eaLnBrk="1" latinLnBrk="0" hangingPunct="1">
              <a:lnSpc>
                <a:spcPct val="100000"/>
              </a:lnSpc>
              <a:spcBef>
                <a:spcPts val="0"/>
              </a:spcBef>
              <a:spcAft>
                <a:spcPts val="1200"/>
              </a:spcAft>
              <a:buFont typeface="System Font"/>
              <a:buChar char="–"/>
              <a:defRPr sz="1200" kern="1200">
                <a:solidFill>
                  <a:schemeClr val="tx1"/>
                </a:solidFill>
                <a:latin typeface="+mn-lt"/>
                <a:ea typeface="+mn-ea"/>
                <a:cs typeface="+mn-cs"/>
              </a:defRPr>
            </a:lvl3pPr>
            <a:lvl4pPr marL="685783" indent="-228594" algn="l" defTabSz="228594" rtl="0" eaLnBrk="1" latinLnBrk="0" hangingPunct="1">
              <a:lnSpc>
                <a:spcPct val="100000"/>
              </a:lnSpc>
              <a:spcBef>
                <a:spcPts val="0"/>
              </a:spcBef>
              <a:spcAft>
                <a:spcPts val="1200"/>
              </a:spcAft>
              <a:buFont typeface="Arial" panose="020B0604020202020204" pitchFamily="34" charset="0"/>
              <a:buChar char="•"/>
              <a:defRPr sz="1100" kern="1200">
                <a:solidFill>
                  <a:schemeClr val="tx1"/>
                </a:solidFill>
                <a:latin typeface="+mn-lt"/>
                <a:ea typeface="+mn-ea"/>
                <a:cs typeface="+mn-cs"/>
              </a:defRPr>
            </a:lvl4pPr>
            <a:lvl5pPr marL="914377" indent="-228594" algn="l" defTabSz="228594" rtl="0" eaLnBrk="1" latinLnBrk="0" hangingPunct="1">
              <a:lnSpc>
                <a:spcPct val="100000"/>
              </a:lnSpc>
              <a:spcBef>
                <a:spcPts val="0"/>
              </a:spcBef>
              <a:spcAft>
                <a:spcPts val="1200"/>
              </a:spcAft>
              <a:buFont typeface="System Font"/>
              <a:buChar char="–"/>
              <a:defRPr sz="1100" kern="1200">
                <a:solidFill>
                  <a:schemeClr val="tx1"/>
                </a:solidFill>
                <a:latin typeface="+mn-lt"/>
                <a:ea typeface="+mn-ea"/>
                <a:cs typeface="+mn-cs"/>
              </a:defRPr>
            </a:lvl5pPr>
            <a:lvl6pPr marL="11113" indent="0" algn="l" defTabSz="228594" rtl="0" eaLnBrk="1" latinLnBrk="0" hangingPunct="1">
              <a:lnSpc>
                <a:spcPct val="90000"/>
              </a:lnSpc>
              <a:spcBef>
                <a:spcPts val="0"/>
              </a:spcBef>
              <a:spcAft>
                <a:spcPts val="1200"/>
              </a:spcAft>
              <a:buFont typeface="Graphik" panose="020B0503030202060203" pitchFamily="34" charset="0"/>
              <a:buNone/>
              <a:tabLst/>
              <a:defRPr sz="1200" kern="1200">
                <a:solidFill>
                  <a:schemeClr val="tx1"/>
                </a:solidFill>
                <a:latin typeface="+mn-lt"/>
                <a:ea typeface="+mn-ea"/>
                <a:cs typeface="+mn-cs"/>
              </a:defRPr>
            </a:lvl6pPr>
            <a:lvl7pPr marL="0" indent="0" algn="l" defTabSz="22859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mn-lt"/>
                <a:ea typeface="+mn-ea"/>
                <a:cs typeface="+mn-cs"/>
              </a:defRPr>
            </a:lvl7pPr>
            <a:lvl8pPr marL="0" indent="0" algn="l" defTabSz="22859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mn-lt"/>
                <a:ea typeface="+mn-ea"/>
                <a:cs typeface="+mn-cs"/>
              </a:defRPr>
            </a:lvl8pPr>
            <a:lvl9pPr marL="0" indent="0" algn="l" defTabSz="22859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mn-lt"/>
                <a:ea typeface="+mn-ea"/>
                <a:cs typeface="+mn-cs"/>
              </a:defRPr>
            </a:lvl9pPr>
          </a:lstStyle>
          <a:p>
            <a:r>
              <a:rPr lang="pt-BR" noProof="1"/>
              <a:t>Introduziu a formulação completa de redes neurais Bayesianas com prior sobre pesos, estabelecendo a base teórica para incerteza.</a:t>
            </a:r>
          </a:p>
        </p:txBody>
      </p:sp>
      <p:sp>
        <p:nvSpPr>
          <p:cNvPr id="8" name="Text Placeholder 28">
            <a:extLst>
              <a:ext uri="{FF2B5EF4-FFF2-40B4-BE49-F238E27FC236}">
                <a16:creationId xmlns:a16="http://schemas.microsoft.com/office/drawing/2014/main" id="{9333A729-0CFB-AF1A-0616-AF7002F64E22}"/>
              </a:ext>
            </a:extLst>
          </p:cNvPr>
          <p:cNvSpPr txBox="1">
            <a:spLocks/>
          </p:cNvSpPr>
          <p:nvPr/>
        </p:nvSpPr>
        <p:spPr>
          <a:xfrm>
            <a:off x="4943100" y="4540746"/>
            <a:ext cx="4314790" cy="734935"/>
          </a:xfrm>
          <a:prstGeom prst="rect">
            <a:avLst/>
          </a:prstGeom>
          <a:ln>
            <a:noFill/>
          </a:ln>
        </p:spPr>
        <p:txBody>
          <a:bodyPr vert="horz" lIns="0" tIns="0" rIns="0" bIns="0" rtlCol="0">
            <a:noAutofit/>
          </a:bodyPr>
          <a:lstStyle>
            <a:lvl1pPr marL="0" indent="0" algn="l" defTabSz="228594" rtl="0" eaLnBrk="1" latinLnBrk="0" hangingPunct="1">
              <a:lnSpc>
                <a:spcPct val="100000"/>
              </a:lnSpc>
              <a:spcBef>
                <a:spcPts val="0"/>
              </a:spcBef>
              <a:spcAft>
                <a:spcPts val="1200"/>
              </a:spcAft>
              <a:buFont typeface="Arial" panose="020B0604020202020204" pitchFamily="34" charset="0"/>
              <a:buNone/>
              <a:defRPr lang="en-US" sz="1200" b="0" kern="1200" dirty="0" smtClean="0">
                <a:solidFill>
                  <a:schemeClr val="tx1"/>
                </a:solidFill>
                <a:latin typeface="+mn-lt"/>
                <a:ea typeface="+mn-ea"/>
                <a:cs typeface="+mn-cs"/>
              </a:defRPr>
            </a:lvl1pPr>
            <a:lvl2pPr marL="228594" indent="-228594" algn="l" defTabSz="228594" rtl="0" eaLnBrk="1" latinLnBrk="0" hangingPunct="1">
              <a:lnSpc>
                <a:spcPct val="100000"/>
              </a:lnSpc>
              <a:spcBef>
                <a:spcPts val="0"/>
              </a:spcBef>
              <a:spcAft>
                <a:spcPts val="1200"/>
              </a:spcAft>
              <a:buClrTx/>
              <a:buFont typeface="Arial" panose="020B0604020202020204" pitchFamily="34" charset="0"/>
              <a:buChar char="•"/>
              <a:defRPr lang="en-US" sz="1400" b="0" kern="1200" dirty="0" smtClean="0">
                <a:solidFill>
                  <a:schemeClr val="tx1"/>
                </a:solidFill>
                <a:latin typeface="+mn-lt"/>
                <a:ea typeface="+mn-ea"/>
                <a:cs typeface="+mn-cs"/>
              </a:defRPr>
            </a:lvl2pPr>
            <a:lvl3pPr marL="457189" indent="-228594" algn="l" defTabSz="228594" rtl="0" eaLnBrk="1" latinLnBrk="0" hangingPunct="1">
              <a:lnSpc>
                <a:spcPct val="100000"/>
              </a:lnSpc>
              <a:spcBef>
                <a:spcPts val="0"/>
              </a:spcBef>
              <a:spcAft>
                <a:spcPts val="1200"/>
              </a:spcAft>
              <a:buFont typeface="System Font"/>
              <a:buChar char="–"/>
              <a:defRPr sz="1200" kern="1200">
                <a:solidFill>
                  <a:schemeClr val="tx1"/>
                </a:solidFill>
                <a:latin typeface="+mn-lt"/>
                <a:ea typeface="+mn-ea"/>
                <a:cs typeface="+mn-cs"/>
              </a:defRPr>
            </a:lvl3pPr>
            <a:lvl4pPr marL="685783" indent="-228594" algn="l" defTabSz="228594" rtl="0" eaLnBrk="1" latinLnBrk="0" hangingPunct="1">
              <a:lnSpc>
                <a:spcPct val="100000"/>
              </a:lnSpc>
              <a:spcBef>
                <a:spcPts val="0"/>
              </a:spcBef>
              <a:spcAft>
                <a:spcPts val="1200"/>
              </a:spcAft>
              <a:buFont typeface="Arial" panose="020B0604020202020204" pitchFamily="34" charset="0"/>
              <a:buChar char="•"/>
              <a:defRPr sz="1100" kern="1200">
                <a:solidFill>
                  <a:schemeClr val="tx1"/>
                </a:solidFill>
                <a:latin typeface="+mn-lt"/>
                <a:ea typeface="+mn-ea"/>
                <a:cs typeface="+mn-cs"/>
              </a:defRPr>
            </a:lvl4pPr>
            <a:lvl5pPr marL="914377" indent="-228594" algn="l" defTabSz="228594" rtl="0" eaLnBrk="1" latinLnBrk="0" hangingPunct="1">
              <a:lnSpc>
                <a:spcPct val="100000"/>
              </a:lnSpc>
              <a:spcBef>
                <a:spcPts val="0"/>
              </a:spcBef>
              <a:spcAft>
                <a:spcPts val="1200"/>
              </a:spcAft>
              <a:buFont typeface="System Font"/>
              <a:buChar char="–"/>
              <a:defRPr sz="1100" kern="1200">
                <a:solidFill>
                  <a:schemeClr val="tx1"/>
                </a:solidFill>
                <a:latin typeface="+mn-lt"/>
                <a:ea typeface="+mn-ea"/>
                <a:cs typeface="+mn-cs"/>
              </a:defRPr>
            </a:lvl5pPr>
            <a:lvl6pPr marL="11113" indent="0" algn="l" defTabSz="228594" rtl="0" eaLnBrk="1" latinLnBrk="0" hangingPunct="1">
              <a:lnSpc>
                <a:spcPct val="90000"/>
              </a:lnSpc>
              <a:spcBef>
                <a:spcPts val="0"/>
              </a:spcBef>
              <a:spcAft>
                <a:spcPts val="1200"/>
              </a:spcAft>
              <a:buFont typeface="Graphik" panose="020B0503030202060203" pitchFamily="34" charset="0"/>
              <a:buNone/>
              <a:tabLst/>
              <a:defRPr sz="1200" kern="1200">
                <a:solidFill>
                  <a:schemeClr val="tx1"/>
                </a:solidFill>
                <a:latin typeface="+mn-lt"/>
                <a:ea typeface="+mn-ea"/>
                <a:cs typeface="+mn-cs"/>
              </a:defRPr>
            </a:lvl6pPr>
            <a:lvl7pPr marL="0" indent="0" algn="l" defTabSz="22859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mn-lt"/>
                <a:ea typeface="+mn-ea"/>
                <a:cs typeface="+mn-cs"/>
              </a:defRPr>
            </a:lvl7pPr>
            <a:lvl8pPr marL="0" indent="0" algn="l" defTabSz="22859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mn-lt"/>
                <a:ea typeface="+mn-ea"/>
                <a:cs typeface="+mn-cs"/>
              </a:defRPr>
            </a:lvl8pPr>
            <a:lvl9pPr marL="0" indent="0" algn="l" defTabSz="22859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mn-lt"/>
                <a:ea typeface="+mn-ea"/>
                <a:cs typeface="+mn-cs"/>
              </a:defRPr>
            </a:lvl9pPr>
          </a:lstStyle>
          <a:p>
            <a:r>
              <a:rPr lang="pt-BR" noProof="1"/>
              <a:t>Apresentou os Deep Ensembles, que combinam várias redes independentes para produzir estimativas robustas de incerteza.</a:t>
            </a:r>
          </a:p>
        </p:txBody>
      </p:sp>
      <p:sp>
        <p:nvSpPr>
          <p:cNvPr id="9" name="Text Placeholder 31">
            <a:extLst>
              <a:ext uri="{FF2B5EF4-FFF2-40B4-BE49-F238E27FC236}">
                <a16:creationId xmlns:a16="http://schemas.microsoft.com/office/drawing/2014/main" id="{EACB8485-8E5C-CDAA-D7A2-87F367419ED0}"/>
              </a:ext>
            </a:extLst>
          </p:cNvPr>
          <p:cNvSpPr txBox="1">
            <a:spLocks/>
          </p:cNvSpPr>
          <p:nvPr/>
        </p:nvSpPr>
        <p:spPr>
          <a:xfrm>
            <a:off x="4943100" y="5553996"/>
            <a:ext cx="4314790" cy="734935"/>
          </a:xfrm>
          <a:prstGeom prst="rect">
            <a:avLst/>
          </a:prstGeom>
          <a:ln>
            <a:noFill/>
          </a:ln>
        </p:spPr>
        <p:txBody>
          <a:bodyPr vert="horz" lIns="0" tIns="0" rIns="0" bIns="0" rtlCol="0">
            <a:noAutofit/>
          </a:bodyPr>
          <a:lstStyle>
            <a:lvl1pPr marL="0" indent="0" algn="l" defTabSz="228594" rtl="0" eaLnBrk="1" latinLnBrk="0" hangingPunct="1">
              <a:lnSpc>
                <a:spcPct val="100000"/>
              </a:lnSpc>
              <a:spcBef>
                <a:spcPts val="0"/>
              </a:spcBef>
              <a:spcAft>
                <a:spcPts val="1200"/>
              </a:spcAft>
              <a:buFont typeface="Arial" panose="020B0604020202020204" pitchFamily="34" charset="0"/>
              <a:buNone/>
              <a:defRPr lang="en-US" sz="1200" b="0" kern="1200" dirty="0" smtClean="0">
                <a:solidFill>
                  <a:schemeClr val="tx1"/>
                </a:solidFill>
                <a:latin typeface="+mn-lt"/>
                <a:ea typeface="+mn-ea"/>
                <a:cs typeface="+mn-cs"/>
              </a:defRPr>
            </a:lvl1pPr>
            <a:lvl2pPr marL="228594" indent="-228594" algn="l" defTabSz="228594" rtl="0" eaLnBrk="1" latinLnBrk="0" hangingPunct="1">
              <a:lnSpc>
                <a:spcPct val="100000"/>
              </a:lnSpc>
              <a:spcBef>
                <a:spcPts val="0"/>
              </a:spcBef>
              <a:spcAft>
                <a:spcPts val="1200"/>
              </a:spcAft>
              <a:buClrTx/>
              <a:buFont typeface="Arial" panose="020B0604020202020204" pitchFamily="34" charset="0"/>
              <a:buChar char="•"/>
              <a:defRPr lang="en-US" sz="1400" b="0" kern="1200" dirty="0" smtClean="0">
                <a:solidFill>
                  <a:schemeClr val="tx1"/>
                </a:solidFill>
                <a:latin typeface="+mn-lt"/>
                <a:ea typeface="+mn-ea"/>
                <a:cs typeface="+mn-cs"/>
              </a:defRPr>
            </a:lvl2pPr>
            <a:lvl3pPr marL="457189" indent="-228594" algn="l" defTabSz="228594" rtl="0" eaLnBrk="1" latinLnBrk="0" hangingPunct="1">
              <a:lnSpc>
                <a:spcPct val="100000"/>
              </a:lnSpc>
              <a:spcBef>
                <a:spcPts val="0"/>
              </a:spcBef>
              <a:spcAft>
                <a:spcPts val="1200"/>
              </a:spcAft>
              <a:buFont typeface="System Font"/>
              <a:buChar char="–"/>
              <a:defRPr sz="1200" kern="1200">
                <a:solidFill>
                  <a:schemeClr val="tx1"/>
                </a:solidFill>
                <a:latin typeface="+mn-lt"/>
                <a:ea typeface="+mn-ea"/>
                <a:cs typeface="+mn-cs"/>
              </a:defRPr>
            </a:lvl3pPr>
            <a:lvl4pPr marL="685783" indent="-228594" algn="l" defTabSz="228594" rtl="0" eaLnBrk="1" latinLnBrk="0" hangingPunct="1">
              <a:lnSpc>
                <a:spcPct val="100000"/>
              </a:lnSpc>
              <a:spcBef>
                <a:spcPts val="0"/>
              </a:spcBef>
              <a:spcAft>
                <a:spcPts val="1200"/>
              </a:spcAft>
              <a:buFont typeface="Arial" panose="020B0604020202020204" pitchFamily="34" charset="0"/>
              <a:buChar char="•"/>
              <a:defRPr sz="1100" kern="1200">
                <a:solidFill>
                  <a:schemeClr val="tx1"/>
                </a:solidFill>
                <a:latin typeface="+mn-lt"/>
                <a:ea typeface="+mn-ea"/>
                <a:cs typeface="+mn-cs"/>
              </a:defRPr>
            </a:lvl4pPr>
            <a:lvl5pPr marL="914377" indent="-228594" algn="l" defTabSz="228594" rtl="0" eaLnBrk="1" latinLnBrk="0" hangingPunct="1">
              <a:lnSpc>
                <a:spcPct val="100000"/>
              </a:lnSpc>
              <a:spcBef>
                <a:spcPts val="0"/>
              </a:spcBef>
              <a:spcAft>
                <a:spcPts val="1200"/>
              </a:spcAft>
              <a:buFont typeface="System Font"/>
              <a:buChar char="–"/>
              <a:defRPr sz="1100" kern="1200">
                <a:solidFill>
                  <a:schemeClr val="tx1"/>
                </a:solidFill>
                <a:latin typeface="+mn-lt"/>
                <a:ea typeface="+mn-ea"/>
                <a:cs typeface="+mn-cs"/>
              </a:defRPr>
            </a:lvl5pPr>
            <a:lvl6pPr marL="11113" indent="0" algn="l" defTabSz="228594" rtl="0" eaLnBrk="1" latinLnBrk="0" hangingPunct="1">
              <a:lnSpc>
                <a:spcPct val="90000"/>
              </a:lnSpc>
              <a:spcBef>
                <a:spcPts val="0"/>
              </a:spcBef>
              <a:spcAft>
                <a:spcPts val="1200"/>
              </a:spcAft>
              <a:buFont typeface="Graphik" panose="020B0503030202060203" pitchFamily="34" charset="0"/>
              <a:buNone/>
              <a:tabLst/>
              <a:defRPr sz="1200" kern="1200">
                <a:solidFill>
                  <a:schemeClr val="tx1"/>
                </a:solidFill>
                <a:latin typeface="+mn-lt"/>
                <a:ea typeface="+mn-ea"/>
                <a:cs typeface="+mn-cs"/>
              </a:defRPr>
            </a:lvl6pPr>
            <a:lvl7pPr marL="0" indent="0" algn="l" defTabSz="22859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mn-lt"/>
                <a:ea typeface="+mn-ea"/>
                <a:cs typeface="+mn-cs"/>
              </a:defRPr>
            </a:lvl7pPr>
            <a:lvl8pPr marL="0" indent="0" algn="l" defTabSz="22859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mn-lt"/>
                <a:ea typeface="+mn-ea"/>
                <a:cs typeface="+mn-cs"/>
              </a:defRPr>
            </a:lvl8pPr>
            <a:lvl9pPr marL="0" indent="0" algn="l" defTabSz="22859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mn-lt"/>
                <a:ea typeface="+mn-ea"/>
                <a:cs typeface="+mn-cs"/>
              </a:defRPr>
            </a:lvl9pPr>
          </a:lstStyle>
          <a:p>
            <a:r>
              <a:rPr lang="pt-BR" noProof="1"/>
              <a:t>Introduziu a abordagem evidencial,  modelando incerteza com distribuição evidencial sem precisar de múltiplos forward passes.</a:t>
            </a:r>
          </a:p>
        </p:txBody>
      </p:sp>
      <p:sp>
        <p:nvSpPr>
          <p:cNvPr id="19" name="Text Placeholder 23">
            <a:extLst>
              <a:ext uri="{FF2B5EF4-FFF2-40B4-BE49-F238E27FC236}">
                <a16:creationId xmlns:a16="http://schemas.microsoft.com/office/drawing/2014/main" id="{8F552ABD-FEAA-9F37-C76D-8F73734981E1}"/>
              </a:ext>
            </a:extLst>
          </p:cNvPr>
          <p:cNvSpPr txBox="1">
            <a:spLocks/>
          </p:cNvSpPr>
          <p:nvPr/>
        </p:nvSpPr>
        <p:spPr>
          <a:xfrm>
            <a:off x="9659469" y="2525284"/>
            <a:ext cx="1994217" cy="732360"/>
          </a:xfrm>
          <a:prstGeom prst="rect">
            <a:avLst/>
          </a:prstGeom>
          <a:ln>
            <a:noFill/>
          </a:ln>
        </p:spPr>
        <p:txBody>
          <a:bodyPr vert="horz" lIns="0" tIns="0" rIns="0" bIns="0" rtlCol="0" anchor="t">
            <a:noAutofit/>
          </a:bodyPr>
          <a:lstStyle>
            <a:lvl1pPr marL="0" indent="0" algn="l" defTabSz="228594" rtl="0" eaLnBrk="1" latinLnBrk="0" hangingPunct="1">
              <a:lnSpc>
                <a:spcPct val="90000"/>
              </a:lnSpc>
              <a:spcBef>
                <a:spcPts val="0"/>
              </a:spcBef>
              <a:spcAft>
                <a:spcPts val="0"/>
              </a:spcAft>
              <a:buFont typeface="Arial" panose="020B0604020202020204" pitchFamily="34" charset="0"/>
              <a:buNone/>
              <a:defRPr sz="1600" b="0" i="0" kern="1200">
                <a:solidFill>
                  <a:schemeClr val="bg2"/>
                </a:solidFill>
                <a:latin typeface="+mn-lt"/>
                <a:ea typeface="+mn-ea"/>
                <a:cs typeface="+mn-cs"/>
              </a:defRPr>
            </a:lvl1pPr>
            <a:lvl2pPr marL="457189" indent="0" algn="l" defTabSz="228594" rtl="0" eaLnBrk="1" latinLnBrk="0" hangingPunct="1">
              <a:lnSpc>
                <a:spcPct val="100000"/>
              </a:lnSpc>
              <a:spcBef>
                <a:spcPts val="0"/>
              </a:spcBef>
              <a:spcAft>
                <a:spcPts val="1200"/>
              </a:spcAft>
              <a:buClrTx/>
              <a:buFont typeface="Arial" panose="020B0604020202020204" pitchFamily="34" charset="0"/>
              <a:buNone/>
              <a:defRPr sz="2000" b="1" kern="1200">
                <a:solidFill>
                  <a:schemeClr val="tx1"/>
                </a:solidFill>
                <a:latin typeface="+mn-lt"/>
                <a:ea typeface="+mn-ea"/>
                <a:cs typeface="+mn-cs"/>
              </a:defRPr>
            </a:lvl2pPr>
            <a:lvl3pPr marL="914377" indent="0" algn="l" defTabSz="228594" rtl="0" eaLnBrk="1" latinLnBrk="0" hangingPunct="1">
              <a:lnSpc>
                <a:spcPct val="100000"/>
              </a:lnSpc>
              <a:spcBef>
                <a:spcPts val="0"/>
              </a:spcBef>
              <a:spcAft>
                <a:spcPts val="1200"/>
              </a:spcAft>
              <a:buFont typeface="System Font"/>
              <a:buNone/>
              <a:defRPr sz="1800" b="1" kern="1200">
                <a:solidFill>
                  <a:schemeClr val="tx1"/>
                </a:solidFill>
                <a:latin typeface="+mn-lt"/>
                <a:ea typeface="+mn-ea"/>
                <a:cs typeface="+mn-cs"/>
              </a:defRPr>
            </a:lvl3pPr>
            <a:lvl4pPr marL="1371566" indent="0" algn="l" defTabSz="228594" rtl="0" eaLnBrk="1" latinLnBrk="0" hangingPunct="1">
              <a:lnSpc>
                <a:spcPct val="10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4pPr>
            <a:lvl5pPr marL="1828754" indent="0" algn="l" defTabSz="228594" rtl="0" eaLnBrk="1" latinLnBrk="0" hangingPunct="1">
              <a:lnSpc>
                <a:spcPct val="100000"/>
              </a:lnSpc>
              <a:spcBef>
                <a:spcPts val="0"/>
              </a:spcBef>
              <a:spcAft>
                <a:spcPts val="1200"/>
              </a:spcAft>
              <a:buFont typeface="System Font"/>
              <a:buNone/>
              <a:defRPr sz="1600" b="1" kern="1200">
                <a:solidFill>
                  <a:schemeClr val="tx1"/>
                </a:solidFill>
                <a:latin typeface="+mn-lt"/>
                <a:ea typeface="+mn-ea"/>
                <a:cs typeface="+mn-cs"/>
              </a:defRPr>
            </a:lvl5pPr>
            <a:lvl6pPr marL="2285943" indent="0" algn="l" defTabSz="228594" rtl="0" eaLnBrk="1" latinLnBrk="0" hangingPunct="1">
              <a:lnSpc>
                <a:spcPct val="90000"/>
              </a:lnSpc>
              <a:spcBef>
                <a:spcPts val="0"/>
              </a:spcBef>
              <a:spcAft>
                <a:spcPts val="1200"/>
              </a:spcAft>
              <a:buFont typeface="Graphik" panose="020B0503030202060203" pitchFamily="34" charset="0"/>
              <a:buNone/>
              <a:tabLst/>
              <a:defRPr sz="1600" b="1" kern="1200">
                <a:solidFill>
                  <a:schemeClr val="tx1"/>
                </a:solidFill>
                <a:latin typeface="+mn-lt"/>
                <a:ea typeface="+mn-ea"/>
                <a:cs typeface="+mn-cs"/>
              </a:defRPr>
            </a:lvl6pPr>
            <a:lvl7pPr marL="2743131"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7pPr>
            <a:lvl8pPr marL="3200320"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8pPr>
            <a:lvl9pPr marL="3657509"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2"/>
                </a:solidFill>
                <a:latin typeface="+mn-lt"/>
                <a:ea typeface="+mn-ea"/>
                <a:cs typeface="+mn-cs"/>
              </a:defRPr>
            </a:lvl9pPr>
          </a:lstStyle>
          <a:p>
            <a:r>
              <a:rPr lang="pt-BR" noProof="1"/>
              <a:t>Interpretação Bayesiana do Dropout</a:t>
            </a:r>
          </a:p>
        </p:txBody>
      </p:sp>
      <p:sp>
        <p:nvSpPr>
          <p:cNvPr id="20" name="Text Placeholder 26">
            <a:extLst>
              <a:ext uri="{FF2B5EF4-FFF2-40B4-BE49-F238E27FC236}">
                <a16:creationId xmlns:a16="http://schemas.microsoft.com/office/drawing/2014/main" id="{1FEBAC97-276D-EAB8-1501-6C2AC2F7B3B1}"/>
              </a:ext>
            </a:extLst>
          </p:cNvPr>
          <p:cNvSpPr txBox="1">
            <a:spLocks/>
          </p:cNvSpPr>
          <p:nvPr/>
        </p:nvSpPr>
        <p:spPr>
          <a:xfrm>
            <a:off x="9659469" y="3538534"/>
            <a:ext cx="1994217" cy="732360"/>
          </a:xfrm>
          <a:prstGeom prst="rect">
            <a:avLst/>
          </a:prstGeom>
          <a:ln>
            <a:noFill/>
          </a:ln>
        </p:spPr>
        <p:txBody>
          <a:bodyPr vert="horz" lIns="0" tIns="0" rIns="0" bIns="0" rtlCol="0" anchor="t">
            <a:noAutofit/>
          </a:bodyPr>
          <a:lstStyle>
            <a:lvl1pPr marL="0" indent="0" algn="l" defTabSz="228594" rtl="0" eaLnBrk="1" latinLnBrk="0" hangingPunct="1">
              <a:lnSpc>
                <a:spcPct val="90000"/>
              </a:lnSpc>
              <a:spcBef>
                <a:spcPts val="0"/>
              </a:spcBef>
              <a:spcAft>
                <a:spcPts val="0"/>
              </a:spcAft>
              <a:buFont typeface="Arial" panose="020B0604020202020204" pitchFamily="34" charset="0"/>
              <a:buNone/>
              <a:defRPr sz="1600" b="0" i="0" kern="1200">
                <a:solidFill>
                  <a:schemeClr val="bg2"/>
                </a:solidFill>
                <a:latin typeface="+mn-lt"/>
                <a:ea typeface="+mn-ea"/>
                <a:cs typeface="+mn-cs"/>
              </a:defRPr>
            </a:lvl1pPr>
            <a:lvl2pPr marL="457189" indent="0" algn="l" defTabSz="228594" rtl="0" eaLnBrk="1" latinLnBrk="0" hangingPunct="1">
              <a:lnSpc>
                <a:spcPct val="100000"/>
              </a:lnSpc>
              <a:spcBef>
                <a:spcPts val="0"/>
              </a:spcBef>
              <a:spcAft>
                <a:spcPts val="1200"/>
              </a:spcAft>
              <a:buClrTx/>
              <a:buFont typeface="Arial" panose="020B0604020202020204" pitchFamily="34" charset="0"/>
              <a:buNone/>
              <a:defRPr sz="2000" b="1" kern="1200">
                <a:solidFill>
                  <a:schemeClr val="tx1"/>
                </a:solidFill>
                <a:latin typeface="+mn-lt"/>
                <a:ea typeface="+mn-ea"/>
                <a:cs typeface="+mn-cs"/>
              </a:defRPr>
            </a:lvl2pPr>
            <a:lvl3pPr marL="914377" indent="0" algn="l" defTabSz="228594" rtl="0" eaLnBrk="1" latinLnBrk="0" hangingPunct="1">
              <a:lnSpc>
                <a:spcPct val="100000"/>
              </a:lnSpc>
              <a:spcBef>
                <a:spcPts val="0"/>
              </a:spcBef>
              <a:spcAft>
                <a:spcPts val="1200"/>
              </a:spcAft>
              <a:buFont typeface="System Font"/>
              <a:buNone/>
              <a:defRPr sz="1800" b="1" kern="1200">
                <a:solidFill>
                  <a:schemeClr val="tx1"/>
                </a:solidFill>
                <a:latin typeface="+mn-lt"/>
                <a:ea typeface="+mn-ea"/>
                <a:cs typeface="+mn-cs"/>
              </a:defRPr>
            </a:lvl3pPr>
            <a:lvl4pPr marL="1371566" indent="0" algn="l" defTabSz="228594" rtl="0" eaLnBrk="1" latinLnBrk="0" hangingPunct="1">
              <a:lnSpc>
                <a:spcPct val="10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4pPr>
            <a:lvl5pPr marL="1828754" indent="0" algn="l" defTabSz="228594" rtl="0" eaLnBrk="1" latinLnBrk="0" hangingPunct="1">
              <a:lnSpc>
                <a:spcPct val="100000"/>
              </a:lnSpc>
              <a:spcBef>
                <a:spcPts val="0"/>
              </a:spcBef>
              <a:spcAft>
                <a:spcPts val="1200"/>
              </a:spcAft>
              <a:buFont typeface="System Font"/>
              <a:buNone/>
              <a:defRPr sz="1600" b="1" kern="1200">
                <a:solidFill>
                  <a:schemeClr val="tx1"/>
                </a:solidFill>
                <a:latin typeface="+mn-lt"/>
                <a:ea typeface="+mn-ea"/>
                <a:cs typeface="+mn-cs"/>
              </a:defRPr>
            </a:lvl5pPr>
            <a:lvl6pPr marL="2285943" indent="0" algn="l" defTabSz="228594" rtl="0" eaLnBrk="1" latinLnBrk="0" hangingPunct="1">
              <a:lnSpc>
                <a:spcPct val="90000"/>
              </a:lnSpc>
              <a:spcBef>
                <a:spcPts val="0"/>
              </a:spcBef>
              <a:spcAft>
                <a:spcPts val="1200"/>
              </a:spcAft>
              <a:buFont typeface="Graphik" panose="020B0503030202060203" pitchFamily="34" charset="0"/>
              <a:buNone/>
              <a:tabLst/>
              <a:defRPr sz="1600" b="1" kern="1200">
                <a:solidFill>
                  <a:schemeClr val="tx1"/>
                </a:solidFill>
                <a:latin typeface="+mn-lt"/>
                <a:ea typeface="+mn-ea"/>
                <a:cs typeface="+mn-cs"/>
              </a:defRPr>
            </a:lvl6pPr>
            <a:lvl7pPr marL="2743131"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7pPr>
            <a:lvl8pPr marL="3200320"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8pPr>
            <a:lvl9pPr marL="3657509"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2"/>
                </a:solidFill>
                <a:latin typeface="+mn-lt"/>
                <a:ea typeface="+mn-ea"/>
                <a:cs typeface="+mn-cs"/>
              </a:defRPr>
            </a:lvl9pPr>
          </a:lstStyle>
          <a:p>
            <a:r>
              <a:rPr lang="pt-BR" noProof="1"/>
              <a:t>Primeira formulação Bayesiana completa para redes neurais</a:t>
            </a:r>
          </a:p>
        </p:txBody>
      </p:sp>
      <p:sp>
        <p:nvSpPr>
          <p:cNvPr id="34" name="Text Placeholder 29">
            <a:extLst>
              <a:ext uri="{FF2B5EF4-FFF2-40B4-BE49-F238E27FC236}">
                <a16:creationId xmlns:a16="http://schemas.microsoft.com/office/drawing/2014/main" id="{2C53DDB5-3F99-EA19-BA03-60D269382B5F}"/>
              </a:ext>
            </a:extLst>
          </p:cNvPr>
          <p:cNvSpPr txBox="1">
            <a:spLocks/>
          </p:cNvSpPr>
          <p:nvPr/>
        </p:nvSpPr>
        <p:spPr>
          <a:xfrm>
            <a:off x="9659469" y="4540746"/>
            <a:ext cx="1994217" cy="732360"/>
          </a:xfrm>
          <a:prstGeom prst="rect">
            <a:avLst/>
          </a:prstGeom>
          <a:ln>
            <a:noFill/>
          </a:ln>
        </p:spPr>
        <p:txBody>
          <a:bodyPr vert="horz" lIns="0" tIns="0" rIns="0" bIns="0" rtlCol="0" anchor="t">
            <a:noAutofit/>
          </a:bodyPr>
          <a:lstStyle>
            <a:lvl1pPr marL="0" indent="0" algn="l" defTabSz="228594" rtl="0" eaLnBrk="1" latinLnBrk="0" hangingPunct="1">
              <a:lnSpc>
                <a:spcPct val="90000"/>
              </a:lnSpc>
              <a:spcBef>
                <a:spcPts val="0"/>
              </a:spcBef>
              <a:spcAft>
                <a:spcPts val="0"/>
              </a:spcAft>
              <a:buFont typeface="Arial" panose="020B0604020202020204" pitchFamily="34" charset="0"/>
              <a:buNone/>
              <a:defRPr sz="1600" b="0" i="0" kern="1200">
                <a:solidFill>
                  <a:schemeClr val="bg2"/>
                </a:solidFill>
                <a:latin typeface="+mn-lt"/>
                <a:ea typeface="+mn-ea"/>
                <a:cs typeface="+mn-cs"/>
              </a:defRPr>
            </a:lvl1pPr>
            <a:lvl2pPr marL="457189" indent="0" algn="l" defTabSz="228594" rtl="0" eaLnBrk="1" latinLnBrk="0" hangingPunct="1">
              <a:lnSpc>
                <a:spcPct val="100000"/>
              </a:lnSpc>
              <a:spcBef>
                <a:spcPts val="0"/>
              </a:spcBef>
              <a:spcAft>
                <a:spcPts val="1200"/>
              </a:spcAft>
              <a:buClrTx/>
              <a:buFont typeface="Arial" panose="020B0604020202020204" pitchFamily="34" charset="0"/>
              <a:buNone/>
              <a:defRPr sz="2000" b="1" kern="1200">
                <a:solidFill>
                  <a:schemeClr val="tx1"/>
                </a:solidFill>
                <a:latin typeface="+mn-lt"/>
                <a:ea typeface="+mn-ea"/>
                <a:cs typeface="+mn-cs"/>
              </a:defRPr>
            </a:lvl2pPr>
            <a:lvl3pPr marL="914377" indent="0" algn="l" defTabSz="228594" rtl="0" eaLnBrk="1" latinLnBrk="0" hangingPunct="1">
              <a:lnSpc>
                <a:spcPct val="100000"/>
              </a:lnSpc>
              <a:spcBef>
                <a:spcPts val="0"/>
              </a:spcBef>
              <a:spcAft>
                <a:spcPts val="1200"/>
              </a:spcAft>
              <a:buFont typeface="System Font"/>
              <a:buNone/>
              <a:defRPr sz="1800" b="1" kern="1200">
                <a:solidFill>
                  <a:schemeClr val="tx1"/>
                </a:solidFill>
                <a:latin typeface="+mn-lt"/>
                <a:ea typeface="+mn-ea"/>
                <a:cs typeface="+mn-cs"/>
              </a:defRPr>
            </a:lvl3pPr>
            <a:lvl4pPr marL="1371566" indent="0" algn="l" defTabSz="228594" rtl="0" eaLnBrk="1" latinLnBrk="0" hangingPunct="1">
              <a:lnSpc>
                <a:spcPct val="10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4pPr>
            <a:lvl5pPr marL="1828754" indent="0" algn="l" defTabSz="228594" rtl="0" eaLnBrk="1" latinLnBrk="0" hangingPunct="1">
              <a:lnSpc>
                <a:spcPct val="100000"/>
              </a:lnSpc>
              <a:spcBef>
                <a:spcPts val="0"/>
              </a:spcBef>
              <a:spcAft>
                <a:spcPts val="1200"/>
              </a:spcAft>
              <a:buFont typeface="System Font"/>
              <a:buNone/>
              <a:defRPr sz="1600" b="1" kern="1200">
                <a:solidFill>
                  <a:schemeClr val="tx1"/>
                </a:solidFill>
                <a:latin typeface="+mn-lt"/>
                <a:ea typeface="+mn-ea"/>
                <a:cs typeface="+mn-cs"/>
              </a:defRPr>
            </a:lvl5pPr>
            <a:lvl6pPr marL="2285943" indent="0" algn="l" defTabSz="228594" rtl="0" eaLnBrk="1" latinLnBrk="0" hangingPunct="1">
              <a:lnSpc>
                <a:spcPct val="90000"/>
              </a:lnSpc>
              <a:spcBef>
                <a:spcPts val="0"/>
              </a:spcBef>
              <a:spcAft>
                <a:spcPts val="1200"/>
              </a:spcAft>
              <a:buFont typeface="Graphik" panose="020B0503030202060203" pitchFamily="34" charset="0"/>
              <a:buNone/>
              <a:tabLst/>
              <a:defRPr sz="1600" b="1" kern="1200">
                <a:solidFill>
                  <a:schemeClr val="tx1"/>
                </a:solidFill>
                <a:latin typeface="+mn-lt"/>
                <a:ea typeface="+mn-ea"/>
                <a:cs typeface="+mn-cs"/>
              </a:defRPr>
            </a:lvl6pPr>
            <a:lvl7pPr marL="2743131"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7pPr>
            <a:lvl8pPr marL="3200320"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8pPr>
            <a:lvl9pPr marL="3657509"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2"/>
                </a:solidFill>
                <a:latin typeface="+mn-lt"/>
                <a:ea typeface="+mn-ea"/>
                <a:cs typeface="+mn-cs"/>
              </a:defRPr>
            </a:lvl9pPr>
          </a:lstStyle>
          <a:p>
            <a:r>
              <a:rPr lang="pt-BR" noProof="1"/>
              <a:t>Robustez via múltiplos modelos independentes</a:t>
            </a:r>
          </a:p>
        </p:txBody>
      </p:sp>
      <p:sp>
        <p:nvSpPr>
          <p:cNvPr id="35" name="Text Placeholder 32">
            <a:extLst>
              <a:ext uri="{FF2B5EF4-FFF2-40B4-BE49-F238E27FC236}">
                <a16:creationId xmlns:a16="http://schemas.microsoft.com/office/drawing/2014/main" id="{BA893C21-62B3-EE65-52E0-F07CD2A8343A}"/>
              </a:ext>
            </a:extLst>
          </p:cNvPr>
          <p:cNvSpPr txBox="1">
            <a:spLocks/>
          </p:cNvSpPr>
          <p:nvPr/>
        </p:nvSpPr>
        <p:spPr>
          <a:xfrm>
            <a:off x="9659469" y="5553996"/>
            <a:ext cx="1994217" cy="732360"/>
          </a:xfrm>
          <a:prstGeom prst="rect">
            <a:avLst/>
          </a:prstGeom>
          <a:ln>
            <a:noFill/>
          </a:ln>
        </p:spPr>
        <p:txBody>
          <a:bodyPr vert="horz" lIns="0" tIns="0" rIns="0" bIns="0" rtlCol="0" anchor="t">
            <a:noAutofit/>
          </a:bodyPr>
          <a:lstStyle>
            <a:lvl1pPr marL="0" indent="0" algn="l" defTabSz="228594" rtl="0" eaLnBrk="1" latinLnBrk="0" hangingPunct="1">
              <a:lnSpc>
                <a:spcPct val="90000"/>
              </a:lnSpc>
              <a:spcBef>
                <a:spcPts val="0"/>
              </a:spcBef>
              <a:spcAft>
                <a:spcPts val="0"/>
              </a:spcAft>
              <a:buFont typeface="Arial" panose="020B0604020202020204" pitchFamily="34" charset="0"/>
              <a:buNone/>
              <a:defRPr sz="1600" b="0" i="0" kern="1200">
                <a:solidFill>
                  <a:schemeClr val="bg2"/>
                </a:solidFill>
                <a:latin typeface="+mn-lt"/>
                <a:ea typeface="+mn-ea"/>
                <a:cs typeface="+mn-cs"/>
              </a:defRPr>
            </a:lvl1pPr>
            <a:lvl2pPr marL="457189" indent="0" algn="l" defTabSz="228594" rtl="0" eaLnBrk="1" latinLnBrk="0" hangingPunct="1">
              <a:lnSpc>
                <a:spcPct val="100000"/>
              </a:lnSpc>
              <a:spcBef>
                <a:spcPts val="0"/>
              </a:spcBef>
              <a:spcAft>
                <a:spcPts val="1200"/>
              </a:spcAft>
              <a:buClrTx/>
              <a:buFont typeface="Arial" panose="020B0604020202020204" pitchFamily="34" charset="0"/>
              <a:buNone/>
              <a:defRPr sz="2000" b="1" kern="1200">
                <a:solidFill>
                  <a:schemeClr val="tx1"/>
                </a:solidFill>
                <a:latin typeface="+mn-lt"/>
                <a:ea typeface="+mn-ea"/>
                <a:cs typeface="+mn-cs"/>
              </a:defRPr>
            </a:lvl2pPr>
            <a:lvl3pPr marL="914377" indent="0" algn="l" defTabSz="228594" rtl="0" eaLnBrk="1" latinLnBrk="0" hangingPunct="1">
              <a:lnSpc>
                <a:spcPct val="100000"/>
              </a:lnSpc>
              <a:spcBef>
                <a:spcPts val="0"/>
              </a:spcBef>
              <a:spcAft>
                <a:spcPts val="1200"/>
              </a:spcAft>
              <a:buFont typeface="System Font"/>
              <a:buNone/>
              <a:defRPr sz="1800" b="1" kern="1200">
                <a:solidFill>
                  <a:schemeClr val="tx1"/>
                </a:solidFill>
                <a:latin typeface="+mn-lt"/>
                <a:ea typeface="+mn-ea"/>
                <a:cs typeface="+mn-cs"/>
              </a:defRPr>
            </a:lvl3pPr>
            <a:lvl4pPr marL="1371566" indent="0" algn="l" defTabSz="228594" rtl="0" eaLnBrk="1" latinLnBrk="0" hangingPunct="1">
              <a:lnSpc>
                <a:spcPct val="10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4pPr>
            <a:lvl5pPr marL="1828754" indent="0" algn="l" defTabSz="228594" rtl="0" eaLnBrk="1" latinLnBrk="0" hangingPunct="1">
              <a:lnSpc>
                <a:spcPct val="100000"/>
              </a:lnSpc>
              <a:spcBef>
                <a:spcPts val="0"/>
              </a:spcBef>
              <a:spcAft>
                <a:spcPts val="1200"/>
              </a:spcAft>
              <a:buFont typeface="System Font"/>
              <a:buNone/>
              <a:defRPr sz="1600" b="1" kern="1200">
                <a:solidFill>
                  <a:schemeClr val="tx1"/>
                </a:solidFill>
                <a:latin typeface="+mn-lt"/>
                <a:ea typeface="+mn-ea"/>
                <a:cs typeface="+mn-cs"/>
              </a:defRPr>
            </a:lvl5pPr>
            <a:lvl6pPr marL="2285943" indent="0" algn="l" defTabSz="228594" rtl="0" eaLnBrk="1" latinLnBrk="0" hangingPunct="1">
              <a:lnSpc>
                <a:spcPct val="90000"/>
              </a:lnSpc>
              <a:spcBef>
                <a:spcPts val="0"/>
              </a:spcBef>
              <a:spcAft>
                <a:spcPts val="1200"/>
              </a:spcAft>
              <a:buFont typeface="Graphik" panose="020B0503030202060203" pitchFamily="34" charset="0"/>
              <a:buNone/>
              <a:tabLst/>
              <a:defRPr sz="1600" b="1" kern="1200">
                <a:solidFill>
                  <a:schemeClr val="tx1"/>
                </a:solidFill>
                <a:latin typeface="+mn-lt"/>
                <a:ea typeface="+mn-ea"/>
                <a:cs typeface="+mn-cs"/>
              </a:defRPr>
            </a:lvl6pPr>
            <a:lvl7pPr marL="2743131"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7pPr>
            <a:lvl8pPr marL="3200320"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8pPr>
            <a:lvl9pPr marL="3657509"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2"/>
                </a:solidFill>
                <a:latin typeface="+mn-lt"/>
                <a:ea typeface="+mn-ea"/>
                <a:cs typeface="+mn-cs"/>
              </a:defRPr>
            </a:lvl9pPr>
          </a:lstStyle>
          <a:p>
            <a:r>
              <a:rPr lang="pt-BR" noProof="1"/>
              <a:t>Incerteza sem múltiplos forward passes</a:t>
            </a:r>
          </a:p>
        </p:txBody>
      </p:sp>
      <p:sp>
        <p:nvSpPr>
          <p:cNvPr id="49" name="Text Placeholder 20">
            <a:extLst>
              <a:ext uri="{FF2B5EF4-FFF2-40B4-BE49-F238E27FC236}">
                <a16:creationId xmlns:a16="http://schemas.microsoft.com/office/drawing/2014/main" id="{CD1FD002-D7BF-9A77-F61C-EA9A2AE98B61}"/>
              </a:ext>
            </a:extLst>
          </p:cNvPr>
          <p:cNvSpPr txBox="1">
            <a:spLocks/>
          </p:cNvSpPr>
          <p:nvPr/>
        </p:nvSpPr>
        <p:spPr>
          <a:xfrm>
            <a:off x="563410" y="2525284"/>
            <a:ext cx="3744430" cy="732360"/>
          </a:xfrm>
          <a:prstGeom prst="rect">
            <a:avLst/>
          </a:prstGeom>
          <a:ln>
            <a:noFill/>
          </a:ln>
        </p:spPr>
        <p:txBody>
          <a:bodyPr vert="horz" lIns="0" tIns="0" rIns="0" bIns="0" rtlCol="0" anchor="t">
            <a:noAutofit/>
          </a:bodyPr>
          <a:lstStyle>
            <a:lvl1pPr marL="0" indent="0" algn="l" defTabSz="228594" rtl="0" eaLnBrk="1" latinLnBrk="0" hangingPunct="1">
              <a:lnSpc>
                <a:spcPct val="90000"/>
              </a:lnSpc>
              <a:spcBef>
                <a:spcPts val="0"/>
              </a:spcBef>
              <a:spcAft>
                <a:spcPts val="0"/>
              </a:spcAft>
              <a:buFont typeface="Arial" panose="020B0604020202020204" pitchFamily="34" charset="0"/>
              <a:buNone/>
              <a:defRPr sz="1600" b="0" i="0" kern="1200">
                <a:solidFill>
                  <a:schemeClr val="tx1"/>
                </a:solidFill>
                <a:latin typeface="Graphik Semibold" panose="020B0703030202060203" pitchFamily="34" charset="0"/>
                <a:ea typeface="+mn-ea"/>
                <a:cs typeface="+mn-cs"/>
              </a:defRPr>
            </a:lvl1pPr>
            <a:lvl2pPr marL="457189" indent="0" algn="l" defTabSz="228594" rtl="0" eaLnBrk="1" latinLnBrk="0" hangingPunct="1">
              <a:lnSpc>
                <a:spcPct val="100000"/>
              </a:lnSpc>
              <a:spcBef>
                <a:spcPts val="0"/>
              </a:spcBef>
              <a:spcAft>
                <a:spcPts val="1200"/>
              </a:spcAft>
              <a:buClrTx/>
              <a:buFont typeface="Arial" panose="020B0604020202020204" pitchFamily="34" charset="0"/>
              <a:buNone/>
              <a:defRPr sz="2000" b="1" kern="1200">
                <a:solidFill>
                  <a:schemeClr val="tx1"/>
                </a:solidFill>
                <a:latin typeface="+mn-lt"/>
                <a:ea typeface="+mn-ea"/>
                <a:cs typeface="+mn-cs"/>
              </a:defRPr>
            </a:lvl2pPr>
            <a:lvl3pPr marL="914377" indent="0" algn="l" defTabSz="228594" rtl="0" eaLnBrk="1" latinLnBrk="0" hangingPunct="1">
              <a:lnSpc>
                <a:spcPct val="100000"/>
              </a:lnSpc>
              <a:spcBef>
                <a:spcPts val="0"/>
              </a:spcBef>
              <a:spcAft>
                <a:spcPts val="1200"/>
              </a:spcAft>
              <a:buFont typeface="System Font"/>
              <a:buNone/>
              <a:defRPr sz="1800" b="1" kern="1200">
                <a:solidFill>
                  <a:schemeClr val="tx1"/>
                </a:solidFill>
                <a:latin typeface="+mn-lt"/>
                <a:ea typeface="+mn-ea"/>
                <a:cs typeface="+mn-cs"/>
              </a:defRPr>
            </a:lvl3pPr>
            <a:lvl4pPr marL="1371566" indent="0" algn="l" defTabSz="228594" rtl="0" eaLnBrk="1" latinLnBrk="0" hangingPunct="1">
              <a:lnSpc>
                <a:spcPct val="10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4pPr>
            <a:lvl5pPr marL="1828754" indent="0" algn="l" defTabSz="228594" rtl="0" eaLnBrk="1" latinLnBrk="0" hangingPunct="1">
              <a:lnSpc>
                <a:spcPct val="100000"/>
              </a:lnSpc>
              <a:spcBef>
                <a:spcPts val="0"/>
              </a:spcBef>
              <a:spcAft>
                <a:spcPts val="1200"/>
              </a:spcAft>
              <a:buFont typeface="System Font"/>
              <a:buNone/>
              <a:defRPr sz="1600" b="1" kern="1200">
                <a:solidFill>
                  <a:schemeClr val="tx1"/>
                </a:solidFill>
                <a:latin typeface="+mn-lt"/>
                <a:ea typeface="+mn-ea"/>
                <a:cs typeface="+mn-cs"/>
              </a:defRPr>
            </a:lvl5pPr>
            <a:lvl6pPr marL="2285943" indent="0" algn="l" defTabSz="228594" rtl="0" eaLnBrk="1" latinLnBrk="0" hangingPunct="1">
              <a:lnSpc>
                <a:spcPct val="90000"/>
              </a:lnSpc>
              <a:spcBef>
                <a:spcPts val="0"/>
              </a:spcBef>
              <a:spcAft>
                <a:spcPts val="1200"/>
              </a:spcAft>
              <a:buFont typeface="Graphik" panose="020B0503030202060203" pitchFamily="34" charset="0"/>
              <a:buNone/>
              <a:tabLst/>
              <a:defRPr sz="1600" b="1" kern="1200">
                <a:solidFill>
                  <a:schemeClr val="tx1"/>
                </a:solidFill>
                <a:latin typeface="+mn-lt"/>
                <a:ea typeface="+mn-ea"/>
                <a:cs typeface="+mn-cs"/>
              </a:defRPr>
            </a:lvl6pPr>
            <a:lvl7pPr marL="2743131"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7pPr>
            <a:lvl8pPr marL="3200320"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8pPr>
            <a:lvl9pPr marL="3657509"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2"/>
                </a:solidFill>
                <a:latin typeface="+mn-lt"/>
                <a:ea typeface="+mn-ea"/>
                <a:cs typeface="+mn-cs"/>
              </a:defRPr>
            </a:lvl9pPr>
          </a:lstStyle>
          <a:p>
            <a:r>
              <a:rPr lang="pt-BR" noProof="1"/>
              <a:t>MC Dropout (2016)</a:t>
            </a:r>
          </a:p>
          <a:p>
            <a:r>
              <a:rPr lang="pt-BR" sz="1100" noProof="1">
                <a:latin typeface="Graphik" panose="020B0503030202060203" pitchFamily="34" charset="0"/>
              </a:rPr>
              <a:t>Autor: Y. Gal, Z. Ghahramani</a:t>
            </a:r>
          </a:p>
          <a:p>
            <a:r>
              <a:rPr lang="pt-BR" sz="1100" noProof="1">
                <a:latin typeface="Graphik" panose="020B0503030202060203" pitchFamily="34" charset="0"/>
              </a:rPr>
              <a:t>Artigo: “Dropout as a Bayesian Approximation: Representing Model Uncertainty in Deep Learning”</a:t>
            </a:r>
          </a:p>
        </p:txBody>
      </p:sp>
      <p:sp>
        <p:nvSpPr>
          <p:cNvPr id="50" name="Text Placeholder 24">
            <a:extLst>
              <a:ext uri="{FF2B5EF4-FFF2-40B4-BE49-F238E27FC236}">
                <a16:creationId xmlns:a16="http://schemas.microsoft.com/office/drawing/2014/main" id="{8C74CD9C-D696-1219-9F7D-7774C9FD3ED5}"/>
              </a:ext>
            </a:extLst>
          </p:cNvPr>
          <p:cNvSpPr txBox="1">
            <a:spLocks/>
          </p:cNvSpPr>
          <p:nvPr/>
        </p:nvSpPr>
        <p:spPr>
          <a:xfrm>
            <a:off x="563410" y="3538534"/>
            <a:ext cx="3744430" cy="732360"/>
          </a:xfrm>
          <a:prstGeom prst="rect">
            <a:avLst/>
          </a:prstGeom>
          <a:ln>
            <a:noFill/>
          </a:ln>
        </p:spPr>
        <p:txBody>
          <a:bodyPr vert="horz" lIns="0" tIns="0" rIns="0" bIns="0" rtlCol="0" anchor="t">
            <a:noAutofit/>
          </a:bodyPr>
          <a:lstStyle>
            <a:lvl1pPr marL="0" indent="0" algn="l" defTabSz="228594" rtl="0" eaLnBrk="1" latinLnBrk="0" hangingPunct="1">
              <a:lnSpc>
                <a:spcPct val="90000"/>
              </a:lnSpc>
              <a:spcBef>
                <a:spcPts val="0"/>
              </a:spcBef>
              <a:spcAft>
                <a:spcPts val="0"/>
              </a:spcAft>
              <a:buFont typeface="Arial" panose="020B0604020202020204" pitchFamily="34" charset="0"/>
              <a:buNone/>
              <a:defRPr sz="1600" b="0" i="0" kern="1200">
                <a:solidFill>
                  <a:schemeClr val="tx1"/>
                </a:solidFill>
                <a:latin typeface="Graphik Semibold" panose="020B0703030202060203" pitchFamily="34" charset="0"/>
                <a:ea typeface="+mn-ea"/>
                <a:cs typeface="+mn-cs"/>
              </a:defRPr>
            </a:lvl1pPr>
            <a:lvl2pPr marL="457189" indent="0" algn="l" defTabSz="228594" rtl="0" eaLnBrk="1" latinLnBrk="0" hangingPunct="1">
              <a:lnSpc>
                <a:spcPct val="100000"/>
              </a:lnSpc>
              <a:spcBef>
                <a:spcPts val="0"/>
              </a:spcBef>
              <a:spcAft>
                <a:spcPts val="1200"/>
              </a:spcAft>
              <a:buClrTx/>
              <a:buFont typeface="Arial" panose="020B0604020202020204" pitchFamily="34" charset="0"/>
              <a:buNone/>
              <a:defRPr sz="2000" b="1" kern="1200">
                <a:solidFill>
                  <a:schemeClr val="tx1"/>
                </a:solidFill>
                <a:latin typeface="+mn-lt"/>
                <a:ea typeface="+mn-ea"/>
                <a:cs typeface="+mn-cs"/>
              </a:defRPr>
            </a:lvl2pPr>
            <a:lvl3pPr marL="914377" indent="0" algn="l" defTabSz="228594" rtl="0" eaLnBrk="1" latinLnBrk="0" hangingPunct="1">
              <a:lnSpc>
                <a:spcPct val="100000"/>
              </a:lnSpc>
              <a:spcBef>
                <a:spcPts val="0"/>
              </a:spcBef>
              <a:spcAft>
                <a:spcPts val="1200"/>
              </a:spcAft>
              <a:buFont typeface="System Font"/>
              <a:buNone/>
              <a:defRPr sz="1800" b="1" kern="1200">
                <a:solidFill>
                  <a:schemeClr val="tx1"/>
                </a:solidFill>
                <a:latin typeface="+mn-lt"/>
                <a:ea typeface="+mn-ea"/>
                <a:cs typeface="+mn-cs"/>
              </a:defRPr>
            </a:lvl3pPr>
            <a:lvl4pPr marL="1371566" indent="0" algn="l" defTabSz="228594" rtl="0" eaLnBrk="1" latinLnBrk="0" hangingPunct="1">
              <a:lnSpc>
                <a:spcPct val="10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4pPr>
            <a:lvl5pPr marL="1828754" indent="0" algn="l" defTabSz="228594" rtl="0" eaLnBrk="1" latinLnBrk="0" hangingPunct="1">
              <a:lnSpc>
                <a:spcPct val="100000"/>
              </a:lnSpc>
              <a:spcBef>
                <a:spcPts val="0"/>
              </a:spcBef>
              <a:spcAft>
                <a:spcPts val="1200"/>
              </a:spcAft>
              <a:buFont typeface="System Font"/>
              <a:buNone/>
              <a:defRPr sz="1600" b="1" kern="1200">
                <a:solidFill>
                  <a:schemeClr val="tx1"/>
                </a:solidFill>
                <a:latin typeface="+mn-lt"/>
                <a:ea typeface="+mn-ea"/>
                <a:cs typeface="+mn-cs"/>
              </a:defRPr>
            </a:lvl5pPr>
            <a:lvl6pPr marL="2285943" indent="0" algn="l" defTabSz="228594" rtl="0" eaLnBrk="1" latinLnBrk="0" hangingPunct="1">
              <a:lnSpc>
                <a:spcPct val="90000"/>
              </a:lnSpc>
              <a:spcBef>
                <a:spcPts val="0"/>
              </a:spcBef>
              <a:spcAft>
                <a:spcPts val="1200"/>
              </a:spcAft>
              <a:buFont typeface="Graphik" panose="020B0503030202060203" pitchFamily="34" charset="0"/>
              <a:buNone/>
              <a:tabLst/>
              <a:defRPr sz="1600" b="1" kern="1200">
                <a:solidFill>
                  <a:schemeClr val="tx1"/>
                </a:solidFill>
                <a:latin typeface="+mn-lt"/>
                <a:ea typeface="+mn-ea"/>
                <a:cs typeface="+mn-cs"/>
              </a:defRPr>
            </a:lvl6pPr>
            <a:lvl7pPr marL="2743131"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7pPr>
            <a:lvl8pPr marL="3200320"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8pPr>
            <a:lvl9pPr marL="3657509"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2"/>
                </a:solidFill>
                <a:latin typeface="+mn-lt"/>
                <a:ea typeface="+mn-ea"/>
                <a:cs typeface="+mn-cs"/>
              </a:defRPr>
            </a:lvl9pPr>
          </a:lstStyle>
          <a:p>
            <a:r>
              <a:rPr lang="pt-BR" noProof="1"/>
              <a:t>Bayesian Neural Networks (1992)</a:t>
            </a:r>
          </a:p>
          <a:p>
            <a:r>
              <a:rPr lang="pt-BR" sz="1100" noProof="1">
                <a:latin typeface="Graphik" panose="020B0503030202060203" pitchFamily="34" charset="0"/>
              </a:rPr>
              <a:t>Autor: Radford M. Neal</a:t>
            </a:r>
          </a:p>
          <a:p>
            <a:r>
              <a:rPr lang="pt-BR" sz="1100" noProof="1">
                <a:latin typeface="Graphik" panose="020B0503030202060203" pitchFamily="34" charset="0"/>
              </a:rPr>
              <a:t>Artigo: “Bayesian Learning for Neural Networks”</a:t>
            </a:r>
          </a:p>
        </p:txBody>
      </p:sp>
      <p:sp>
        <p:nvSpPr>
          <p:cNvPr id="51" name="Text Placeholder 27">
            <a:extLst>
              <a:ext uri="{FF2B5EF4-FFF2-40B4-BE49-F238E27FC236}">
                <a16:creationId xmlns:a16="http://schemas.microsoft.com/office/drawing/2014/main" id="{4FEC8737-AAE5-E7B8-88D9-C45A65E26EB4}"/>
              </a:ext>
            </a:extLst>
          </p:cNvPr>
          <p:cNvSpPr txBox="1">
            <a:spLocks/>
          </p:cNvSpPr>
          <p:nvPr/>
        </p:nvSpPr>
        <p:spPr>
          <a:xfrm>
            <a:off x="563410" y="4540746"/>
            <a:ext cx="3744430" cy="732360"/>
          </a:xfrm>
          <a:prstGeom prst="rect">
            <a:avLst/>
          </a:prstGeom>
          <a:ln>
            <a:noFill/>
          </a:ln>
        </p:spPr>
        <p:txBody>
          <a:bodyPr vert="horz" lIns="0" tIns="0" rIns="0" bIns="0" rtlCol="0" anchor="t">
            <a:noAutofit/>
          </a:bodyPr>
          <a:lstStyle>
            <a:lvl1pPr marL="0" indent="0" algn="l" defTabSz="228594" rtl="0" eaLnBrk="1" latinLnBrk="0" hangingPunct="1">
              <a:lnSpc>
                <a:spcPct val="90000"/>
              </a:lnSpc>
              <a:spcBef>
                <a:spcPts val="0"/>
              </a:spcBef>
              <a:spcAft>
                <a:spcPts val="0"/>
              </a:spcAft>
              <a:buFont typeface="Arial" panose="020B0604020202020204" pitchFamily="34" charset="0"/>
              <a:buNone/>
              <a:defRPr sz="1600" b="0" i="0" kern="1200">
                <a:solidFill>
                  <a:schemeClr val="tx1"/>
                </a:solidFill>
                <a:latin typeface="Graphik Semibold" panose="020B0703030202060203" pitchFamily="34" charset="0"/>
                <a:ea typeface="+mn-ea"/>
                <a:cs typeface="+mn-cs"/>
              </a:defRPr>
            </a:lvl1pPr>
            <a:lvl2pPr marL="457189" indent="0" algn="l" defTabSz="228594" rtl="0" eaLnBrk="1" latinLnBrk="0" hangingPunct="1">
              <a:lnSpc>
                <a:spcPct val="100000"/>
              </a:lnSpc>
              <a:spcBef>
                <a:spcPts val="0"/>
              </a:spcBef>
              <a:spcAft>
                <a:spcPts val="1200"/>
              </a:spcAft>
              <a:buClrTx/>
              <a:buFont typeface="Arial" panose="020B0604020202020204" pitchFamily="34" charset="0"/>
              <a:buNone/>
              <a:defRPr sz="2000" b="1" kern="1200">
                <a:solidFill>
                  <a:schemeClr val="tx1"/>
                </a:solidFill>
                <a:latin typeface="+mn-lt"/>
                <a:ea typeface="+mn-ea"/>
                <a:cs typeface="+mn-cs"/>
              </a:defRPr>
            </a:lvl2pPr>
            <a:lvl3pPr marL="914377" indent="0" algn="l" defTabSz="228594" rtl="0" eaLnBrk="1" latinLnBrk="0" hangingPunct="1">
              <a:lnSpc>
                <a:spcPct val="100000"/>
              </a:lnSpc>
              <a:spcBef>
                <a:spcPts val="0"/>
              </a:spcBef>
              <a:spcAft>
                <a:spcPts val="1200"/>
              </a:spcAft>
              <a:buFont typeface="System Font"/>
              <a:buNone/>
              <a:defRPr sz="1800" b="1" kern="1200">
                <a:solidFill>
                  <a:schemeClr val="tx1"/>
                </a:solidFill>
                <a:latin typeface="+mn-lt"/>
                <a:ea typeface="+mn-ea"/>
                <a:cs typeface="+mn-cs"/>
              </a:defRPr>
            </a:lvl3pPr>
            <a:lvl4pPr marL="1371566" indent="0" algn="l" defTabSz="228594" rtl="0" eaLnBrk="1" latinLnBrk="0" hangingPunct="1">
              <a:lnSpc>
                <a:spcPct val="10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4pPr>
            <a:lvl5pPr marL="1828754" indent="0" algn="l" defTabSz="228594" rtl="0" eaLnBrk="1" latinLnBrk="0" hangingPunct="1">
              <a:lnSpc>
                <a:spcPct val="100000"/>
              </a:lnSpc>
              <a:spcBef>
                <a:spcPts val="0"/>
              </a:spcBef>
              <a:spcAft>
                <a:spcPts val="1200"/>
              </a:spcAft>
              <a:buFont typeface="System Font"/>
              <a:buNone/>
              <a:defRPr sz="1600" b="1" kern="1200">
                <a:solidFill>
                  <a:schemeClr val="tx1"/>
                </a:solidFill>
                <a:latin typeface="+mn-lt"/>
                <a:ea typeface="+mn-ea"/>
                <a:cs typeface="+mn-cs"/>
              </a:defRPr>
            </a:lvl5pPr>
            <a:lvl6pPr marL="2285943" indent="0" algn="l" defTabSz="228594" rtl="0" eaLnBrk="1" latinLnBrk="0" hangingPunct="1">
              <a:lnSpc>
                <a:spcPct val="90000"/>
              </a:lnSpc>
              <a:spcBef>
                <a:spcPts val="0"/>
              </a:spcBef>
              <a:spcAft>
                <a:spcPts val="1200"/>
              </a:spcAft>
              <a:buFont typeface="Graphik" panose="020B0503030202060203" pitchFamily="34" charset="0"/>
              <a:buNone/>
              <a:tabLst/>
              <a:defRPr sz="1600" b="1" kern="1200">
                <a:solidFill>
                  <a:schemeClr val="tx1"/>
                </a:solidFill>
                <a:latin typeface="+mn-lt"/>
                <a:ea typeface="+mn-ea"/>
                <a:cs typeface="+mn-cs"/>
              </a:defRPr>
            </a:lvl6pPr>
            <a:lvl7pPr marL="2743131"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7pPr>
            <a:lvl8pPr marL="3200320"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8pPr>
            <a:lvl9pPr marL="3657509"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2"/>
                </a:solidFill>
                <a:latin typeface="+mn-lt"/>
                <a:ea typeface="+mn-ea"/>
                <a:cs typeface="+mn-cs"/>
              </a:defRPr>
            </a:lvl9pPr>
          </a:lstStyle>
          <a:p>
            <a:r>
              <a:rPr lang="pt-BR" noProof="1"/>
              <a:t>Deep Ensembles (2017)</a:t>
            </a:r>
          </a:p>
          <a:p>
            <a:r>
              <a:rPr lang="pt-BR" sz="1100" noProof="1">
                <a:latin typeface="Graphik" panose="020B0503030202060203" pitchFamily="34" charset="0"/>
              </a:rPr>
              <a:t>Autores: Balaji Lakshminarayanan, Alexander Pritzel</a:t>
            </a:r>
          </a:p>
          <a:p>
            <a:r>
              <a:rPr lang="pt-BR" sz="1100" noProof="1">
                <a:latin typeface="Graphik" panose="020B0503030202060203" pitchFamily="34" charset="0"/>
              </a:rPr>
              <a:t>Artigo: “Simple and Scalable Predictive Uncertainty Estimation using Deep Ensembles”</a:t>
            </a:r>
          </a:p>
          <a:p>
            <a:endParaRPr lang="pt-BR" noProof="1"/>
          </a:p>
        </p:txBody>
      </p:sp>
      <p:sp>
        <p:nvSpPr>
          <p:cNvPr id="52" name="Text Placeholder 30">
            <a:extLst>
              <a:ext uri="{FF2B5EF4-FFF2-40B4-BE49-F238E27FC236}">
                <a16:creationId xmlns:a16="http://schemas.microsoft.com/office/drawing/2014/main" id="{E5CB4BCA-7367-5256-C845-1FF96D79248C}"/>
              </a:ext>
            </a:extLst>
          </p:cNvPr>
          <p:cNvSpPr txBox="1">
            <a:spLocks/>
          </p:cNvSpPr>
          <p:nvPr/>
        </p:nvSpPr>
        <p:spPr>
          <a:xfrm>
            <a:off x="563410" y="5553996"/>
            <a:ext cx="3978110" cy="732360"/>
          </a:xfrm>
          <a:prstGeom prst="rect">
            <a:avLst/>
          </a:prstGeom>
          <a:ln>
            <a:noFill/>
          </a:ln>
        </p:spPr>
        <p:txBody>
          <a:bodyPr vert="horz" lIns="0" tIns="0" rIns="0" bIns="0" rtlCol="0" anchor="t">
            <a:noAutofit/>
          </a:bodyPr>
          <a:lstStyle>
            <a:lvl1pPr marL="0" indent="0" algn="l" defTabSz="228594" rtl="0" eaLnBrk="1" latinLnBrk="0" hangingPunct="1">
              <a:lnSpc>
                <a:spcPct val="90000"/>
              </a:lnSpc>
              <a:spcBef>
                <a:spcPts val="0"/>
              </a:spcBef>
              <a:spcAft>
                <a:spcPts val="0"/>
              </a:spcAft>
              <a:buFont typeface="Arial" panose="020B0604020202020204" pitchFamily="34" charset="0"/>
              <a:buNone/>
              <a:defRPr sz="1600" b="0" i="0" kern="1200">
                <a:solidFill>
                  <a:schemeClr val="tx1"/>
                </a:solidFill>
                <a:latin typeface="Graphik Semibold" panose="020B0703030202060203" pitchFamily="34" charset="0"/>
                <a:ea typeface="+mn-ea"/>
                <a:cs typeface="+mn-cs"/>
              </a:defRPr>
            </a:lvl1pPr>
            <a:lvl2pPr marL="457189" indent="0" algn="l" defTabSz="228594" rtl="0" eaLnBrk="1" latinLnBrk="0" hangingPunct="1">
              <a:lnSpc>
                <a:spcPct val="100000"/>
              </a:lnSpc>
              <a:spcBef>
                <a:spcPts val="0"/>
              </a:spcBef>
              <a:spcAft>
                <a:spcPts val="1200"/>
              </a:spcAft>
              <a:buClrTx/>
              <a:buFont typeface="Arial" panose="020B0604020202020204" pitchFamily="34" charset="0"/>
              <a:buNone/>
              <a:defRPr sz="2000" b="1" kern="1200">
                <a:solidFill>
                  <a:schemeClr val="tx1"/>
                </a:solidFill>
                <a:latin typeface="+mn-lt"/>
                <a:ea typeface="+mn-ea"/>
                <a:cs typeface="+mn-cs"/>
              </a:defRPr>
            </a:lvl2pPr>
            <a:lvl3pPr marL="914377" indent="0" algn="l" defTabSz="228594" rtl="0" eaLnBrk="1" latinLnBrk="0" hangingPunct="1">
              <a:lnSpc>
                <a:spcPct val="100000"/>
              </a:lnSpc>
              <a:spcBef>
                <a:spcPts val="0"/>
              </a:spcBef>
              <a:spcAft>
                <a:spcPts val="1200"/>
              </a:spcAft>
              <a:buFont typeface="System Font"/>
              <a:buNone/>
              <a:defRPr sz="1800" b="1" kern="1200">
                <a:solidFill>
                  <a:schemeClr val="tx1"/>
                </a:solidFill>
                <a:latin typeface="+mn-lt"/>
                <a:ea typeface="+mn-ea"/>
                <a:cs typeface="+mn-cs"/>
              </a:defRPr>
            </a:lvl3pPr>
            <a:lvl4pPr marL="1371566" indent="0" algn="l" defTabSz="228594" rtl="0" eaLnBrk="1" latinLnBrk="0" hangingPunct="1">
              <a:lnSpc>
                <a:spcPct val="10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4pPr>
            <a:lvl5pPr marL="1828754" indent="0" algn="l" defTabSz="228594" rtl="0" eaLnBrk="1" latinLnBrk="0" hangingPunct="1">
              <a:lnSpc>
                <a:spcPct val="100000"/>
              </a:lnSpc>
              <a:spcBef>
                <a:spcPts val="0"/>
              </a:spcBef>
              <a:spcAft>
                <a:spcPts val="1200"/>
              </a:spcAft>
              <a:buFont typeface="System Font"/>
              <a:buNone/>
              <a:defRPr sz="1600" b="1" kern="1200">
                <a:solidFill>
                  <a:schemeClr val="tx1"/>
                </a:solidFill>
                <a:latin typeface="+mn-lt"/>
                <a:ea typeface="+mn-ea"/>
                <a:cs typeface="+mn-cs"/>
              </a:defRPr>
            </a:lvl5pPr>
            <a:lvl6pPr marL="2285943" indent="0" algn="l" defTabSz="228594" rtl="0" eaLnBrk="1" latinLnBrk="0" hangingPunct="1">
              <a:lnSpc>
                <a:spcPct val="90000"/>
              </a:lnSpc>
              <a:spcBef>
                <a:spcPts val="0"/>
              </a:spcBef>
              <a:spcAft>
                <a:spcPts val="1200"/>
              </a:spcAft>
              <a:buFont typeface="Graphik" panose="020B0503030202060203" pitchFamily="34" charset="0"/>
              <a:buNone/>
              <a:tabLst/>
              <a:defRPr sz="1600" b="1" kern="1200">
                <a:solidFill>
                  <a:schemeClr val="tx1"/>
                </a:solidFill>
                <a:latin typeface="+mn-lt"/>
                <a:ea typeface="+mn-ea"/>
                <a:cs typeface="+mn-cs"/>
              </a:defRPr>
            </a:lvl6pPr>
            <a:lvl7pPr marL="2743131"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7pPr>
            <a:lvl8pPr marL="3200320"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8pPr>
            <a:lvl9pPr marL="3657509"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2"/>
                </a:solidFill>
                <a:latin typeface="+mn-lt"/>
                <a:ea typeface="+mn-ea"/>
                <a:cs typeface="+mn-cs"/>
              </a:defRPr>
            </a:lvl9pPr>
          </a:lstStyle>
          <a:p>
            <a:r>
              <a:rPr lang="pt-BR" noProof="1"/>
              <a:t>Evidential Deep Learning (2018)</a:t>
            </a:r>
          </a:p>
          <a:p>
            <a:r>
              <a:rPr lang="pt-BR" sz="1100" noProof="1">
                <a:latin typeface="Graphik" panose="020B0503030202060203" pitchFamily="34" charset="0"/>
              </a:rPr>
              <a:t>Autores: Murat Sensoy, Lance Kaplan, Melih Kandemir</a:t>
            </a:r>
          </a:p>
          <a:p>
            <a:r>
              <a:rPr lang="pt-BR" sz="1100" noProof="1">
                <a:latin typeface="Graphik" panose="020B0503030202060203" pitchFamily="34" charset="0"/>
              </a:rPr>
              <a:t>Artigo: “Evidential Deep Learning to Quantify Predictive Uncertainty”</a:t>
            </a:r>
          </a:p>
          <a:p>
            <a:endParaRPr lang="pt-BR" noProof="1"/>
          </a:p>
        </p:txBody>
      </p:sp>
    </p:spTree>
    <p:extLst>
      <p:ext uri="{BB962C8B-B14F-4D97-AF65-F5344CB8AC3E}">
        <p14:creationId xmlns:p14="http://schemas.microsoft.com/office/powerpoint/2010/main" val="26407854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706E5A-2160-B86F-9B6B-66C4C5F7D48E}"/>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C276D28-7755-3D59-DC02-D7CFC6188064}"/>
              </a:ext>
            </a:extLst>
          </p:cNvPr>
          <p:cNvGraphicFramePr>
            <a:graphicFrameLocks noChangeAspect="1"/>
          </p:cNvGraphicFramePr>
          <p:nvPr>
            <p:custDataLst>
              <p:tags r:id="rId1"/>
            </p:custDataLst>
            <p:extLst>
              <p:ext uri="{D42A27DB-BD31-4B8C-83A1-F6EECF244321}">
                <p14:modId xmlns:p14="http://schemas.microsoft.com/office/powerpoint/2010/main" val="4094268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3" name="think-cell data - do not delete" hidden="1">
                        <a:extLst>
                          <a:ext uri="{FF2B5EF4-FFF2-40B4-BE49-F238E27FC236}">
                            <a16:creationId xmlns:a16="http://schemas.microsoft.com/office/drawing/2014/main" id="{EC276D28-7755-3D59-DC02-D7CFC61880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14">
            <a:extLst>
              <a:ext uri="{FF2B5EF4-FFF2-40B4-BE49-F238E27FC236}">
                <a16:creationId xmlns:a16="http://schemas.microsoft.com/office/drawing/2014/main" id="{5081E0E9-8591-C75A-C980-DE94840FD31B}"/>
              </a:ext>
            </a:extLst>
          </p:cNvPr>
          <p:cNvSpPr>
            <a:spLocks noGrp="1"/>
          </p:cNvSpPr>
          <p:nvPr>
            <p:ph type="title"/>
          </p:nvPr>
        </p:nvSpPr>
        <p:spPr>
          <a:xfrm>
            <a:off x="563410" y="558086"/>
            <a:ext cx="9398470" cy="393954"/>
          </a:xfrm>
        </p:spPr>
        <p:txBody>
          <a:bodyPr vert="horz"/>
          <a:lstStyle/>
          <a:p>
            <a:r>
              <a:rPr lang="pt-BR" b="1" noProof="1"/>
              <a:t>Outros Métodos em Machine Learning</a:t>
            </a:r>
            <a:endParaRPr lang="pt-BR" noProof="1"/>
          </a:p>
        </p:txBody>
      </p:sp>
      <p:sp>
        <p:nvSpPr>
          <p:cNvPr id="22" name="Text Placeholder 21">
            <a:extLst>
              <a:ext uri="{FF2B5EF4-FFF2-40B4-BE49-F238E27FC236}">
                <a16:creationId xmlns:a16="http://schemas.microsoft.com/office/drawing/2014/main" id="{75892529-961B-A0E8-B9E9-8F0869B07DB8}"/>
              </a:ext>
            </a:extLst>
          </p:cNvPr>
          <p:cNvSpPr>
            <a:spLocks noGrp="1"/>
          </p:cNvSpPr>
          <p:nvPr>
            <p:ph type="body" sz="quarter" idx="26"/>
          </p:nvPr>
        </p:nvSpPr>
        <p:spPr>
          <a:xfrm>
            <a:off x="563410" y="1609787"/>
            <a:ext cx="8067510" cy="384048"/>
          </a:xfrm>
        </p:spPr>
        <p:txBody>
          <a:bodyPr/>
          <a:lstStyle/>
          <a:p>
            <a:r>
              <a:rPr lang="pt-BR" noProof="1">
                <a:solidFill>
                  <a:schemeClr val="bg2"/>
                </a:solidFill>
              </a:rPr>
              <a:t>Demais aplicações em Machine Learning</a:t>
            </a:r>
          </a:p>
        </p:txBody>
      </p:sp>
      <p:grpSp>
        <p:nvGrpSpPr>
          <p:cNvPr id="63" name="Group 62">
            <a:extLst>
              <a:ext uri="{FF2B5EF4-FFF2-40B4-BE49-F238E27FC236}">
                <a16:creationId xmlns:a16="http://schemas.microsoft.com/office/drawing/2014/main" id="{B93DDA59-49F9-FB8A-A3C4-5370E9F338E5}"/>
              </a:ext>
            </a:extLst>
          </p:cNvPr>
          <p:cNvGrpSpPr/>
          <p:nvPr/>
        </p:nvGrpSpPr>
        <p:grpSpPr>
          <a:xfrm>
            <a:off x="4943100" y="2525284"/>
            <a:ext cx="4314790" cy="3763647"/>
            <a:chOff x="4743153" y="2525284"/>
            <a:chExt cx="4314790" cy="3763647"/>
          </a:xfrm>
        </p:grpSpPr>
        <p:sp>
          <p:nvSpPr>
            <p:cNvPr id="6" name="Text Placeholder 22">
              <a:extLst>
                <a:ext uri="{FF2B5EF4-FFF2-40B4-BE49-F238E27FC236}">
                  <a16:creationId xmlns:a16="http://schemas.microsoft.com/office/drawing/2014/main" id="{B7ECD34D-CFC5-80D2-C8A4-DF8A3DC36FFE}"/>
                </a:ext>
              </a:extLst>
            </p:cNvPr>
            <p:cNvSpPr txBox="1">
              <a:spLocks/>
            </p:cNvSpPr>
            <p:nvPr/>
          </p:nvSpPr>
          <p:spPr>
            <a:xfrm>
              <a:off x="4743153" y="2525284"/>
              <a:ext cx="4314790" cy="734935"/>
            </a:xfrm>
            <a:prstGeom prst="rect">
              <a:avLst/>
            </a:prstGeom>
            <a:ln>
              <a:noFill/>
            </a:ln>
          </p:spPr>
          <p:txBody>
            <a:bodyPr vert="horz" lIns="0" tIns="0" rIns="0" bIns="0" rtlCol="0">
              <a:noAutofit/>
            </a:bodyPr>
            <a:lstStyle>
              <a:lvl1pPr marL="0" indent="0" algn="l" defTabSz="228594" rtl="0" eaLnBrk="1" latinLnBrk="0" hangingPunct="1">
                <a:lnSpc>
                  <a:spcPct val="100000"/>
                </a:lnSpc>
                <a:spcBef>
                  <a:spcPts val="0"/>
                </a:spcBef>
                <a:spcAft>
                  <a:spcPts val="1200"/>
                </a:spcAft>
                <a:buFont typeface="Arial" panose="020B0604020202020204" pitchFamily="34" charset="0"/>
                <a:buNone/>
                <a:defRPr lang="en-US" sz="1200" b="0" kern="1200" dirty="0" smtClean="0">
                  <a:solidFill>
                    <a:schemeClr val="tx1"/>
                  </a:solidFill>
                  <a:latin typeface="+mn-lt"/>
                  <a:ea typeface="+mn-ea"/>
                  <a:cs typeface="+mn-cs"/>
                </a:defRPr>
              </a:lvl1pPr>
              <a:lvl2pPr marL="228594" indent="-228594" algn="l" defTabSz="228594" rtl="0" eaLnBrk="1" latinLnBrk="0" hangingPunct="1">
                <a:lnSpc>
                  <a:spcPct val="100000"/>
                </a:lnSpc>
                <a:spcBef>
                  <a:spcPts val="0"/>
                </a:spcBef>
                <a:spcAft>
                  <a:spcPts val="1200"/>
                </a:spcAft>
                <a:buClrTx/>
                <a:buFont typeface="Arial" panose="020B0604020202020204" pitchFamily="34" charset="0"/>
                <a:buChar char="•"/>
                <a:defRPr lang="en-US" sz="1400" b="0" kern="1200" dirty="0" smtClean="0">
                  <a:solidFill>
                    <a:schemeClr val="tx1"/>
                  </a:solidFill>
                  <a:latin typeface="+mn-lt"/>
                  <a:ea typeface="+mn-ea"/>
                  <a:cs typeface="+mn-cs"/>
                </a:defRPr>
              </a:lvl2pPr>
              <a:lvl3pPr marL="457189" indent="-228594" algn="l" defTabSz="228594" rtl="0" eaLnBrk="1" latinLnBrk="0" hangingPunct="1">
                <a:lnSpc>
                  <a:spcPct val="100000"/>
                </a:lnSpc>
                <a:spcBef>
                  <a:spcPts val="0"/>
                </a:spcBef>
                <a:spcAft>
                  <a:spcPts val="1200"/>
                </a:spcAft>
                <a:buFont typeface="System Font"/>
                <a:buChar char="–"/>
                <a:defRPr sz="1200" kern="1200">
                  <a:solidFill>
                    <a:schemeClr val="tx1"/>
                  </a:solidFill>
                  <a:latin typeface="+mn-lt"/>
                  <a:ea typeface="+mn-ea"/>
                  <a:cs typeface="+mn-cs"/>
                </a:defRPr>
              </a:lvl3pPr>
              <a:lvl4pPr marL="685783" indent="-228594" algn="l" defTabSz="228594" rtl="0" eaLnBrk="1" latinLnBrk="0" hangingPunct="1">
                <a:lnSpc>
                  <a:spcPct val="100000"/>
                </a:lnSpc>
                <a:spcBef>
                  <a:spcPts val="0"/>
                </a:spcBef>
                <a:spcAft>
                  <a:spcPts val="1200"/>
                </a:spcAft>
                <a:buFont typeface="Arial" panose="020B0604020202020204" pitchFamily="34" charset="0"/>
                <a:buChar char="•"/>
                <a:defRPr sz="1100" kern="1200">
                  <a:solidFill>
                    <a:schemeClr val="tx1"/>
                  </a:solidFill>
                  <a:latin typeface="+mn-lt"/>
                  <a:ea typeface="+mn-ea"/>
                  <a:cs typeface="+mn-cs"/>
                </a:defRPr>
              </a:lvl4pPr>
              <a:lvl5pPr marL="914377" indent="-228594" algn="l" defTabSz="228594" rtl="0" eaLnBrk="1" latinLnBrk="0" hangingPunct="1">
                <a:lnSpc>
                  <a:spcPct val="100000"/>
                </a:lnSpc>
                <a:spcBef>
                  <a:spcPts val="0"/>
                </a:spcBef>
                <a:spcAft>
                  <a:spcPts val="1200"/>
                </a:spcAft>
                <a:buFont typeface="System Font"/>
                <a:buChar char="–"/>
                <a:defRPr sz="1100" kern="1200">
                  <a:solidFill>
                    <a:schemeClr val="tx1"/>
                  </a:solidFill>
                  <a:latin typeface="+mn-lt"/>
                  <a:ea typeface="+mn-ea"/>
                  <a:cs typeface="+mn-cs"/>
                </a:defRPr>
              </a:lvl5pPr>
              <a:lvl6pPr marL="11113" indent="0" algn="l" defTabSz="228594" rtl="0" eaLnBrk="1" latinLnBrk="0" hangingPunct="1">
                <a:lnSpc>
                  <a:spcPct val="90000"/>
                </a:lnSpc>
                <a:spcBef>
                  <a:spcPts val="0"/>
                </a:spcBef>
                <a:spcAft>
                  <a:spcPts val="1200"/>
                </a:spcAft>
                <a:buFont typeface="Graphik" panose="020B0503030202060203" pitchFamily="34" charset="0"/>
                <a:buNone/>
                <a:tabLst/>
                <a:defRPr sz="1200" kern="1200">
                  <a:solidFill>
                    <a:schemeClr val="tx1"/>
                  </a:solidFill>
                  <a:latin typeface="+mn-lt"/>
                  <a:ea typeface="+mn-ea"/>
                  <a:cs typeface="+mn-cs"/>
                </a:defRPr>
              </a:lvl6pPr>
              <a:lvl7pPr marL="0" indent="0" algn="l" defTabSz="22859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mn-lt"/>
                  <a:ea typeface="+mn-ea"/>
                  <a:cs typeface="+mn-cs"/>
                </a:defRPr>
              </a:lvl7pPr>
              <a:lvl8pPr marL="0" indent="0" algn="l" defTabSz="22859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mn-lt"/>
                  <a:ea typeface="+mn-ea"/>
                  <a:cs typeface="+mn-cs"/>
                </a:defRPr>
              </a:lvl8pPr>
              <a:lvl9pPr marL="0" indent="0" algn="l" defTabSz="22859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mn-lt"/>
                  <a:ea typeface="+mn-ea"/>
                  <a:cs typeface="+mn-cs"/>
                </a:defRPr>
              </a:lvl9pPr>
            </a:lstStyle>
            <a:p>
              <a:r>
                <a:rPr lang="pt-BR" noProof="1"/>
                <a:t>Treina a rede para aprender valores e derivadas da função, incorporando informações diferenciais na loss e aumentando a precisão em problemas físicos.</a:t>
              </a:r>
            </a:p>
          </p:txBody>
        </p:sp>
        <p:sp>
          <p:nvSpPr>
            <p:cNvPr id="7" name="Text Placeholder 25">
              <a:extLst>
                <a:ext uri="{FF2B5EF4-FFF2-40B4-BE49-F238E27FC236}">
                  <a16:creationId xmlns:a16="http://schemas.microsoft.com/office/drawing/2014/main" id="{6284C013-586E-8ECA-3F72-93FF2C132E21}"/>
                </a:ext>
              </a:extLst>
            </p:cNvPr>
            <p:cNvSpPr txBox="1">
              <a:spLocks/>
            </p:cNvSpPr>
            <p:nvPr/>
          </p:nvSpPr>
          <p:spPr>
            <a:xfrm>
              <a:off x="4743153" y="3538534"/>
              <a:ext cx="4314790" cy="734935"/>
            </a:xfrm>
            <a:prstGeom prst="rect">
              <a:avLst/>
            </a:prstGeom>
            <a:ln>
              <a:noFill/>
            </a:ln>
          </p:spPr>
          <p:txBody>
            <a:bodyPr vert="horz" lIns="0" tIns="0" rIns="0" bIns="0" rtlCol="0">
              <a:noAutofit/>
            </a:bodyPr>
            <a:lstStyle>
              <a:lvl1pPr marL="0" indent="0" algn="l" defTabSz="228594" rtl="0" eaLnBrk="1" latinLnBrk="0" hangingPunct="1">
                <a:lnSpc>
                  <a:spcPct val="100000"/>
                </a:lnSpc>
                <a:spcBef>
                  <a:spcPts val="0"/>
                </a:spcBef>
                <a:spcAft>
                  <a:spcPts val="1200"/>
                </a:spcAft>
                <a:buFont typeface="Arial" panose="020B0604020202020204" pitchFamily="34" charset="0"/>
                <a:buNone/>
                <a:defRPr lang="en-US" sz="1200" b="0" kern="1200" dirty="0" smtClean="0">
                  <a:solidFill>
                    <a:schemeClr val="tx1"/>
                  </a:solidFill>
                  <a:latin typeface="+mn-lt"/>
                  <a:ea typeface="+mn-ea"/>
                  <a:cs typeface="+mn-cs"/>
                </a:defRPr>
              </a:lvl1pPr>
              <a:lvl2pPr marL="228594" indent="-228594" algn="l" defTabSz="228594" rtl="0" eaLnBrk="1" latinLnBrk="0" hangingPunct="1">
                <a:lnSpc>
                  <a:spcPct val="100000"/>
                </a:lnSpc>
                <a:spcBef>
                  <a:spcPts val="0"/>
                </a:spcBef>
                <a:spcAft>
                  <a:spcPts val="1200"/>
                </a:spcAft>
                <a:buClrTx/>
                <a:buFont typeface="Arial" panose="020B0604020202020204" pitchFamily="34" charset="0"/>
                <a:buChar char="•"/>
                <a:defRPr lang="en-US" sz="1400" b="0" kern="1200" dirty="0" smtClean="0">
                  <a:solidFill>
                    <a:schemeClr val="tx1"/>
                  </a:solidFill>
                  <a:latin typeface="+mn-lt"/>
                  <a:ea typeface="+mn-ea"/>
                  <a:cs typeface="+mn-cs"/>
                </a:defRPr>
              </a:lvl2pPr>
              <a:lvl3pPr marL="457189" indent="-228594" algn="l" defTabSz="228594" rtl="0" eaLnBrk="1" latinLnBrk="0" hangingPunct="1">
                <a:lnSpc>
                  <a:spcPct val="100000"/>
                </a:lnSpc>
                <a:spcBef>
                  <a:spcPts val="0"/>
                </a:spcBef>
                <a:spcAft>
                  <a:spcPts val="1200"/>
                </a:spcAft>
                <a:buFont typeface="System Font"/>
                <a:buChar char="–"/>
                <a:defRPr sz="1200" kern="1200">
                  <a:solidFill>
                    <a:schemeClr val="tx1"/>
                  </a:solidFill>
                  <a:latin typeface="+mn-lt"/>
                  <a:ea typeface="+mn-ea"/>
                  <a:cs typeface="+mn-cs"/>
                </a:defRPr>
              </a:lvl3pPr>
              <a:lvl4pPr marL="685783" indent="-228594" algn="l" defTabSz="228594" rtl="0" eaLnBrk="1" latinLnBrk="0" hangingPunct="1">
                <a:lnSpc>
                  <a:spcPct val="100000"/>
                </a:lnSpc>
                <a:spcBef>
                  <a:spcPts val="0"/>
                </a:spcBef>
                <a:spcAft>
                  <a:spcPts val="1200"/>
                </a:spcAft>
                <a:buFont typeface="Arial" panose="020B0604020202020204" pitchFamily="34" charset="0"/>
                <a:buChar char="•"/>
                <a:defRPr sz="1100" kern="1200">
                  <a:solidFill>
                    <a:schemeClr val="tx1"/>
                  </a:solidFill>
                  <a:latin typeface="+mn-lt"/>
                  <a:ea typeface="+mn-ea"/>
                  <a:cs typeface="+mn-cs"/>
                </a:defRPr>
              </a:lvl4pPr>
              <a:lvl5pPr marL="914377" indent="-228594" algn="l" defTabSz="228594" rtl="0" eaLnBrk="1" latinLnBrk="0" hangingPunct="1">
                <a:lnSpc>
                  <a:spcPct val="100000"/>
                </a:lnSpc>
                <a:spcBef>
                  <a:spcPts val="0"/>
                </a:spcBef>
                <a:spcAft>
                  <a:spcPts val="1200"/>
                </a:spcAft>
                <a:buFont typeface="System Font"/>
                <a:buChar char="–"/>
                <a:defRPr sz="1100" kern="1200">
                  <a:solidFill>
                    <a:schemeClr val="tx1"/>
                  </a:solidFill>
                  <a:latin typeface="+mn-lt"/>
                  <a:ea typeface="+mn-ea"/>
                  <a:cs typeface="+mn-cs"/>
                </a:defRPr>
              </a:lvl5pPr>
              <a:lvl6pPr marL="11113" indent="0" algn="l" defTabSz="228594" rtl="0" eaLnBrk="1" latinLnBrk="0" hangingPunct="1">
                <a:lnSpc>
                  <a:spcPct val="90000"/>
                </a:lnSpc>
                <a:spcBef>
                  <a:spcPts val="0"/>
                </a:spcBef>
                <a:spcAft>
                  <a:spcPts val="1200"/>
                </a:spcAft>
                <a:buFont typeface="Graphik" panose="020B0503030202060203" pitchFamily="34" charset="0"/>
                <a:buNone/>
                <a:tabLst/>
                <a:defRPr sz="1200" kern="1200">
                  <a:solidFill>
                    <a:schemeClr val="tx1"/>
                  </a:solidFill>
                  <a:latin typeface="+mn-lt"/>
                  <a:ea typeface="+mn-ea"/>
                  <a:cs typeface="+mn-cs"/>
                </a:defRPr>
              </a:lvl6pPr>
              <a:lvl7pPr marL="0" indent="0" algn="l" defTabSz="22859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mn-lt"/>
                  <a:ea typeface="+mn-ea"/>
                  <a:cs typeface="+mn-cs"/>
                </a:defRPr>
              </a:lvl7pPr>
              <a:lvl8pPr marL="0" indent="0" algn="l" defTabSz="22859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mn-lt"/>
                  <a:ea typeface="+mn-ea"/>
                  <a:cs typeface="+mn-cs"/>
                </a:defRPr>
              </a:lvl8pPr>
              <a:lvl9pPr marL="0" indent="0" algn="l" defTabSz="22859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mn-lt"/>
                  <a:ea typeface="+mn-ea"/>
                  <a:cs typeface="+mn-cs"/>
                </a:defRPr>
              </a:lvl9pPr>
            </a:lstStyle>
            <a:p>
              <a:r>
                <a:rPr lang="pt-BR" noProof="1"/>
                <a:t>Método de amostragem estratificada que distribui pontos de forma uniforme no espaço de parâmetros, garantindo boa cobertura com poucas amostras.</a:t>
              </a:r>
            </a:p>
          </p:txBody>
        </p:sp>
        <p:sp>
          <p:nvSpPr>
            <p:cNvPr id="8" name="Text Placeholder 28">
              <a:extLst>
                <a:ext uri="{FF2B5EF4-FFF2-40B4-BE49-F238E27FC236}">
                  <a16:creationId xmlns:a16="http://schemas.microsoft.com/office/drawing/2014/main" id="{87DFBD5A-3932-0361-042F-1BAF97B5F394}"/>
                </a:ext>
              </a:extLst>
            </p:cNvPr>
            <p:cNvSpPr txBox="1">
              <a:spLocks/>
            </p:cNvSpPr>
            <p:nvPr/>
          </p:nvSpPr>
          <p:spPr>
            <a:xfrm>
              <a:off x="4743153" y="4540746"/>
              <a:ext cx="4314790" cy="734935"/>
            </a:xfrm>
            <a:prstGeom prst="rect">
              <a:avLst/>
            </a:prstGeom>
            <a:ln>
              <a:noFill/>
            </a:ln>
          </p:spPr>
          <p:txBody>
            <a:bodyPr vert="horz" lIns="0" tIns="0" rIns="0" bIns="0" rtlCol="0">
              <a:noAutofit/>
            </a:bodyPr>
            <a:lstStyle>
              <a:lvl1pPr marL="0" indent="0" algn="l" defTabSz="228594" rtl="0" eaLnBrk="1" latinLnBrk="0" hangingPunct="1">
                <a:lnSpc>
                  <a:spcPct val="100000"/>
                </a:lnSpc>
                <a:spcBef>
                  <a:spcPts val="0"/>
                </a:spcBef>
                <a:spcAft>
                  <a:spcPts val="1200"/>
                </a:spcAft>
                <a:buFont typeface="Arial" panose="020B0604020202020204" pitchFamily="34" charset="0"/>
                <a:buNone/>
                <a:defRPr lang="en-US" sz="1200" b="0" kern="1200" dirty="0" smtClean="0">
                  <a:solidFill>
                    <a:schemeClr val="tx1"/>
                  </a:solidFill>
                  <a:latin typeface="+mn-lt"/>
                  <a:ea typeface="+mn-ea"/>
                  <a:cs typeface="+mn-cs"/>
                </a:defRPr>
              </a:lvl1pPr>
              <a:lvl2pPr marL="228594" indent="-228594" algn="l" defTabSz="228594" rtl="0" eaLnBrk="1" latinLnBrk="0" hangingPunct="1">
                <a:lnSpc>
                  <a:spcPct val="100000"/>
                </a:lnSpc>
                <a:spcBef>
                  <a:spcPts val="0"/>
                </a:spcBef>
                <a:spcAft>
                  <a:spcPts val="1200"/>
                </a:spcAft>
                <a:buClrTx/>
                <a:buFont typeface="Arial" panose="020B0604020202020204" pitchFamily="34" charset="0"/>
                <a:buChar char="•"/>
                <a:defRPr lang="en-US" sz="1400" b="0" kern="1200" dirty="0" smtClean="0">
                  <a:solidFill>
                    <a:schemeClr val="tx1"/>
                  </a:solidFill>
                  <a:latin typeface="+mn-lt"/>
                  <a:ea typeface="+mn-ea"/>
                  <a:cs typeface="+mn-cs"/>
                </a:defRPr>
              </a:lvl2pPr>
              <a:lvl3pPr marL="457189" indent="-228594" algn="l" defTabSz="228594" rtl="0" eaLnBrk="1" latinLnBrk="0" hangingPunct="1">
                <a:lnSpc>
                  <a:spcPct val="100000"/>
                </a:lnSpc>
                <a:spcBef>
                  <a:spcPts val="0"/>
                </a:spcBef>
                <a:spcAft>
                  <a:spcPts val="1200"/>
                </a:spcAft>
                <a:buFont typeface="System Font"/>
                <a:buChar char="–"/>
                <a:defRPr sz="1200" kern="1200">
                  <a:solidFill>
                    <a:schemeClr val="tx1"/>
                  </a:solidFill>
                  <a:latin typeface="+mn-lt"/>
                  <a:ea typeface="+mn-ea"/>
                  <a:cs typeface="+mn-cs"/>
                </a:defRPr>
              </a:lvl3pPr>
              <a:lvl4pPr marL="685783" indent="-228594" algn="l" defTabSz="228594" rtl="0" eaLnBrk="1" latinLnBrk="0" hangingPunct="1">
                <a:lnSpc>
                  <a:spcPct val="100000"/>
                </a:lnSpc>
                <a:spcBef>
                  <a:spcPts val="0"/>
                </a:spcBef>
                <a:spcAft>
                  <a:spcPts val="1200"/>
                </a:spcAft>
                <a:buFont typeface="Arial" panose="020B0604020202020204" pitchFamily="34" charset="0"/>
                <a:buChar char="•"/>
                <a:defRPr sz="1100" kern="1200">
                  <a:solidFill>
                    <a:schemeClr val="tx1"/>
                  </a:solidFill>
                  <a:latin typeface="+mn-lt"/>
                  <a:ea typeface="+mn-ea"/>
                  <a:cs typeface="+mn-cs"/>
                </a:defRPr>
              </a:lvl4pPr>
              <a:lvl5pPr marL="914377" indent="-228594" algn="l" defTabSz="228594" rtl="0" eaLnBrk="1" latinLnBrk="0" hangingPunct="1">
                <a:lnSpc>
                  <a:spcPct val="100000"/>
                </a:lnSpc>
                <a:spcBef>
                  <a:spcPts val="0"/>
                </a:spcBef>
                <a:spcAft>
                  <a:spcPts val="1200"/>
                </a:spcAft>
                <a:buFont typeface="System Font"/>
                <a:buChar char="–"/>
                <a:defRPr sz="1100" kern="1200">
                  <a:solidFill>
                    <a:schemeClr val="tx1"/>
                  </a:solidFill>
                  <a:latin typeface="+mn-lt"/>
                  <a:ea typeface="+mn-ea"/>
                  <a:cs typeface="+mn-cs"/>
                </a:defRPr>
              </a:lvl5pPr>
              <a:lvl6pPr marL="11113" indent="0" algn="l" defTabSz="228594" rtl="0" eaLnBrk="1" latinLnBrk="0" hangingPunct="1">
                <a:lnSpc>
                  <a:spcPct val="90000"/>
                </a:lnSpc>
                <a:spcBef>
                  <a:spcPts val="0"/>
                </a:spcBef>
                <a:spcAft>
                  <a:spcPts val="1200"/>
                </a:spcAft>
                <a:buFont typeface="Graphik" panose="020B0503030202060203" pitchFamily="34" charset="0"/>
                <a:buNone/>
                <a:tabLst/>
                <a:defRPr sz="1200" kern="1200">
                  <a:solidFill>
                    <a:schemeClr val="tx1"/>
                  </a:solidFill>
                  <a:latin typeface="+mn-lt"/>
                  <a:ea typeface="+mn-ea"/>
                  <a:cs typeface="+mn-cs"/>
                </a:defRPr>
              </a:lvl6pPr>
              <a:lvl7pPr marL="0" indent="0" algn="l" defTabSz="22859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mn-lt"/>
                  <a:ea typeface="+mn-ea"/>
                  <a:cs typeface="+mn-cs"/>
                </a:defRPr>
              </a:lvl7pPr>
              <a:lvl8pPr marL="0" indent="0" algn="l" defTabSz="22859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mn-lt"/>
                  <a:ea typeface="+mn-ea"/>
                  <a:cs typeface="+mn-cs"/>
                </a:defRPr>
              </a:lvl8pPr>
              <a:lvl9pPr marL="0" indent="0" algn="l" defTabSz="22859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mn-lt"/>
                  <a:ea typeface="+mn-ea"/>
                  <a:cs typeface="+mn-cs"/>
                </a:defRPr>
              </a:lvl9pPr>
            </a:lstStyle>
            <a:p>
              <a:r>
                <a:rPr lang="pt-BR" noProof="1"/>
                <a:t>O Asybchronous Successive Halving Algorithm é a versão assíncrona do Successive Halving, que interrompe cedo modelos ruins e investe recursos nos melhores, acelerando a busca de hiperparâmetros.</a:t>
              </a:r>
            </a:p>
          </p:txBody>
        </p:sp>
        <p:sp>
          <p:nvSpPr>
            <p:cNvPr id="9" name="Text Placeholder 31">
              <a:extLst>
                <a:ext uri="{FF2B5EF4-FFF2-40B4-BE49-F238E27FC236}">
                  <a16:creationId xmlns:a16="http://schemas.microsoft.com/office/drawing/2014/main" id="{EEFBED39-000C-E5FE-0FD6-3F1FCD2E4ECF}"/>
                </a:ext>
              </a:extLst>
            </p:cNvPr>
            <p:cNvSpPr txBox="1">
              <a:spLocks/>
            </p:cNvSpPr>
            <p:nvPr/>
          </p:nvSpPr>
          <p:spPr>
            <a:xfrm>
              <a:off x="4743153" y="5553996"/>
              <a:ext cx="4314790" cy="734935"/>
            </a:xfrm>
            <a:prstGeom prst="rect">
              <a:avLst/>
            </a:prstGeom>
            <a:ln>
              <a:noFill/>
            </a:ln>
          </p:spPr>
          <p:txBody>
            <a:bodyPr vert="horz" lIns="0" tIns="0" rIns="0" bIns="0" rtlCol="0">
              <a:noAutofit/>
            </a:bodyPr>
            <a:lstStyle>
              <a:lvl1pPr marL="0" indent="0" algn="l" defTabSz="228594" rtl="0" eaLnBrk="1" latinLnBrk="0" hangingPunct="1">
                <a:lnSpc>
                  <a:spcPct val="100000"/>
                </a:lnSpc>
                <a:spcBef>
                  <a:spcPts val="0"/>
                </a:spcBef>
                <a:spcAft>
                  <a:spcPts val="1200"/>
                </a:spcAft>
                <a:buFont typeface="Arial" panose="020B0604020202020204" pitchFamily="34" charset="0"/>
                <a:buNone/>
                <a:defRPr lang="en-US" sz="1200" b="0" kern="1200" dirty="0" smtClean="0">
                  <a:solidFill>
                    <a:schemeClr val="tx1"/>
                  </a:solidFill>
                  <a:latin typeface="+mn-lt"/>
                  <a:ea typeface="+mn-ea"/>
                  <a:cs typeface="+mn-cs"/>
                </a:defRPr>
              </a:lvl1pPr>
              <a:lvl2pPr marL="228594" indent="-228594" algn="l" defTabSz="228594" rtl="0" eaLnBrk="1" latinLnBrk="0" hangingPunct="1">
                <a:lnSpc>
                  <a:spcPct val="100000"/>
                </a:lnSpc>
                <a:spcBef>
                  <a:spcPts val="0"/>
                </a:spcBef>
                <a:spcAft>
                  <a:spcPts val="1200"/>
                </a:spcAft>
                <a:buClrTx/>
                <a:buFont typeface="Arial" panose="020B0604020202020204" pitchFamily="34" charset="0"/>
                <a:buChar char="•"/>
                <a:defRPr lang="en-US" sz="1400" b="0" kern="1200" dirty="0" smtClean="0">
                  <a:solidFill>
                    <a:schemeClr val="tx1"/>
                  </a:solidFill>
                  <a:latin typeface="+mn-lt"/>
                  <a:ea typeface="+mn-ea"/>
                  <a:cs typeface="+mn-cs"/>
                </a:defRPr>
              </a:lvl2pPr>
              <a:lvl3pPr marL="457189" indent="-228594" algn="l" defTabSz="228594" rtl="0" eaLnBrk="1" latinLnBrk="0" hangingPunct="1">
                <a:lnSpc>
                  <a:spcPct val="100000"/>
                </a:lnSpc>
                <a:spcBef>
                  <a:spcPts val="0"/>
                </a:spcBef>
                <a:spcAft>
                  <a:spcPts val="1200"/>
                </a:spcAft>
                <a:buFont typeface="System Font"/>
                <a:buChar char="–"/>
                <a:defRPr sz="1200" kern="1200">
                  <a:solidFill>
                    <a:schemeClr val="tx1"/>
                  </a:solidFill>
                  <a:latin typeface="+mn-lt"/>
                  <a:ea typeface="+mn-ea"/>
                  <a:cs typeface="+mn-cs"/>
                </a:defRPr>
              </a:lvl3pPr>
              <a:lvl4pPr marL="685783" indent="-228594" algn="l" defTabSz="228594" rtl="0" eaLnBrk="1" latinLnBrk="0" hangingPunct="1">
                <a:lnSpc>
                  <a:spcPct val="100000"/>
                </a:lnSpc>
                <a:spcBef>
                  <a:spcPts val="0"/>
                </a:spcBef>
                <a:spcAft>
                  <a:spcPts val="1200"/>
                </a:spcAft>
                <a:buFont typeface="Arial" panose="020B0604020202020204" pitchFamily="34" charset="0"/>
                <a:buChar char="•"/>
                <a:defRPr sz="1100" kern="1200">
                  <a:solidFill>
                    <a:schemeClr val="tx1"/>
                  </a:solidFill>
                  <a:latin typeface="+mn-lt"/>
                  <a:ea typeface="+mn-ea"/>
                  <a:cs typeface="+mn-cs"/>
                </a:defRPr>
              </a:lvl4pPr>
              <a:lvl5pPr marL="914377" indent="-228594" algn="l" defTabSz="228594" rtl="0" eaLnBrk="1" latinLnBrk="0" hangingPunct="1">
                <a:lnSpc>
                  <a:spcPct val="100000"/>
                </a:lnSpc>
                <a:spcBef>
                  <a:spcPts val="0"/>
                </a:spcBef>
                <a:spcAft>
                  <a:spcPts val="1200"/>
                </a:spcAft>
                <a:buFont typeface="System Font"/>
                <a:buChar char="–"/>
                <a:defRPr sz="1100" kern="1200">
                  <a:solidFill>
                    <a:schemeClr val="tx1"/>
                  </a:solidFill>
                  <a:latin typeface="+mn-lt"/>
                  <a:ea typeface="+mn-ea"/>
                  <a:cs typeface="+mn-cs"/>
                </a:defRPr>
              </a:lvl5pPr>
              <a:lvl6pPr marL="11113" indent="0" algn="l" defTabSz="228594" rtl="0" eaLnBrk="1" latinLnBrk="0" hangingPunct="1">
                <a:lnSpc>
                  <a:spcPct val="90000"/>
                </a:lnSpc>
                <a:spcBef>
                  <a:spcPts val="0"/>
                </a:spcBef>
                <a:spcAft>
                  <a:spcPts val="1200"/>
                </a:spcAft>
                <a:buFont typeface="Graphik" panose="020B0503030202060203" pitchFamily="34" charset="0"/>
                <a:buNone/>
                <a:tabLst/>
                <a:defRPr sz="1200" kern="1200">
                  <a:solidFill>
                    <a:schemeClr val="tx1"/>
                  </a:solidFill>
                  <a:latin typeface="+mn-lt"/>
                  <a:ea typeface="+mn-ea"/>
                  <a:cs typeface="+mn-cs"/>
                </a:defRPr>
              </a:lvl6pPr>
              <a:lvl7pPr marL="0" indent="0" algn="l" defTabSz="22859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mn-lt"/>
                  <a:ea typeface="+mn-ea"/>
                  <a:cs typeface="+mn-cs"/>
                </a:defRPr>
              </a:lvl7pPr>
              <a:lvl8pPr marL="0" indent="0" algn="l" defTabSz="22859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mn-lt"/>
                  <a:ea typeface="+mn-ea"/>
                  <a:cs typeface="+mn-cs"/>
                </a:defRPr>
              </a:lvl8pPr>
              <a:lvl9pPr marL="0" indent="0" algn="l" defTabSz="22859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mn-lt"/>
                  <a:ea typeface="+mn-ea"/>
                  <a:cs typeface="+mn-cs"/>
                </a:defRPr>
              </a:lvl9pPr>
            </a:lstStyle>
            <a:p>
              <a:endParaRPr lang="pt-BR" noProof="1"/>
            </a:p>
          </p:txBody>
        </p:sp>
      </p:grpSp>
      <p:grpSp>
        <p:nvGrpSpPr>
          <p:cNvPr id="64" name="Group 63">
            <a:extLst>
              <a:ext uri="{FF2B5EF4-FFF2-40B4-BE49-F238E27FC236}">
                <a16:creationId xmlns:a16="http://schemas.microsoft.com/office/drawing/2014/main" id="{E12A94B5-A959-66B7-6EFF-71C5569667FB}"/>
              </a:ext>
            </a:extLst>
          </p:cNvPr>
          <p:cNvGrpSpPr/>
          <p:nvPr/>
        </p:nvGrpSpPr>
        <p:grpSpPr>
          <a:xfrm>
            <a:off x="9659469" y="2525284"/>
            <a:ext cx="1994217" cy="3761072"/>
            <a:chOff x="9659469" y="2525284"/>
            <a:chExt cx="1994217" cy="3761072"/>
          </a:xfrm>
        </p:grpSpPr>
        <p:sp>
          <p:nvSpPr>
            <p:cNvPr id="19" name="Text Placeholder 23">
              <a:extLst>
                <a:ext uri="{FF2B5EF4-FFF2-40B4-BE49-F238E27FC236}">
                  <a16:creationId xmlns:a16="http://schemas.microsoft.com/office/drawing/2014/main" id="{5B6C30F7-4F39-0D4D-161C-D1614E51E2B5}"/>
                </a:ext>
              </a:extLst>
            </p:cNvPr>
            <p:cNvSpPr txBox="1">
              <a:spLocks/>
            </p:cNvSpPr>
            <p:nvPr/>
          </p:nvSpPr>
          <p:spPr>
            <a:xfrm>
              <a:off x="9659469" y="2525284"/>
              <a:ext cx="1994217" cy="732360"/>
            </a:xfrm>
            <a:prstGeom prst="rect">
              <a:avLst/>
            </a:prstGeom>
            <a:ln>
              <a:noFill/>
            </a:ln>
          </p:spPr>
          <p:txBody>
            <a:bodyPr vert="horz" lIns="0" tIns="0" rIns="0" bIns="0" rtlCol="0" anchor="t">
              <a:noAutofit/>
            </a:bodyPr>
            <a:lstStyle>
              <a:lvl1pPr marL="0" indent="0" algn="l" defTabSz="228594" rtl="0" eaLnBrk="1" latinLnBrk="0" hangingPunct="1">
                <a:lnSpc>
                  <a:spcPct val="90000"/>
                </a:lnSpc>
                <a:spcBef>
                  <a:spcPts val="0"/>
                </a:spcBef>
                <a:spcAft>
                  <a:spcPts val="0"/>
                </a:spcAft>
                <a:buFont typeface="Arial" panose="020B0604020202020204" pitchFamily="34" charset="0"/>
                <a:buNone/>
                <a:defRPr sz="1600" b="0" i="0" kern="1200">
                  <a:solidFill>
                    <a:schemeClr val="bg2"/>
                  </a:solidFill>
                  <a:latin typeface="+mn-lt"/>
                  <a:ea typeface="+mn-ea"/>
                  <a:cs typeface="+mn-cs"/>
                </a:defRPr>
              </a:lvl1pPr>
              <a:lvl2pPr marL="457189" indent="0" algn="l" defTabSz="228594" rtl="0" eaLnBrk="1" latinLnBrk="0" hangingPunct="1">
                <a:lnSpc>
                  <a:spcPct val="100000"/>
                </a:lnSpc>
                <a:spcBef>
                  <a:spcPts val="0"/>
                </a:spcBef>
                <a:spcAft>
                  <a:spcPts val="1200"/>
                </a:spcAft>
                <a:buClrTx/>
                <a:buFont typeface="Arial" panose="020B0604020202020204" pitchFamily="34" charset="0"/>
                <a:buNone/>
                <a:defRPr sz="2000" b="1" kern="1200">
                  <a:solidFill>
                    <a:schemeClr val="tx1"/>
                  </a:solidFill>
                  <a:latin typeface="+mn-lt"/>
                  <a:ea typeface="+mn-ea"/>
                  <a:cs typeface="+mn-cs"/>
                </a:defRPr>
              </a:lvl2pPr>
              <a:lvl3pPr marL="914377" indent="0" algn="l" defTabSz="228594" rtl="0" eaLnBrk="1" latinLnBrk="0" hangingPunct="1">
                <a:lnSpc>
                  <a:spcPct val="100000"/>
                </a:lnSpc>
                <a:spcBef>
                  <a:spcPts val="0"/>
                </a:spcBef>
                <a:spcAft>
                  <a:spcPts val="1200"/>
                </a:spcAft>
                <a:buFont typeface="System Font"/>
                <a:buNone/>
                <a:defRPr sz="1800" b="1" kern="1200">
                  <a:solidFill>
                    <a:schemeClr val="tx1"/>
                  </a:solidFill>
                  <a:latin typeface="+mn-lt"/>
                  <a:ea typeface="+mn-ea"/>
                  <a:cs typeface="+mn-cs"/>
                </a:defRPr>
              </a:lvl3pPr>
              <a:lvl4pPr marL="1371566" indent="0" algn="l" defTabSz="228594" rtl="0" eaLnBrk="1" latinLnBrk="0" hangingPunct="1">
                <a:lnSpc>
                  <a:spcPct val="10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4pPr>
              <a:lvl5pPr marL="1828754" indent="0" algn="l" defTabSz="228594" rtl="0" eaLnBrk="1" latinLnBrk="0" hangingPunct="1">
                <a:lnSpc>
                  <a:spcPct val="100000"/>
                </a:lnSpc>
                <a:spcBef>
                  <a:spcPts val="0"/>
                </a:spcBef>
                <a:spcAft>
                  <a:spcPts val="1200"/>
                </a:spcAft>
                <a:buFont typeface="System Font"/>
                <a:buNone/>
                <a:defRPr sz="1600" b="1" kern="1200">
                  <a:solidFill>
                    <a:schemeClr val="tx1"/>
                  </a:solidFill>
                  <a:latin typeface="+mn-lt"/>
                  <a:ea typeface="+mn-ea"/>
                  <a:cs typeface="+mn-cs"/>
                </a:defRPr>
              </a:lvl5pPr>
              <a:lvl6pPr marL="2285943" indent="0" algn="l" defTabSz="228594" rtl="0" eaLnBrk="1" latinLnBrk="0" hangingPunct="1">
                <a:lnSpc>
                  <a:spcPct val="90000"/>
                </a:lnSpc>
                <a:spcBef>
                  <a:spcPts val="0"/>
                </a:spcBef>
                <a:spcAft>
                  <a:spcPts val="1200"/>
                </a:spcAft>
                <a:buFont typeface="Graphik" panose="020B0503030202060203" pitchFamily="34" charset="0"/>
                <a:buNone/>
                <a:tabLst/>
                <a:defRPr sz="1600" b="1" kern="1200">
                  <a:solidFill>
                    <a:schemeClr val="tx1"/>
                  </a:solidFill>
                  <a:latin typeface="+mn-lt"/>
                  <a:ea typeface="+mn-ea"/>
                  <a:cs typeface="+mn-cs"/>
                </a:defRPr>
              </a:lvl6pPr>
              <a:lvl7pPr marL="2743131"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7pPr>
              <a:lvl8pPr marL="3200320"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8pPr>
              <a:lvl9pPr marL="3657509"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2"/>
                  </a:solidFill>
                  <a:latin typeface="+mn-lt"/>
                  <a:ea typeface="+mn-ea"/>
                  <a:cs typeface="+mn-cs"/>
                </a:defRPr>
              </a:lvl9pPr>
            </a:lstStyle>
            <a:p>
              <a:r>
                <a:rPr lang="pt-BR" noProof="1"/>
                <a:t>Aprendizado com derivadas</a:t>
              </a:r>
            </a:p>
          </p:txBody>
        </p:sp>
        <p:sp>
          <p:nvSpPr>
            <p:cNvPr id="20" name="Text Placeholder 26">
              <a:extLst>
                <a:ext uri="{FF2B5EF4-FFF2-40B4-BE49-F238E27FC236}">
                  <a16:creationId xmlns:a16="http://schemas.microsoft.com/office/drawing/2014/main" id="{BCA05EA0-3DBA-FCCA-372B-FB0855CC30BB}"/>
                </a:ext>
              </a:extLst>
            </p:cNvPr>
            <p:cNvSpPr txBox="1">
              <a:spLocks/>
            </p:cNvSpPr>
            <p:nvPr/>
          </p:nvSpPr>
          <p:spPr>
            <a:xfrm>
              <a:off x="9659469" y="3538534"/>
              <a:ext cx="1994217" cy="732360"/>
            </a:xfrm>
            <a:prstGeom prst="rect">
              <a:avLst/>
            </a:prstGeom>
            <a:ln>
              <a:noFill/>
            </a:ln>
          </p:spPr>
          <p:txBody>
            <a:bodyPr vert="horz" lIns="0" tIns="0" rIns="0" bIns="0" rtlCol="0" anchor="t">
              <a:noAutofit/>
            </a:bodyPr>
            <a:lstStyle>
              <a:lvl1pPr marL="0" indent="0" algn="l" defTabSz="228594" rtl="0" eaLnBrk="1" latinLnBrk="0" hangingPunct="1">
                <a:lnSpc>
                  <a:spcPct val="90000"/>
                </a:lnSpc>
                <a:spcBef>
                  <a:spcPts val="0"/>
                </a:spcBef>
                <a:spcAft>
                  <a:spcPts val="0"/>
                </a:spcAft>
                <a:buFont typeface="Arial" panose="020B0604020202020204" pitchFamily="34" charset="0"/>
                <a:buNone/>
                <a:defRPr sz="1600" b="0" i="0" kern="1200">
                  <a:solidFill>
                    <a:schemeClr val="bg2"/>
                  </a:solidFill>
                  <a:latin typeface="+mn-lt"/>
                  <a:ea typeface="+mn-ea"/>
                  <a:cs typeface="+mn-cs"/>
                </a:defRPr>
              </a:lvl1pPr>
              <a:lvl2pPr marL="457189" indent="0" algn="l" defTabSz="228594" rtl="0" eaLnBrk="1" latinLnBrk="0" hangingPunct="1">
                <a:lnSpc>
                  <a:spcPct val="100000"/>
                </a:lnSpc>
                <a:spcBef>
                  <a:spcPts val="0"/>
                </a:spcBef>
                <a:spcAft>
                  <a:spcPts val="1200"/>
                </a:spcAft>
                <a:buClrTx/>
                <a:buFont typeface="Arial" panose="020B0604020202020204" pitchFamily="34" charset="0"/>
                <a:buNone/>
                <a:defRPr sz="2000" b="1" kern="1200">
                  <a:solidFill>
                    <a:schemeClr val="tx1"/>
                  </a:solidFill>
                  <a:latin typeface="+mn-lt"/>
                  <a:ea typeface="+mn-ea"/>
                  <a:cs typeface="+mn-cs"/>
                </a:defRPr>
              </a:lvl2pPr>
              <a:lvl3pPr marL="914377" indent="0" algn="l" defTabSz="228594" rtl="0" eaLnBrk="1" latinLnBrk="0" hangingPunct="1">
                <a:lnSpc>
                  <a:spcPct val="100000"/>
                </a:lnSpc>
                <a:spcBef>
                  <a:spcPts val="0"/>
                </a:spcBef>
                <a:spcAft>
                  <a:spcPts val="1200"/>
                </a:spcAft>
                <a:buFont typeface="System Font"/>
                <a:buNone/>
                <a:defRPr sz="1800" b="1" kern="1200">
                  <a:solidFill>
                    <a:schemeClr val="tx1"/>
                  </a:solidFill>
                  <a:latin typeface="+mn-lt"/>
                  <a:ea typeface="+mn-ea"/>
                  <a:cs typeface="+mn-cs"/>
                </a:defRPr>
              </a:lvl3pPr>
              <a:lvl4pPr marL="1371566" indent="0" algn="l" defTabSz="228594" rtl="0" eaLnBrk="1" latinLnBrk="0" hangingPunct="1">
                <a:lnSpc>
                  <a:spcPct val="10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4pPr>
              <a:lvl5pPr marL="1828754" indent="0" algn="l" defTabSz="228594" rtl="0" eaLnBrk="1" latinLnBrk="0" hangingPunct="1">
                <a:lnSpc>
                  <a:spcPct val="100000"/>
                </a:lnSpc>
                <a:spcBef>
                  <a:spcPts val="0"/>
                </a:spcBef>
                <a:spcAft>
                  <a:spcPts val="1200"/>
                </a:spcAft>
                <a:buFont typeface="System Font"/>
                <a:buNone/>
                <a:defRPr sz="1600" b="1" kern="1200">
                  <a:solidFill>
                    <a:schemeClr val="tx1"/>
                  </a:solidFill>
                  <a:latin typeface="+mn-lt"/>
                  <a:ea typeface="+mn-ea"/>
                  <a:cs typeface="+mn-cs"/>
                </a:defRPr>
              </a:lvl5pPr>
              <a:lvl6pPr marL="2285943" indent="0" algn="l" defTabSz="228594" rtl="0" eaLnBrk="1" latinLnBrk="0" hangingPunct="1">
                <a:lnSpc>
                  <a:spcPct val="90000"/>
                </a:lnSpc>
                <a:spcBef>
                  <a:spcPts val="0"/>
                </a:spcBef>
                <a:spcAft>
                  <a:spcPts val="1200"/>
                </a:spcAft>
                <a:buFont typeface="Graphik" panose="020B0503030202060203" pitchFamily="34" charset="0"/>
                <a:buNone/>
                <a:tabLst/>
                <a:defRPr sz="1600" b="1" kern="1200">
                  <a:solidFill>
                    <a:schemeClr val="tx1"/>
                  </a:solidFill>
                  <a:latin typeface="+mn-lt"/>
                  <a:ea typeface="+mn-ea"/>
                  <a:cs typeface="+mn-cs"/>
                </a:defRPr>
              </a:lvl6pPr>
              <a:lvl7pPr marL="2743131"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7pPr>
              <a:lvl8pPr marL="3200320"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8pPr>
              <a:lvl9pPr marL="3657509"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2"/>
                  </a:solidFill>
                  <a:latin typeface="+mn-lt"/>
                  <a:ea typeface="+mn-ea"/>
                  <a:cs typeface="+mn-cs"/>
                </a:defRPr>
              </a:lvl9pPr>
            </a:lstStyle>
            <a:p>
              <a:r>
                <a:rPr lang="pt-BR" noProof="1"/>
                <a:t>Cobertura eficiente do espaço paramétrico</a:t>
              </a:r>
            </a:p>
          </p:txBody>
        </p:sp>
        <p:sp>
          <p:nvSpPr>
            <p:cNvPr id="34" name="Text Placeholder 29">
              <a:extLst>
                <a:ext uri="{FF2B5EF4-FFF2-40B4-BE49-F238E27FC236}">
                  <a16:creationId xmlns:a16="http://schemas.microsoft.com/office/drawing/2014/main" id="{5B728483-D10B-6ADD-7526-DB87FD1C55C5}"/>
                </a:ext>
              </a:extLst>
            </p:cNvPr>
            <p:cNvSpPr txBox="1">
              <a:spLocks/>
            </p:cNvSpPr>
            <p:nvPr/>
          </p:nvSpPr>
          <p:spPr>
            <a:xfrm>
              <a:off x="9659469" y="4540746"/>
              <a:ext cx="1994217" cy="732360"/>
            </a:xfrm>
            <a:prstGeom prst="rect">
              <a:avLst/>
            </a:prstGeom>
            <a:ln>
              <a:noFill/>
            </a:ln>
          </p:spPr>
          <p:txBody>
            <a:bodyPr vert="horz" lIns="0" tIns="0" rIns="0" bIns="0" rtlCol="0" anchor="t">
              <a:noAutofit/>
            </a:bodyPr>
            <a:lstStyle>
              <a:lvl1pPr marL="0" indent="0" algn="l" defTabSz="228594" rtl="0" eaLnBrk="1" latinLnBrk="0" hangingPunct="1">
                <a:lnSpc>
                  <a:spcPct val="90000"/>
                </a:lnSpc>
                <a:spcBef>
                  <a:spcPts val="0"/>
                </a:spcBef>
                <a:spcAft>
                  <a:spcPts val="0"/>
                </a:spcAft>
                <a:buFont typeface="Arial" panose="020B0604020202020204" pitchFamily="34" charset="0"/>
                <a:buNone/>
                <a:defRPr sz="1600" b="0" i="0" kern="1200">
                  <a:solidFill>
                    <a:schemeClr val="bg2"/>
                  </a:solidFill>
                  <a:latin typeface="+mn-lt"/>
                  <a:ea typeface="+mn-ea"/>
                  <a:cs typeface="+mn-cs"/>
                </a:defRPr>
              </a:lvl1pPr>
              <a:lvl2pPr marL="457189" indent="0" algn="l" defTabSz="228594" rtl="0" eaLnBrk="1" latinLnBrk="0" hangingPunct="1">
                <a:lnSpc>
                  <a:spcPct val="100000"/>
                </a:lnSpc>
                <a:spcBef>
                  <a:spcPts val="0"/>
                </a:spcBef>
                <a:spcAft>
                  <a:spcPts val="1200"/>
                </a:spcAft>
                <a:buClrTx/>
                <a:buFont typeface="Arial" panose="020B0604020202020204" pitchFamily="34" charset="0"/>
                <a:buNone/>
                <a:defRPr sz="2000" b="1" kern="1200">
                  <a:solidFill>
                    <a:schemeClr val="tx1"/>
                  </a:solidFill>
                  <a:latin typeface="+mn-lt"/>
                  <a:ea typeface="+mn-ea"/>
                  <a:cs typeface="+mn-cs"/>
                </a:defRPr>
              </a:lvl2pPr>
              <a:lvl3pPr marL="914377" indent="0" algn="l" defTabSz="228594" rtl="0" eaLnBrk="1" latinLnBrk="0" hangingPunct="1">
                <a:lnSpc>
                  <a:spcPct val="100000"/>
                </a:lnSpc>
                <a:spcBef>
                  <a:spcPts val="0"/>
                </a:spcBef>
                <a:spcAft>
                  <a:spcPts val="1200"/>
                </a:spcAft>
                <a:buFont typeface="System Font"/>
                <a:buNone/>
                <a:defRPr sz="1800" b="1" kern="1200">
                  <a:solidFill>
                    <a:schemeClr val="tx1"/>
                  </a:solidFill>
                  <a:latin typeface="+mn-lt"/>
                  <a:ea typeface="+mn-ea"/>
                  <a:cs typeface="+mn-cs"/>
                </a:defRPr>
              </a:lvl3pPr>
              <a:lvl4pPr marL="1371566" indent="0" algn="l" defTabSz="228594" rtl="0" eaLnBrk="1" latinLnBrk="0" hangingPunct="1">
                <a:lnSpc>
                  <a:spcPct val="10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4pPr>
              <a:lvl5pPr marL="1828754" indent="0" algn="l" defTabSz="228594" rtl="0" eaLnBrk="1" latinLnBrk="0" hangingPunct="1">
                <a:lnSpc>
                  <a:spcPct val="100000"/>
                </a:lnSpc>
                <a:spcBef>
                  <a:spcPts val="0"/>
                </a:spcBef>
                <a:spcAft>
                  <a:spcPts val="1200"/>
                </a:spcAft>
                <a:buFont typeface="System Font"/>
                <a:buNone/>
                <a:defRPr sz="1600" b="1" kern="1200">
                  <a:solidFill>
                    <a:schemeClr val="tx1"/>
                  </a:solidFill>
                  <a:latin typeface="+mn-lt"/>
                  <a:ea typeface="+mn-ea"/>
                  <a:cs typeface="+mn-cs"/>
                </a:defRPr>
              </a:lvl5pPr>
              <a:lvl6pPr marL="2285943" indent="0" algn="l" defTabSz="228594" rtl="0" eaLnBrk="1" latinLnBrk="0" hangingPunct="1">
                <a:lnSpc>
                  <a:spcPct val="90000"/>
                </a:lnSpc>
                <a:spcBef>
                  <a:spcPts val="0"/>
                </a:spcBef>
                <a:spcAft>
                  <a:spcPts val="1200"/>
                </a:spcAft>
                <a:buFont typeface="Graphik" panose="020B0503030202060203" pitchFamily="34" charset="0"/>
                <a:buNone/>
                <a:tabLst/>
                <a:defRPr sz="1600" b="1" kern="1200">
                  <a:solidFill>
                    <a:schemeClr val="tx1"/>
                  </a:solidFill>
                  <a:latin typeface="+mn-lt"/>
                  <a:ea typeface="+mn-ea"/>
                  <a:cs typeface="+mn-cs"/>
                </a:defRPr>
              </a:lvl6pPr>
              <a:lvl7pPr marL="2743131"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7pPr>
              <a:lvl8pPr marL="3200320"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8pPr>
              <a:lvl9pPr marL="3657509"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2"/>
                  </a:solidFill>
                  <a:latin typeface="+mn-lt"/>
                  <a:ea typeface="+mn-ea"/>
                  <a:cs typeface="+mn-cs"/>
                </a:defRPr>
              </a:lvl9pPr>
            </a:lstStyle>
            <a:p>
              <a:r>
                <a:rPr lang="pt-BR" noProof="1"/>
                <a:t>Busca rápida e eficiente</a:t>
              </a:r>
            </a:p>
          </p:txBody>
        </p:sp>
        <p:sp>
          <p:nvSpPr>
            <p:cNvPr id="35" name="Text Placeholder 32">
              <a:extLst>
                <a:ext uri="{FF2B5EF4-FFF2-40B4-BE49-F238E27FC236}">
                  <a16:creationId xmlns:a16="http://schemas.microsoft.com/office/drawing/2014/main" id="{22A1745A-36E8-9335-4A86-764556E5731E}"/>
                </a:ext>
              </a:extLst>
            </p:cNvPr>
            <p:cNvSpPr txBox="1">
              <a:spLocks/>
            </p:cNvSpPr>
            <p:nvPr/>
          </p:nvSpPr>
          <p:spPr>
            <a:xfrm>
              <a:off x="9659469" y="5553996"/>
              <a:ext cx="1994217" cy="732360"/>
            </a:xfrm>
            <a:prstGeom prst="rect">
              <a:avLst/>
            </a:prstGeom>
            <a:ln>
              <a:noFill/>
            </a:ln>
          </p:spPr>
          <p:txBody>
            <a:bodyPr vert="horz" lIns="0" tIns="0" rIns="0" bIns="0" rtlCol="0" anchor="t">
              <a:noAutofit/>
            </a:bodyPr>
            <a:lstStyle>
              <a:lvl1pPr marL="0" indent="0" algn="l" defTabSz="228594" rtl="0" eaLnBrk="1" latinLnBrk="0" hangingPunct="1">
                <a:lnSpc>
                  <a:spcPct val="90000"/>
                </a:lnSpc>
                <a:spcBef>
                  <a:spcPts val="0"/>
                </a:spcBef>
                <a:spcAft>
                  <a:spcPts val="0"/>
                </a:spcAft>
                <a:buFont typeface="Arial" panose="020B0604020202020204" pitchFamily="34" charset="0"/>
                <a:buNone/>
                <a:defRPr sz="1600" b="0" i="0" kern="1200">
                  <a:solidFill>
                    <a:schemeClr val="bg2"/>
                  </a:solidFill>
                  <a:latin typeface="+mn-lt"/>
                  <a:ea typeface="+mn-ea"/>
                  <a:cs typeface="+mn-cs"/>
                </a:defRPr>
              </a:lvl1pPr>
              <a:lvl2pPr marL="457189" indent="0" algn="l" defTabSz="228594" rtl="0" eaLnBrk="1" latinLnBrk="0" hangingPunct="1">
                <a:lnSpc>
                  <a:spcPct val="100000"/>
                </a:lnSpc>
                <a:spcBef>
                  <a:spcPts val="0"/>
                </a:spcBef>
                <a:spcAft>
                  <a:spcPts val="1200"/>
                </a:spcAft>
                <a:buClrTx/>
                <a:buFont typeface="Arial" panose="020B0604020202020204" pitchFamily="34" charset="0"/>
                <a:buNone/>
                <a:defRPr sz="2000" b="1" kern="1200">
                  <a:solidFill>
                    <a:schemeClr val="tx1"/>
                  </a:solidFill>
                  <a:latin typeface="+mn-lt"/>
                  <a:ea typeface="+mn-ea"/>
                  <a:cs typeface="+mn-cs"/>
                </a:defRPr>
              </a:lvl2pPr>
              <a:lvl3pPr marL="914377" indent="0" algn="l" defTabSz="228594" rtl="0" eaLnBrk="1" latinLnBrk="0" hangingPunct="1">
                <a:lnSpc>
                  <a:spcPct val="100000"/>
                </a:lnSpc>
                <a:spcBef>
                  <a:spcPts val="0"/>
                </a:spcBef>
                <a:spcAft>
                  <a:spcPts val="1200"/>
                </a:spcAft>
                <a:buFont typeface="System Font"/>
                <a:buNone/>
                <a:defRPr sz="1800" b="1" kern="1200">
                  <a:solidFill>
                    <a:schemeClr val="tx1"/>
                  </a:solidFill>
                  <a:latin typeface="+mn-lt"/>
                  <a:ea typeface="+mn-ea"/>
                  <a:cs typeface="+mn-cs"/>
                </a:defRPr>
              </a:lvl3pPr>
              <a:lvl4pPr marL="1371566" indent="0" algn="l" defTabSz="228594" rtl="0" eaLnBrk="1" latinLnBrk="0" hangingPunct="1">
                <a:lnSpc>
                  <a:spcPct val="10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4pPr>
              <a:lvl5pPr marL="1828754" indent="0" algn="l" defTabSz="228594" rtl="0" eaLnBrk="1" latinLnBrk="0" hangingPunct="1">
                <a:lnSpc>
                  <a:spcPct val="100000"/>
                </a:lnSpc>
                <a:spcBef>
                  <a:spcPts val="0"/>
                </a:spcBef>
                <a:spcAft>
                  <a:spcPts val="1200"/>
                </a:spcAft>
                <a:buFont typeface="System Font"/>
                <a:buNone/>
                <a:defRPr sz="1600" b="1" kern="1200">
                  <a:solidFill>
                    <a:schemeClr val="tx1"/>
                  </a:solidFill>
                  <a:latin typeface="+mn-lt"/>
                  <a:ea typeface="+mn-ea"/>
                  <a:cs typeface="+mn-cs"/>
                </a:defRPr>
              </a:lvl5pPr>
              <a:lvl6pPr marL="2285943" indent="0" algn="l" defTabSz="228594" rtl="0" eaLnBrk="1" latinLnBrk="0" hangingPunct="1">
                <a:lnSpc>
                  <a:spcPct val="90000"/>
                </a:lnSpc>
                <a:spcBef>
                  <a:spcPts val="0"/>
                </a:spcBef>
                <a:spcAft>
                  <a:spcPts val="1200"/>
                </a:spcAft>
                <a:buFont typeface="Graphik" panose="020B0503030202060203" pitchFamily="34" charset="0"/>
                <a:buNone/>
                <a:tabLst/>
                <a:defRPr sz="1600" b="1" kern="1200">
                  <a:solidFill>
                    <a:schemeClr val="tx1"/>
                  </a:solidFill>
                  <a:latin typeface="+mn-lt"/>
                  <a:ea typeface="+mn-ea"/>
                  <a:cs typeface="+mn-cs"/>
                </a:defRPr>
              </a:lvl6pPr>
              <a:lvl7pPr marL="2743131"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7pPr>
              <a:lvl8pPr marL="3200320"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8pPr>
              <a:lvl9pPr marL="3657509"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2"/>
                  </a:solidFill>
                  <a:latin typeface="+mn-lt"/>
                  <a:ea typeface="+mn-ea"/>
                  <a:cs typeface="+mn-cs"/>
                </a:defRPr>
              </a:lvl9pPr>
            </a:lstStyle>
            <a:p>
              <a:endParaRPr lang="pt-BR" noProof="1"/>
            </a:p>
          </p:txBody>
        </p:sp>
      </p:grpSp>
      <p:grpSp>
        <p:nvGrpSpPr>
          <p:cNvPr id="62" name="Group 61">
            <a:extLst>
              <a:ext uri="{FF2B5EF4-FFF2-40B4-BE49-F238E27FC236}">
                <a16:creationId xmlns:a16="http://schemas.microsoft.com/office/drawing/2014/main" id="{E03BE86F-9380-8B38-7533-84EC41FE084F}"/>
              </a:ext>
            </a:extLst>
          </p:cNvPr>
          <p:cNvGrpSpPr/>
          <p:nvPr/>
        </p:nvGrpSpPr>
        <p:grpSpPr>
          <a:xfrm>
            <a:off x="563410" y="2525284"/>
            <a:ext cx="3978110" cy="3761072"/>
            <a:chOff x="563410" y="2525284"/>
            <a:chExt cx="3978110" cy="3761072"/>
          </a:xfrm>
        </p:grpSpPr>
        <p:sp>
          <p:nvSpPr>
            <p:cNvPr id="49" name="Text Placeholder 20">
              <a:extLst>
                <a:ext uri="{FF2B5EF4-FFF2-40B4-BE49-F238E27FC236}">
                  <a16:creationId xmlns:a16="http://schemas.microsoft.com/office/drawing/2014/main" id="{3EACDD45-1C73-8E1E-1FF8-C96D494CBA0E}"/>
                </a:ext>
              </a:extLst>
            </p:cNvPr>
            <p:cNvSpPr txBox="1">
              <a:spLocks/>
            </p:cNvSpPr>
            <p:nvPr/>
          </p:nvSpPr>
          <p:spPr>
            <a:xfrm>
              <a:off x="563410" y="2525284"/>
              <a:ext cx="3744430" cy="732360"/>
            </a:xfrm>
            <a:prstGeom prst="rect">
              <a:avLst/>
            </a:prstGeom>
            <a:ln>
              <a:noFill/>
            </a:ln>
          </p:spPr>
          <p:txBody>
            <a:bodyPr vert="horz" lIns="0" tIns="0" rIns="0" bIns="0" rtlCol="0" anchor="t">
              <a:noAutofit/>
            </a:bodyPr>
            <a:lstStyle>
              <a:lvl1pPr marL="0" indent="0" algn="l" defTabSz="228594" rtl="0" eaLnBrk="1" latinLnBrk="0" hangingPunct="1">
                <a:lnSpc>
                  <a:spcPct val="90000"/>
                </a:lnSpc>
                <a:spcBef>
                  <a:spcPts val="0"/>
                </a:spcBef>
                <a:spcAft>
                  <a:spcPts val="0"/>
                </a:spcAft>
                <a:buFont typeface="Arial" panose="020B0604020202020204" pitchFamily="34" charset="0"/>
                <a:buNone/>
                <a:defRPr sz="1600" b="0" i="0" kern="1200">
                  <a:solidFill>
                    <a:schemeClr val="tx1"/>
                  </a:solidFill>
                  <a:latin typeface="Graphik Semibold" panose="020B0703030202060203" pitchFamily="34" charset="0"/>
                  <a:ea typeface="+mn-ea"/>
                  <a:cs typeface="+mn-cs"/>
                </a:defRPr>
              </a:lvl1pPr>
              <a:lvl2pPr marL="457189" indent="0" algn="l" defTabSz="228594" rtl="0" eaLnBrk="1" latinLnBrk="0" hangingPunct="1">
                <a:lnSpc>
                  <a:spcPct val="100000"/>
                </a:lnSpc>
                <a:spcBef>
                  <a:spcPts val="0"/>
                </a:spcBef>
                <a:spcAft>
                  <a:spcPts val="1200"/>
                </a:spcAft>
                <a:buClrTx/>
                <a:buFont typeface="Arial" panose="020B0604020202020204" pitchFamily="34" charset="0"/>
                <a:buNone/>
                <a:defRPr sz="2000" b="1" kern="1200">
                  <a:solidFill>
                    <a:schemeClr val="tx1"/>
                  </a:solidFill>
                  <a:latin typeface="+mn-lt"/>
                  <a:ea typeface="+mn-ea"/>
                  <a:cs typeface="+mn-cs"/>
                </a:defRPr>
              </a:lvl2pPr>
              <a:lvl3pPr marL="914377" indent="0" algn="l" defTabSz="228594" rtl="0" eaLnBrk="1" latinLnBrk="0" hangingPunct="1">
                <a:lnSpc>
                  <a:spcPct val="100000"/>
                </a:lnSpc>
                <a:spcBef>
                  <a:spcPts val="0"/>
                </a:spcBef>
                <a:spcAft>
                  <a:spcPts val="1200"/>
                </a:spcAft>
                <a:buFont typeface="System Font"/>
                <a:buNone/>
                <a:defRPr sz="1800" b="1" kern="1200">
                  <a:solidFill>
                    <a:schemeClr val="tx1"/>
                  </a:solidFill>
                  <a:latin typeface="+mn-lt"/>
                  <a:ea typeface="+mn-ea"/>
                  <a:cs typeface="+mn-cs"/>
                </a:defRPr>
              </a:lvl3pPr>
              <a:lvl4pPr marL="1371566" indent="0" algn="l" defTabSz="228594" rtl="0" eaLnBrk="1" latinLnBrk="0" hangingPunct="1">
                <a:lnSpc>
                  <a:spcPct val="10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4pPr>
              <a:lvl5pPr marL="1828754" indent="0" algn="l" defTabSz="228594" rtl="0" eaLnBrk="1" latinLnBrk="0" hangingPunct="1">
                <a:lnSpc>
                  <a:spcPct val="100000"/>
                </a:lnSpc>
                <a:spcBef>
                  <a:spcPts val="0"/>
                </a:spcBef>
                <a:spcAft>
                  <a:spcPts val="1200"/>
                </a:spcAft>
                <a:buFont typeface="System Font"/>
                <a:buNone/>
                <a:defRPr sz="1600" b="1" kern="1200">
                  <a:solidFill>
                    <a:schemeClr val="tx1"/>
                  </a:solidFill>
                  <a:latin typeface="+mn-lt"/>
                  <a:ea typeface="+mn-ea"/>
                  <a:cs typeface="+mn-cs"/>
                </a:defRPr>
              </a:lvl5pPr>
              <a:lvl6pPr marL="2285943" indent="0" algn="l" defTabSz="228594" rtl="0" eaLnBrk="1" latinLnBrk="0" hangingPunct="1">
                <a:lnSpc>
                  <a:spcPct val="90000"/>
                </a:lnSpc>
                <a:spcBef>
                  <a:spcPts val="0"/>
                </a:spcBef>
                <a:spcAft>
                  <a:spcPts val="1200"/>
                </a:spcAft>
                <a:buFont typeface="Graphik" panose="020B0503030202060203" pitchFamily="34" charset="0"/>
                <a:buNone/>
                <a:tabLst/>
                <a:defRPr sz="1600" b="1" kern="1200">
                  <a:solidFill>
                    <a:schemeClr val="tx1"/>
                  </a:solidFill>
                  <a:latin typeface="+mn-lt"/>
                  <a:ea typeface="+mn-ea"/>
                  <a:cs typeface="+mn-cs"/>
                </a:defRPr>
              </a:lvl6pPr>
              <a:lvl7pPr marL="2743131"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7pPr>
              <a:lvl8pPr marL="3200320"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8pPr>
              <a:lvl9pPr marL="3657509"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2"/>
                  </a:solidFill>
                  <a:latin typeface="+mn-lt"/>
                  <a:ea typeface="+mn-ea"/>
                  <a:cs typeface="+mn-cs"/>
                </a:defRPr>
              </a:lvl9pPr>
            </a:lstStyle>
            <a:p>
              <a:r>
                <a:rPr lang="pt-BR" noProof="1"/>
                <a:t>Sobolev Training (2017)</a:t>
              </a:r>
            </a:p>
            <a:p>
              <a:r>
                <a:rPr lang="pt-BR" sz="1100" noProof="1">
                  <a:latin typeface="Graphik" panose="020B0503030202060203" pitchFamily="34" charset="0"/>
                </a:rPr>
                <a:t>Autor: Dmitry E., Alexander G., Alexander I., Dmitry V.</a:t>
              </a:r>
            </a:p>
            <a:p>
              <a:r>
                <a:rPr lang="pt-BR" sz="1100" noProof="1">
                  <a:latin typeface="Graphik" panose="020B0503030202060203" pitchFamily="34" charset="0"/>
                </a:rPr>
                <a:t>Artigo: “Sobolev Training for Neural Networks”</a:t>
              </a:r>
            </a:p>
          </p:txBody>
        </p:sp>
        <p:sp>
          <p:nvSpPr>
            <p:cNvPr id="50" name="Text Placeholder 24">
              <a:extLst>
                <a:ext uri="{FF2B5EF4-FFF2-40B4-BE49-F238E27FC236}">
                  <a16:creationId xmlns:a16="http://schemas.microsoft.com/office/drawing/2014/main" id="{0CA31D5E-0B0C-B4B6-E126-8EA015B84862}"/>
                </a:ext>
              </a:extLst>
            </p:cNvPr>
            <p:cNvSpPr txBox="1">
              <a:spLocks/>
            </p:cNvSpPr>
            <p:nvPr/>
          </p:nvSpPr>
          <p:spPr>
            <a:xfrm>
              <a:off x="563410" y="3538534"/>
              <a:ext cx="3744430" cy="732360"/>
            </a:xfrm>
            <a:prstGeom prst="rect">
              <a:avLst/>
            </a:prstGeom>
            <a:ln>
              <a:noFill/>
            </a:ln>
          </p:spPr>
          <p:txBody>
            <a:bodyPr vert="horz" lIns="0" tIns="0" rIns="0" bIns="0" rtlCol="0" anchor="t">
              <a:noAutofit/>
            </a:bodyPr>
            <a:lstStyle>
              <a:lvl1pPr marL="0" indent="0" algn="l" defTabSz="228594" rtl="0" eaLnBrk="1" latinLnBrk="0" hangingPunct="1">
                <a:lnSpc>
                  <a:spcPct val="90000"/>
                </a:lnSpc>
                <a:spcBef>
                  <a:spcPts val="0"/>
                </a:spcBef>
                <a:spcAft>
                  <a:spcPts val="0"/>
                </a:spcAft>
                <a:buFont typeface="Arial" panose="020B0604020202020204" pitchFamily="34" charset="0"/>
                <a:buNone/>
                <a:defRPr sz="1600" b="0" i="0" kern="1200">
                  <a:solidFill>
                    <a:schemeClr val="tx1"/>
                  </a:solidFill>
                  <a:latin typeface="Graphik Semibold" panose="020B0703030202060203" pitchFamily="34" charset="0"/>
                  <a:ea typeface="+mn-ea"/>
                  <a:cs typeface="+mn-cs"/>
                </a:defRPr>
              </a:lvl1pPr>
              <a:lvl2pPr marL="457189" indent="0" algn="l" defTabSz="228594" rtl="0" eaLnBrk="1" latinLnBrk="0" hangingPunct="1">
                <a:lnSpc>
                  <a:spcPct val="100000"/>
                </a:lnSpc>
                <a:spcBef>
                  <a:spcPts val="0"/>
                </a:spcBef>
                <a:spcAft>
                  <a:spcPts val="1200"/>
                </a:spcAft>
                <a:buClrTx/>
                <a:buFont typeface="Arial" panose="020B0604020202020204" pitchFamily="34" charset="0"/>
                <a:buNone/>
                <a:defRPr sz="2000" b="1" kern="1200">
                  <a:solidFill>
                    <a:schemeClr val="tx1"/>
                  </a:solidFill>
                  <a:latin typeface="+mn-lt"/>
                  <a:ea typeface="+mn-ea"/>
                  <a:cs typeface="+mn-cs"/>
                </a:defRPr>
              </a:lvl2pPr>
              <a:lvl3pPr marL="914377" indent="0" algn="l" defTabSz="228594" rtl="0" eaLnBrk="1" latinLnBrk="0" hangingPunct="1">
                <a:lnSpc>
                  <a:spcPct val="100000"/>
                </a:lnSpc>
                <a:spcBef>
                  <a:spcPts val="0"/>
                </a:spcBef>
                <a:spcAft>
                  <a:spcPts val="1200"/>
                </a:spcAft>
                <a:buFont typeface="System Font"/>
                <a:buNone/>
                <a:defRPr sz="1800" b="1" kern="1200">
                  <a:solidFill>
                    <a:schemeClr val="tx1"/>
                  </a:solidFill>
                  <a:latin typeface="+mn-lt"/>
                  <a:ea typeface="+mn-ea"/>
                  <a:cs typeface="+mn-cs"/>
                </a:defRPr>
              </a:lvl3pPr>
              <a:lvl4pPr marL="1371566" indent="0" algn="l" defTabSz="228594" rtl="0" eaLnBrk="1" latinLnBrk="0" hangingPunct="1">
                <a:lnSpc>
                  <a:spcPct val="10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4pPr>
              <a:lvl5pPr marL="1828754" indent="0" algn="l" defTabSz="228594" rtl="0" eaLnBrk="1" latinLnBrk="0" hangingPunct="1">
                <a:lnSpc>
                  <a:spcPct val="100000"/>
                </a:lnSpc>
                <a:spcBef>
                  <a:spcPts val="0"/>
                </a:spcBef>
                <a:spcAft>
                  <a:spcPts val="1200"/>
                </a:spcAft>
                <a:buFont typeface="System Font"/>
                <a:buNone/>
                <a:defRPr sz="1600" b="1" kern="1200">
                  <a:solidFill>
                    <a:schemeClr val="tx1"/>
                  </a:solidFill>
                  <a:latin typeface="+mn-lt"/>
                  <a:ea typeface="+mn-ea"/>
                  <a:cs typeface="+mn-cs"/>
                </a:defRPr>
              </a:lvl5pPr>
              <a:lvl6pPr marL="2285943" indent="0" algn="l" defTabSz="228594" rtl="0" eaLnBrk="1" latinLnBrk="0" hangingPunct="1">
                <a:lnSpc>
                  <a:spcPct val="90000"/>
                </a:lnSpc>
                <a:spcBef>
                  <a:spcPts val="0"/>
                </a:spcBef>
                <a:spcAft>
                  <a:spcPts val="1200"/>
                </a:spcAft>
                <a:buFont typeface="Graphik" panose="020B0503030202060203" pitchFamily="34" charset="0"/>
                <a:buNone/>
                <a:tabLst/>
                <a:defRPr sz="1600" b="1" kern="1200">
                  <a:solidFill>
                    <a:schemeClr val="tx1"/>
                  </a:solidFill>
                  <a:latin typeface="+mn-lt"/>
                  <a:ea typeface="+mn-ea"/>
                  <a:cs typeface="+mn-cs"/>
                </a:defRPr>
              </a:lvl6pPr>
              <a:lvl7pPr marL="2743131"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7pPr>
              <a:lvl8pPr marL="3200320"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8pPr>
              <a:lvl9pPr marL="3657509"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2"/>
                  </a:solidFill>
                  <a:latin typeface="+mn-lt"/>
                  <a:ea typeface="+mn-ea"/>
                  <a:cs typeface="+mn-cs"/>
                </a:defRPr>
              </a:lvl9pPr>
            </a:lstStyle>
            <a:p>
              <a:r>
                <a:rPr lang="pt-BR" noProof="1"/>
                <a:t>Latin Hypercube Sampling (1979)</a:t>
              </a:r>
            </a:p>
            <a:p>
              <a:r>
                <a:rPr lang="pt-BR" sz="1100" noProof="1">
                  <a:latin typeface="Graphik" panose="020B0503030202060203" pitchFamily="34" charset="0"/>
                </a:rPr>
                <a:t>Autores: Michael McKay, R.J. Beckman, William Conover</a:t>
              </a:r>
            </a:p>
            <a:p>
              <a:r>
                <a:rPr lang="pt-BR" sz="1100" noProof="1">
                  <a:latin typeface="Graphik" panose="020B0503030202060203" pitchFamily="34" charset="0"/>
                </a:rPr>
                <a:t>Artigo: “A Comparison of Three Methods for Selecting Values of Input Variables in the Analysis of Output from a Computer Code”</a:t>
              </a:r>
            </a:p>
          </p:txBody>
        </p:sp>
        <p:sp>
          <p:nvSpPr>
            <p:cNvPr id="51" name="Text Placeholder 27">
              <a:extLst>
                <a:ext uri="{FF2B5EF4-FFF2-40B4-BE49-F238E27FC236}">
                  <a16:creationId xmlns:a16="http://schemas.microsoft.com/office/drawing/2014/main" id="{D8C95FAC-5781-DBD4-5FFB-1CEB7381BE06}"/>
                </a:ext>
              </a:extLst>
            </p:cNvPr>
            <p:cNvSpPr txBox="1">
              <a:spLocks/>
            </p:cNvSpPr>
            <p:nvPr/>
          </p:nvSpPr>
          <p:spPr>
            <a:xfrm>
              <a:off x="563410" y="4540746"/>
              <a:ext cx="3744430" cy="732360"/>
            </a:xfrm>
            <a:prstGeom prst="rect">
              <a:avLst/>
            </a:prstGeom>
            <a:ln>
              <a:noFill/>
            </a:ln>
          </p:spPr>
          <p:txBody>
            <a:bodyPr vert="horz" lIns="0" tIns="0" rIns="0" bIns="0" rtlCol="0" anchor="t">
              <a:noAutofit/>
            </a:bodyPr>
            <a:lstStyle>
              <a:lvl1pPr marL="0" indent="0" algn="l" defTabSz="228594" rtl="0" eaLnBrk="1" latinLnBrk="0" hangingPunct="1">
                <a:lnSpc>
                  <a:spcPct val="90000"/>
                </a:lnSpc>
                <a:spcBef>
                  <a:spcPts val="0"/>
                </a:spcBef>
                <a:spcAft>
                  <a:spcPts val="0"/>
                </a:spcAft>
                <a:buFont typeface="Arial" panose="020B0604020202020204" pitchFamily="34" charset="0"/>
                <a:buNone/>
                <a:defRPr sz="1600" b="0" i="0" kern="1200">
                  <a:solidFill>
                    <a:schemeClr val="tx1"/>
                  </a:solidFill>
                  <a:latin typeface="Graphik Semibold" panose="020B0703030202060203" pitchFamily="34" charset="0"/>
                  <a:ea typeface="+mn-ea"/>
                  <a:cs typeface="+mn-cs"/>
                </a:defRPr>
              </a:lvl1pPr>
              <a:lvl2pPr marL="457189" indent="0" algn="l" defTabSz="228594" rtl="0" eaLnBrk="1" latinLnBrk="0" hangingPunct="1">
                <a:lnSpc>
                  <a:spcPct val="100000"/>
                </a:lnSpc>
                <a:spcBef>
                  <a:spcPts val="0"/>
                </a:spcBef>
                <a:spcAft>
                  <a:spcPts val="1200"/>
                </a:spcAft>
                <a:buClrTx/>
                <a:buFont typeface="Arial" panose="020B0604020202020204" pitchFamily="34" charset="0"/>
                <a:buNone/>
                <a:defRPr sz="2000" b="1" kern="1200">
                  <a:solidFill>
                    <a:schemeClr val="tx1"/>
                  </a:solidFill>
                  <a:latin typeface="+mn-lt"/>
                  <a:ea typeface="+mn-ea"/>
                  <a:cs typeface="+mn-cs"/>
                </a:defRPr>
              </a:lvl2pPr>
              <a:lvl3pPr marL="914377" indent="0" algn="l" defTabSz="228594" rtl="0" eaLnBrk="1" latinLnBrk="0" hangingPunct="1">
                <a:lnSpc>
                  <a:spcPct val="100000"/>
                </a:lnSpc>
                <a:spcBef>
                  <a:spcPts val="0"/>
                </a:spcBef>
                <a:spcAft>
                  <a:spcPts val="1200"/>
                </a:spcAft>
                <a:buFont typeface="System Font"/>
                <a:buNone/>
                <a:defRPr sz="1800" b="1" kern="1200">
                  <a:solidFill>
                    <a:schemeClr val="tx1"/>
                  </a:solidFill>
                  <a:latin typeface="+mn-lt"/>
                  <a:ea typeface="+mn-ea"/>
                  <a:cs typeface="+mn-cs"/>
                </a:defRPr>
              </a:lvl3pPr>
              <a:lvl4pPr marL="1371566" indent="0" algn="l" defTabSz="228594" rtl="0" eaLnBrk="1" latinLnBrk="0" hangingPunct="1">
                <a:lnSpc>
                  <a:spcPct val="10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4pPr>
              <a:lvl5pPr marL="1828754" indent="0" algn="l" defTabSz="228594" rtl="0" eaLnBrk="1" latinLnBrk="0" hangingPunct="1">
                <a:lnSpc>
                  <a:spcPct val="100000"/>
                </a:lnSpc>
                <a:spcBef>
                  <a:spcPts val="0"/>
                </a:spcBef>
                <a:spcAft>
                  <a:spcPts val="1200"/>
                </a:spcAft>
                <a:buFont typeface="System Font"/>
                <a:buNone/>
                <a:defRPr sz="1600" b="1" kern="1200">
                  <a:solidFill>
                    <a:schemeClr val="tx1"/>
                  </a:solidFill>
                  <a:latin typeface="+mn-lt"/>
                  <a:ea typeface="+mn-ea"/>
                  <a:cs typeface="+mn-cs"/>
                </a:defRPr>
              </a:lvl5pPr>
              <a:lvl6pPr marL="2285943" indent="0" algn="l" defTabSz="228594" rtl="0" eaLnBrk="1" latinLnBrk="0" hangingPunct="1">
                <a:lnSpc>
                  <a:spcPct val="90000"/>
                </a:lnSpc>
                <a:spcBef>
                  <a:spcPts val="0"/>
                </a:spcBef>
                <a:spcAft>
                  <a:spcPts val="1200"/>
                </a:spcAft>
                <a:buFont typeface="Graphik" panose="020B0503030202060203" pitchFamily="34" charset="0"/>
                <a:buNone/>
                <a:tabLst/>
                <a:defRPr sz="1600" b="1" kern="1200">
                  <a:solidFill>
                    <a:schemeClr val="tx1"/>
                  </a:solidFill>
                  <a:latin typeface="+mn-lt"/>
                  <a:ea typeface="+mn-ea"/>
                  <a:cs typeface="+mn-cs"/>
                </a:defRPr>
              </a:lvl6pPr>
              <a:lvl7pPr marL="2743131"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7pPr>
              <a:lvl8pPr marL="3200320"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8pPr>
              <a:lvl9pPr marL="3657509"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2"/>
                  </a:solidFill>
                  <a:latin typeface="+mn-lt"/>
                  <a:ea typeface="+mn-ea"/>
                  <a:cs typeface="+mn-cs"/>
                </a:defRPr>
              </a:lvl9pPr>
            </a:lstStyle>
            <a:p>
              <a:r>
                <a:rPr lang="pt-BR" noProof="1"/>
                <a:t>ASHA (2017)</a:t>
              </a:r>
            </a:p>
            <a:p>
              <a:r>
                <a:rPr lang="pt-BR" sz="1100" noProof="1">
                  <a:latin typeface="Graphik" panose="020B0503030202060203" pitchFamily="34" charset="0"/>
                </a:rPr>
                <a:t>Autores: Liam Li, Kevin Jamieson, E. Gonina</a:t>
              </a:r>
            </a:p>
            <a:p>
              <a:r>
                <a:rPr lang="pt-BR" sz="1100" noProof="1">
                  <a:latin typeface="Graphik" panose="020B0503030202060203" pitchFamily="34" charset="0"/>
                </a:rPr>
                <a:t>Artigo: “A Massively Parallel Asynchronous Hyperparameter Optimization Algorithm”</a:t>
              </a:r>
            </a:p>
            <a:p>
              <a:endParaRPr lang="pt-BR" noProof="1"/>
            </a:p>
          </p:txBody>
        </p:sp>
        <p:sp>
          <p:nvSpPr>
            <p:cNvPr id="52" name="Text Placeholder 30">
              <a:extLst>
                <a:ext uri="{FF2B5EF4-FFF2-40B4-BE49-F238E27FC236}">
                  <a16:creationId xmlns:a16="http://schemas.microsoft.com/office/drawing/2014/main" id="{E7B44B1F-8A91-1991-BC72-C414B9264859}"/>
                </a:ext>
              </a:extLst>
            </p:cNvPr>
            <p:cNvSpPr txBox="1">
              <a:spLocks/>
            </p:cNvSpPr>
            <p:nvPr/>
          </p:nvSpPr>
          <p:spPr>
            <a:xfrm>
              <a:off x="563410" y="5553996"/>
              <a:ext cx="3978110" cy="732360"/>
            </a:xfrm>
            <a:prstGeom prst="rect">
              <a:avLst/>
            </a:prstGeom>
            <a:ln>
              <a:noFill/>
            </a:ln>
          </p:spPr>
          <p:txBody>
            <a:bodyPr vert="horz" lIns="0" tIns="0" rIns="0" bIns="0" rtlCol="0" anchor="t">
              <a:noAutofit/>
            </a:bodyPr>
            <a:lstStyle>
              <a:lvl1pPr marL="0" indent="0" algn="l" defTabSz="228594" rtl="0" eaLnBrk="1" latinLnBrk="0" hangingPunct="1">
                <a:lnSpc>
                  <a:spcPct val="90000"/>
                </a:lnSpc>
                <a:spcBef>
                  <a:spcPts val="0"/>
                </a:spcBef>
                <a:spcAft>
                  <a:spcPts val="0"/>
                </a:spcAft>
                <a:buFont typeface="Arial" panose="020B0604020202020204" pitchFamily="34" charset="0"/>
                <a:buNone/>
                <a:defRPr sz="1600" b="0" i="0" kern="1200">
                  <a:solidFill>
                    <a:schemeClr val="tx1"/>
                  </a:solidFill>
                  <a:latin typeface="Graphik Semibold" panose="020B0703030202060203" pitchFamily="34" charset="0"/>
                  <a:ea typeface="+mn-ea"/>
                  <a:cs typeface="+mn-cs"/>
                </a:defRPr>
              </a:lvl1pPr>
              <a:lvl2pPr marL="457189" indent="0" algn="l" defTabSz="228594" rtl="0" eaLnBrk="1" latinLnBrk="0" hangingPunct="1">
                <a:lnSpc>
                  <a:spcPct val="100000"/>
                </a:lnSpc>
                <a:spcBef>
                  <a:spcPts val="0"/>
                </a:spcBef>
                <a:spcAft>
                  <a:spcPts val="1200"/>
                </a:spcAft>
                <a:buClrTx/>
                <a:buFont typeface="Arial" panose="020B0604020202020204" pitchFamily="34" charset="0"/>
                <a:buNone/>
                <a:defRPr sz="2000" b="1" kern="1200">
                  <a:solidFill>
                    <a:schemeClr val="tx1"/>
                  </a:solidFill>
                  <a:latin typeface="+mn-lt"/>
                  <a:ea typeface="+mn-ea"/>
                  <a:cs typeface="+mn-cs"/>
                </a:defRPr>
              </a:lvl2pPr>
              <a:lvl3pPr marL="914377" indent="0" algn="l" defTabSz="228594" rtl="0" eaLnBrk="1" latinLnBrk="0" hangingPunct="1">
                <a:lnSpc>
                  <a:spcPct val="100000"/>
                </a:lnSpc>
                <a:spcBef>
                  <a:spcPts val="0"/>
                </a:spcBef>
                <a:spcAft>
                  <a:spcPts val="1200"/>
                </a:spcAft>
                <a:buFont typeface="System Font"/>
                <a:buNone/>
                <a:defRPr sz="1800" b="1" kern="1200">
                  <a:solidFill>
                    <a:schemeClr val="tx1"/>
                  </a:solidFill>
                  <a:latin typeface="+mn-lt"/>
                  <a:ea typeface="+mn-ea"/>
                  <a:cs typeface="+mn-cs"/>
                </a:defRPr>
              </a:lvl3pPr>
              <a:lvl4pPr marL="1371566" indent="0" algn="l" defTabSz="228594" rtl="0" eaLnBrk="1" latinLnBrk="0" hangingPunct="1">
                <a:lnSpc>
                  <a:spcPct val="10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4pPr>
              <a:lvl5pPr marL="1828754" indent="0" algn="l" defTabSz="228594" rtl="0" eaLnBrk="1" latinLnBrk="0" hangingPunct="1">
                <a:lnSpc>
                  <a:spcPct val="100000"/>
                </a:lnSpc>
                <a:spcBef>
                  <a:spcPts val="0"/>
                </a:spcBef>
                <a:spcAft>
                  <a:spcPts val="1200"/>
                </a:spcAft>
                <a:buFont typeface="System Font"/>
                <a:buNone/>
                <a:defRPr sz="1600" b="1" kern="1200">
                  <a:solidFill>
                    <a:schemeClr val="tx1"/>
                  </a:solidFill>
                  <a:latin typeface="+mn-lt"/>
                  <a:ea typeface="+mn-ea"/>
                  <a:cs typeface="+mn-cs"/>
                </a:defRPr>
              </a:lvl5pPr>
              <a:lvl6pPr marL="2285943" indent="0" algn="l" defTabSz="228594" rtl="0" eaLnBrk="1" latinLnBrk="0" hangingPunct="1">
                <a:lnSpc>
                  <a:spcPct val="90000"/>
                </a:lnSpc>
                <a:spcBef>
                  <a:spcPts val="0"/>
                </a:spcBef>
                <a:spcAft>
                  <a:spcPts val="1200"/>
                </a:spcAft>
                <a:buFont typeface="Graphik" panose="020B0503030202060203" pitchFamily="34" charset="0"/>
                <a:buNone/>
                <a:tabLst/>
                <a:defRPr sz="1600" b="1" kern="1200">
                  <a:solidFill>
                    <a:schemeClr val="tx1"/>
                  </a:solidFill>
                  <a:latin typeface="+mn-lt"/>
                  <a:ea typeface="+mn-ea"/>
                  <a:cs typeface="+mn-cs"/>
                </a:defRPr>
              </a:lvl6pPr>
              <a:lvl7pPr marL="2743131"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7pPr>
              <a:lvl8pPr marL="3200320"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8pPr>
              <a:lvl9pPr marL="3657509"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2"/>
                  </a:solidFill>
                  <a:latin typeface="+mn-lt"/>
                  <a:ea typeface="+mn-ea"/>
                  <a:cs typeface="+mn-cs"/>
                </a:defRPr>
              </a:lvl9pPr>
            </a:lstStyle>
            <a:p>
              <a:endParaRPr lang="pt-BR" noProof="1"/>
            </a:p>
          </p:txBody>
        </p:sp>
      </p:grpSp>
    </p:spTree>
    <p:extLst>
      <p:ext uri="{BB962C8B-B14F-4D97-AF65-F5344CB8AC3E}">
        <p14:creationId xmlns:p14="http://schemas.microsoft.com/office/powerpoint/2010/main" val="406441952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44E1C2-486C-3712-DFC3-3790E5725865}"/>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2C6C45D-11FE-4B0C-C38C-73063A720A3C}"/>
              </a:ext>
            </a:extLst>
          </p:cNvPr>
          <p:cNvGraphicFramePr>
            <a:graphicFrameLocks noChangeAspect="1"/>
          </p:cNvGraphicFramePr>
          <p:nvPr>
            <p:custDataLst>
              <p:tags r:id="rId1"/>
            </p:custDataLst>
            <p:extLst>
              <p:ext uri="{D42A27DB-BD31-4B8C-83A1-F6EECF244321}">
                <p14:modId xmlns:p14="http://schemas.microsoft.com/office/powerpoint/2010/main" val="3275119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2" name="think-cell data - do not delete" hidden="1">
                        <a:extLst>
                          <a:ext uri="{FF2B5EF4-FFF2-40B4-BE49-F238E27FC236}">
                            <a16:creationId xmlns:a16="http://schemas.microsoft.com/office/drawing/2014/main" id="{F2C6C45D-11FE-4B0C-C38C-73063A720A3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E88FEF35-3A0B-299B-7A46-98877F667830}"/>
              </a:ext>
            </a:extLst>
          </p:cNvPr>
          <p:cNvSpPr>
            <a:spLocks noGrp="1"/>
          </p:cNvSpPr>
          <p:nvPr>
            <p:ph type="title"/>
          </p:nvPr>
        </p:nvSpPr>
        <p:spPr>
          <a:xfrm>
            <a:off x="574352" y="4020089"/>
            <a:ext cx="4205323" cy="787908"/>
          </a:xfrm>
        </p:spPr>
        <p:txBody>
          <a:bodyPr vert="horz"/>
          <a:lstStyle/>
          <a:p>
            <a:r>
              <a:rPr lang="pt-BR" noProof="1"/>
              <a:t>Fundamentação Teórica</a:t>
            </a:r>
          </a:p>
        </p:txBody>
      </p:sp>
      <p:sp>
        <p:nvSpPr>
          <p:cNvPr id="3" name="Text Placeholder 2">
            <a:extLst>
              <a:ext uri="{FF2B5EF4-FFF2-40B4-BE49-F238E27FC236}">
                <a16:creationId xmlns:a16="http://schemas.microsoft.com/office/drawing/2014/main" id="{3682DEBC-96C2-02DA-1D41-03421F127F04}"/>
              </a:ext>
            </a:extLst>
          </p:cNvPr>
          <p:cNvSpPr>
            <a:spLocks noGrp="1"/>
          </p:cNvSpPr>
          <p:nvPr>
            <p:ph type="body" sz="quarter" idx="11"/>
          </p:nvPr>
        </p:nvSpPr>
        <p:spPr>
          <a:xfrm>
            <a:off x="574352" y="2576447"/>
            <a:ext cx="1407437" cy="1231106"/>
          </a:xfrm>
        </p:spPr>
        <p:txBody>
          <a:bodyPr/>
          <a:lstStyle/>
          <a:p>
            <a:r>
              <a:rPr lang="pt-BR" noProof="1"/>
              <a:t>03</a:t>
            </a:r>
          </a:p>
        </p:txBody>
      </p:sp>
      <p:sp>
        <p:nvSpPr>
          <p:cNvPr id="4" name="Marcador de texto 3">
            <a:extLst>
              <a:ext uri="{FF2B5EF4-FFF2-40B4-BE49-F238E27FC236}">
                <a16:creationId xmlns:a16="http://schemas.microsoft.com/office/drawing/2014/main" id="{FBDD6CD1-FFE4-139C-2670-26CB12F4BC78}"/>
              </a:ext>
            </a:extLst>
          </p:cNvPr>
          <p:cNvSpPr>
            <a:spLocks noGrp="1"/>
          </p:cNvSpPr>
          <p:nvPr>
            <p:ph type="body" sz="quarter" idx="19"/>
          </p:nvPr>
        </p:nvSpPr>
        <p:spPr>
          <a:xfrm>
            <a:off x="574352" y="5080829"/>
            <a:ext cx="4205324" cy="787909"/>
          </a:xfrm>
        </p:spPr>
        <p:txBody>
          <a:bodyPr/>
          <a:lstStyle/>
          <a:p>
            <a:r>
              <a:rPr lang="pt-BR" noProof="1"/>
              <a:t>Conceitos essenciais e bases do método</a:t>
            </a:r>
          </a:p>
        </p:txBody>
      </p:sp>
      <p:pic>
        <p:nvPicPr>
          <p:cNvPr id="13" name="Picture Placeholder 12">
            <a:extLst>
              <a:ext uri="{FF2B5EF4-FFF2-40B4-BE49-F238E27FC236}">
                <a16:creationId xmlns:a16="http://schemas.microsoft.com/office/drawing/2014/main" id="{66609220-CECD-0D3A-E540-0B562AB3DB82}"/>
              </a:ext>
              <a:ext uri="{C183D7F6-B498-43B3-948B-1728B52AA6E4}">
                <adec:decorative xmlns:adec="http://schemas.microsoft.com/office/drawing/2017/decorative" val="1"/>
              </a:ext>
            </a:extLst>
          </p:cNvPr>
          <p:cNvPicPr>
            <a:picLocks noGrp="1" noChangeAspect="1"/>
          </p:cNvPicPr>
          <p:nvPr>
            <p:ph type="pic" sz="quarter" idx="13"/>
          </p:nvPr>
        </p:nvPicPr>
        <p:blipFill>
          <a:blip r:embed="rId6" cstate="screen">
            <a:extLst>
              <a:ext uri="{28A0092B-C50C-407E-A947-70E740481C1C}">
                <a14:useLocalDpi xmlns:a14="http://schemas.microsoft.com/office/drawing/2010/main"/>
              </a:ext>
            </a:extLst>
          </a:blip>
          <a:srcRect l="40" r="40"/>
          <a:stretch/>
        </p:blipFill>
        <p:spPr>
          <a:xfrm>
            <a:off x="5362807" y="549275"/>
            <a:ext cx="6278331" cy="5759449"/>
          </a:xfrm>
        </p:spPr>
      </p:pic>
    </p:spTree>
    <p:extLst>
      <p:ext uri="{BB962C8B-B14F-4D97-AF65-F5344CB8AC3E}">
        <p14:creationId xmlns:p14="http://schemas.microsoft.com/office/powerpoint/2010/main" val="38071641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ACEA7E-A028-24F6-882F-9E7ED0230826}"/>
            </a:ext>
          </a:extLst>
        </p:cNvPr>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F476B4A-3F10-AA89-631A-BD6C7F44A506}"/>
              </a:ext>
            </a:extLst>
          </p:cNvPr>
          <p:cNvGraphicFramePr>
            <a:graphicFrameLocks noChangeAspect="1"/>
          </p:cNvGraphicFramePr>
          <p:nvPr>
            <p:custDataLst>
              <p:tags r:id="rId1"/>
            </p:custDataLst>
            <p:extLst>
              <p:ext uri="{D42A27DB-BD31-4B8C-83A1-F6EECF244321}">
                <p14:modId xmlns:p14="http://schemas.microsoft.com/office/powerpoint/2010/main" val="2647135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16" name="think-cell data - do not delete" hidden="1">
                        <a:extLst>
                          <a:ext uri="{FF2B5EF4-FFF2-40B4-BE49-F238E27FC236}">
                            <a16:creationId xmlns:a16="http://schemas.microsoft.com/office/drawing/2014/main" id="{BF476B4A-3F10-AA89-631A-BD6C7F44A5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Title 28">
            <a:extLst>
              <a:ext uri="{FF2B5EF4-FFF2-40B4-BE49-F238E27FC236}">
                <a16:creationId xmlns:a16="http://schemas.microsoft.com/office/drawing/2014/main" id="{F7FCCC1C-F189-9EF1-2740-EF07C3641E78}"/>
              </a:ext>
            </a:extLst>
          </p:cNvPr>
          <p:cNvSpPr>
            <a:spLocks noGrp="1"/>
          </p:cNvSpPr>
          <p:nvPr>
            <p:ph type="title"/>
          </p:nvPr>
        </p:nvSpPr>
        <p:spPr>
          <a:xfrm>
            <a:off x="556467" y="572600"/>
            <a:ext cx="11109212" cy="393954"/>
          </a:xfrm>
        </p:spPr>
        <p:txBody>
          <a:bodyPr vert="horz"/>
          <a:lstStyle/>
          <a:p>
            <a:r>
              <a:rPr lang="pt-BR" noProof="1"/>
              <a:t>Fundamentos da Elasticidade Linear</a:t>
            </a:r>
          </a:p>
        </p:txBody>
      </p:sp>
      <p:sp>
        <p:nvSpPr>
          <p:cNvPr id="2" name="Marcador de texto 1">
            <a:extLst>
              <a:ext uri="{FF2B5EF4-FFF2-40B4-BE49-F238E27FC236}">
                <a16:creationId xmlns:a16="http://schemas.microsoft.com/office/drawing/2014/main" id="{3379691B-BBC6-A61D-BA87-87353267079A}"/>
              </a:ext>
            </a:extLst>
          </p:cNvPr>
          <p:cNvSpPr>
            <a:spLocks noGrp="1"/>
          </p:cNvSpPr>
          <p:nvPr>
            <p:ph type="body" sz="quarter" idx="26"/>
          </p:nvPr>
        </p:nvSpPr>
        <p:spPr>
          <a:xfrm>
            <a:off x="563411" y="1109663"/>
            <a:ext cx="11077727" cy="384048"/>
          </a:xfrm>
        </p:spPr>
        <p:txBody>
          <a:bodyPr/>
          <a:lstStyle/>
          <a:p>
            <a:r>
              <a:rPr lang="pt-BR" noProof="1">
                <a:solidFill>
                  <a:schemeClr val="bg2"/>
                </a:solidFill>
              </a:rPr>
              <a:t>Equações de equilíbrio, relações deformação-deslocamento e leis constitutivas que definem o problema elástico linear</a:t>
            </a:r>
          </a:p>
        </p:txBody>
      </p:sp>
      <p:sp>
        <p:nvSpPr>
          <p:cNvPr id="4" name="Marcador de texto 3">
            <a:extLst>
              <a:ext uri="{FF2B5EF4-FFF2-40B4-BE49-F238E27FC236}">
                <a16:creationId xmlns:a16="http://schemas.microsoft.com/office/drawing/2014/main" id="{FD31CEF4-BEB0-8B9F-C7B1-6D9567DDD137}"/>
              </a:ext>
            </a:extLst>
          </p:cNvPr>
          <p:cNvSpPr>
            <a:spLocks noGrp="1"/>
          </p:cNvSpPr>
          <p:nvPr>
            <p:ph type="body" idx="18"/>
          </p:nvPr>
        </p:nvSpPr>
        <p:spPr>
          <a:xfrm>
            <a:off x="561427" y="1844800"/>
            <a:ext cx="2578828" cy="457200"/>
          </a:xfrm>
        </p:spPr>
        <p:txBody>
          <a:bodyPr/>
          <a:lstStyle/>
          <a:p>
            <a:r>
              <a:rPr lang="pt-BR" noProof="1"/>
              <a:t>01</a:t>
            </a:r>
          </a:p>
        </p:txBody>
      </p:sp>
      <p:sp>
        <p:nvSpPr>
          <p:cNvPr id="8" name="Marcador de texto 7">
            <a:extLst>
              <a:ext uri="{FF2B5EF4-FFF2-40B4-BE49-F238E27FC236}">
                <a16:creationId xmlns:a16="http://schemas.microsoft.com/office/drawing/2014/main" id="{54F9880B-5060-965C-88D4-114689084CFA}"/>
              </a:ext>
            </a:extLst>
          </p:cNvPr>
          <p:cNvSpPr>
            <a:spLocks noGrp="1"/>
          </p:cNvSpPr>
          <p:nvPr>
            <p:ph type="body" idx="1"/>
          </p:nvPr>
        </p:nvSpPr>
        <p:spPr>
          <a:xfrm>
            <a:off x="561427" y="2302000"/>
            <a:ext cx="2578828" cy="822960"/>
          </a:xfrm>
        </p:spPr>
        <p:txBody>
          <a:bodyPr/>
          <a:lstStyle/>
          <a:p>
            <a:r>
              <a:rPr lang="pt-BR" noProof="1"/>
              <a:t>Equações do Balanço de Momento Linear</a:t>
            </a:r>
          </a:p>
        </p:txBody>
      </p:sp>
      <mc:AlternateContent xmlns:mc="http://schemas.openxmlformats.org/markup-compatibility/2006">
        <mc:Choice xmlns:a14="http://schemas.microsoft.com/office/drawing/2010/main" Requires="a14">
          <p:sp>
            <p:nvSpPr>
              <p:cNvPr id="7" name="Marcador de contenido 6">
                <a:extLst>
                  <a:ext uri="{FF2B5EF4-FFF2-40B4-BE49-F238E27FC236}">
                    <a16:creationId xmlns:a16="http://schemas.microsoft.com/office/drawing/2014/main" id="{95118A95-D52C-45F1-8919-30835EB23805}"/>
                  </a:ext>
                </a:extLst>
              </p:cNvPr>
              <p:cNvSpPr>
                <a:spLocks noGrp="1"/>
              </p:cNvSpPr>
              <p:nvPr>
                <p:ph sz="half" idx="28"/>
              </p:nvPr>
            </p:nvSpPr>
            <p:spPr>
              <a:xfrm>
                <a:off x="561427" y="3124961"/>
                <a:ext cx="2578828" cy="2761615"/>
              </a:xfrm>
            </p:spPr>
            <p:txBody>
              <a:bodyPr/>
              <a:lstStyle/>
              <a:p>
                <a:pPr lvl="0"/>
                <a:r>
                  <a:rPr lang="pt-BR" noProof="1"/>
                  <a:t>Expressam a 2ª Lei de Newton para um meio contínuo, relacionando tensões internas, forças externas e aceleração do campo de deslocamentos.</a:t>
                </a:r>
              </a:p>
              <a:p>
                <a:pPr lvl="0" algn="ctr"/>
                <a14:m>
                  <m:oMathPara xmlns:m="http://schemas.openxmlformats.org/officeDocument/2006/math">
                    <m:oMathParaPr>
                      <m:jc m:val="centerGroup"/>
                    </m:oMathParaPr>
                    <m:oMath xmlns:m="http://schemas.openxmlformats.org/officeDocument/2006/math">
                      <m:r>
                        <m:rPr>
                          <m:sty m:val="p"/>
                        </m:rPr>
                        <a:rPr lang="pt-BR" i="1" noProof="1" smtClean="0">
                          <a:latin typeface="Cambria Math" panose="02040503050406030204" pitchFamily="18" charset="0"/>
                          <a:ea typeface="Cambria Math" panose="02040503050406030204" pitchFamily="18" charset="0"/>
                        </a:rPr>
                        <m:t>∇</m:t>
                      </m:r>
                      <m:r>
                        <a:rPr lang="pt-BR" i="1" noProof="1" smtClean="0">
                          <a:latin typeface="Cambria Math" panose="02040503050406030204" pitchFamily="18" charset="0"/>
                          <a:ea typeface="Cambria Math" panose="02040503050406030204" pitchFamily="18" charset="0"/>
                        </a:rPr>
                        <m:t>∙</m:t>
                      </m:r>
                      <m:r>
                        <a:rPr lang="pt-BR" i="1" noProof="1" smtClean="0">
                          <a:latin typeface="Cambria Math" panose="02040503050406030204" pitchFamily="18" charset="0"/>
                          <a:ea typeface="Cambria Math" panose="02040503050406030204" pitchFamily="18" charset="0"/>
                        </a:rPr>
                        <m:t>𝜎</m:t>
                      </m:r>
                      <m:r>
                        <a:rPr lang="en-US" b="0" i="1" noProof="1" smtClean="0">
                          <a:latin typeface="Cambria Math" panose="02040503050406030204" pitchFamily="18" charset="0"/>
                          <a:ea typeface="Cambria Math" panose="02040503050406030204" pitchFamily="18" charset="0"/>
                        </a:rPr>
                        <m:t>+</m:t>
                      </m:r>
                      <m:r>
                        <a:rPr lang="en-US" b="0" i="1" noProof="1" smtClean="0">
                          <a:latin typeface="Cambria Math" panose="02040503050406030204" pitchFamily="18" charset="0"/>
                          <a:ea typeface="Cambria Math" panose="02040503050406030204" pitchFamily="18" charset="0"/>
                        </a:rPr>
                        <m:t>𝑓</m:t>
                      </m:r>
                      <m:r>
                        <a:rPr lang="en-US" b="0" i="1" noProof="1" smtClean="0">
                          <a:latin typeface="Cambria Math" panose="02040503050406030204" pitchFamily="18" charset="0"/>
                          <a:ea typeface="Cambria Math" panose="02040503050406030204" pitchFamily="18" charset="0"/>
                        </a:rPr>
                        <m:t>=</m:t>
                      </m:r>
                      <m:r>
                        <a:rPr lang="en-US" b="0" i="1" noProof="1" smtClean="0">
                          <a:latin typeface="Cambria Math" panose="02040503050406030204" pitchFamily="18" charset="0"/>
                          <a:ea typeface="Cambria Math" panose="02040503050406030204" pitchFamily="18" charset="0"/>
                        </a:rPr>
                        <m:t>𝜌</m:t>
                      </m:r>
                      <m:acc>
                        <m:accPr>
                          <m:chr m:val="̈"/>
                          <m:ctrlPr>
                            <a:rPr lang="en-US" b="0" i="1" noProof="1" smtClean="0">
                              <a:latin typeface="Cambria Math" panose="02040503050406030204" pitchFamily="18" charset="0"/>
                              <a:ea typeface="Cambria Math" panose="02040503050406030204" pitchFamily="18" charset="0"/>
                            </a:rPr>
                          </m:ctrlPr>
                        </m:accPr>
                        <m:e>
                          <m:r>
                            <a:rPr lang="en-US" b="0" i="1" noProof="1" smtClean="0">
                              <a:latin typeface="Cambria Math" panose="02040503050406030204" pitchFamily="18" charset="0"/>
                              <a:ea typeface="Cambria Math" panose="02040503050406030204" pitchFamily="18" charset="0"/>
                            </a:rPr>
                            <m:t>𝑢</m:t>
                          </m:r>
                        </m:e>
                      </m:acc>
                      <m:r>
                        <a:rPr lang="en-US" b="0" i="1" noProof="1" smtClean="0">
                          <a:latin typeface="Cambria Math" panose="02040503050406030204" pitchFamily="18" charset="0"/>
                          <a:ea typeface="Cambria Math" panose="02040503050406030204" pitchFamily="18" charset="0"/>
                        </a:rPr>
                        <m:t> (</m:t>
                      </m:r>
                      <m:r>
                        <a:rPr lang="en-US" b="0" i="1" noProof="1" smtClean="0">
                          <a:latin typeface="Cambria Math" panose="02040503050406030204" pitchFamily="18" charset="0"/>
                          <a:ea typeface="Cambria Math" panose="02040503050406030204" pitchFamily="18" charset="0"/>
                        </a:rPr>
                        <m:t>𝑓𝑜𝑟𝑚𝑎</m:t>
                      </m:r>
                      <m:r>
                        <a:rPr lang="en-US" b="0" i="1" noProof="1" smtClean="0">
                          <a:latin typeface="Cambria Math" panose="02040503050406030204" pitchFamily="18" charset="0"/>
                          <a:ea typeface="Cambria Math" panose="02040503050406030204" pitchFamily="18" charset="0"/>
                        </a:rPr>
                        <m:t> </m:t>
                      </m:r>
                      <m:r>
                        <a:rPr lang="en-US" b="0" i="1" noProof="1" smtClean="0">
                          <a:latin typeface="Cambria Math" panose="02040503050406030204" pitchFamily="18" charset="0"/>
                          <a:ea typeface="Cambria Math" panose="02040503050406030204" pitchFamily="18" charset="0"/>
                        </a:rPr>
                        <m:t>𝑔𝑒𝑟𝑎𝑙</m:t>
                      </m:r>
                      <m:r>
                        <a:rPr lang="en-US" b="0" i="1" noProof="1" smtClean="0">
                          <a:latin typeface="Cambria Math" panose="02040503050406030204" pitchFamily="18" charset="0"/>
                          <a:ea typeface="Cambria Math" panose="02040503050406030204" pitchFamily="18" charset="0"/>
                        </a:rPr>
                        <m:t>)</m:t>
                      </m:r>
                    </m:oMath>
                  </m:oMathPara>
                </a14:m>
                <a:endParaRPr lang="pt-BR" i="1" noProof="1">
                  <a:latin typeface="Cambria Math" panose="02040503050406030204" pitchFamily="18" charset="0"/>
                </a:endParaRPr>
              </a:p>
              <a:p>
                <a:pPr lvl="0" algn="ctr"/>
                <a14:m>
                  <m:oMathPara xmlns:m="http://schemas.openxmlformats.org/officeDocument/2006/math">
                    <m:oMathParaPr>
                      <m:jc m:val="centerGroup"/>
                    </m:oMathParaPr>
                    <m:oMath xmlns:m="http://schemas.openxmlformats.org/officeDocument/2006/math">
                      <m:f>
                        <m:fPr>
                          <m:ctrlPr>
                            <a:rPr lang="pt-BR" i="1" noProof="1" smtClean="0">
                              <a:latin typeface="Cambria Math" panose="02040503050406030204" pitchFamily="18" charset="0"/>
                            </a:rPr>
                          </m:ctrlPr>
                        </m:fPr>
                        <m:num>
                          <m:r>
                            <a:rPr lang="en-US" b="0" i="1" noProof="1" smtClean="0">
                              <a:latin typeface="Cambria Math" panose="02040503050406030204" pitchFamily="18" charset="0"/>
                            </a:rPr>
                            <m:t>𝑑</m:t>
                          </m:r>
                          <m:r>
                            <a:rPr lang="en-US" b="0" i="1" noProof="1" smtClean="0">
                              <a:latin typeface="Cambria Math" panose="02040503050406030204" pitchFamily="18" charset="0"/>
                              <a:ea typeface="Cambria Math" panose="02040503050406030204" pitchFamily="18" charset="0"/>
                            </a:rPr>
                            <m:t>𝜎</m:t>
                          </m:r>
                        </m:num>
                        <m:den>
                          <m:r>
                            <a:rPr lang="en-US" b="0" i="1" noProof="1" smtClean="0">
                              <a:latin typeface="Cambria Math" panose="02040503050406030204" pitchFamily="18" charset="0"/>
                            </a:rPr>
                            <m:t>𝑑𝑥</m:t>
                          </m:r>
                        </m:den>
                      </m:f>
                      <m:r>
                        <a:rPr lang="en-US" b="0" i="1" noProof="1" smtClean="0">
                          <a:latin typeface="Cambria Math" panose="02040503050406030204" pitchFamily="18" charset="0"/>
                        </a:rPr>
                        <m:t>+</m:t>
                      </m:r>
                      <m:r>
                        <a:rPr lang="en-US" b="0" i="1" noProof="1" smtClean="0">
                          <a:latin typeface="Cambria Math" panose="02040503050406030204" pitchFamily="18" charset="0"/>
                        </a:rPr>
                        <m:t>𝑓</m:t>
                      </m:r>
                      <m:d>
                        <m:dPr>
                          <m:ctrlPr>
                            <a:rPr lang="en-US" b="0" i="1" noProof="1" smtClean="0">
                              <a:latin typeface="Cambria Math" panose="02040503050406030204" pitchFamily="18" charset="0"/>
                            </a:rPr>
                          </m:ctrlPr>
                        </m:dPr>
                        <m:e>
                          <m:r>
                            <a:rPr lang="en-US" b="0" i="1" noProof="1" smtClean="0">
                              <a:latin typeface="Cambria Math" panose="02040503050406030204" pitchFamily="18" charset="0"/>
                            </a:rPr>
                            <m:t>𝑥</m:t>
                          </m:r>
                        </m:e>
                      </m:d>
                      <m:r>
                        <a:rPr lang="en-US" b="0" i="1" noProof="1" smtClean="0">
                          <a:latin typeface="Cambria Math" panose="02040503050406030204" pitchFamily="18" charset="0"/>
                        </a:rPr>
                        <m:t>=</m:t>
                      </m:r>
                      <m:r>
                        <a:rPr lang="en-US" b="0" i="1" noProof="1" smtClean="0">
                          <a:latin typeface="Cambria Math" panose="02040503050406030204" pitchFamily="18" charset="0"/>
                          <a:ea typeface="Cambria Math" panose="02040503050406030204" pitchFamily="18" charset="0"/>
                        </a:rPr>
                        <m:t>𝜌</m:t>
                      </m:r>
                      <m:acc>
                        <m:accPr>
                          <m:chr m:val="̈"/>
                          <m:ctrlPr>
                            <a:rPr lang="en-US" b="0" i="1" noProof="1" smtClean="0">
                              <a:latin typeface="Cambria Math" panose="02040503050406030204" pitchFamily="18" charset="0"/>
                              <a:ea typeface="Cambria Math" panose="02040503050406030204" pitchFamily="18" charset="0"/>
                            </a:rPr>
                          </m:ctrlPr>
                        </m:accPr>
                        <m:e>
                          <m:r>
                            <a:rPr lang="en-US" b="0" i="1" noProof="1" smtClean="0">
                              <a:latin typeface="Cambria Math" panose="02040503050406030204" pitchFamily="18" charset="0"/>
                              <a:ea typeface="Cambria Math" panose="02040503050406030204" pitchFamily="18" charset="0"/>
                            </a:rPr>
                            <m:t>𝑢</m:t>
                          </m:r>
                        </m:e>
                      </m:acc>
                      <m:r>
                        <a:rPr lang="en-US" b="0" i="1" noProof="1" smtClean="0">
                          <a:latin typeface="Cambria Math" panose="02040503050406030204" pitchFamily="18" charset="0"/>
                        </a:rPr>
                        <m:t> </m:t>
                      </m:r>
                      <m:d>
                        <m:dPr>
                          <m:ctrlPr>
                            <a:rPr lang="en-US" b="0" i="1" noProof="1" smtClean="0">
                              <a:latin typeface="Cambria Math" panose="02040503050406030204" pitchFamily="18" charset="0"/>
                            </a:rPr>
                          </m:ctrlPr>
                        </m:dPr>
                        <m:e>
                          <m:r>
                            <a:rPr lang="en-US" b="0" i="1" noProof="1" smtClean="0">
                              <a:latin typeface="Cambria Math" panose="02040503050406030204" pitchFamily="18" charset="0"/>
                            </a:rPr>
                            <m:t>𝑐𝑎𝑠𝑜</m:t>
                          </m:r>
                          <m:r>
                            <a:rPr lang="en-US" b="0" i="1" noProof="1" smtClean="0">
                              <a:latin typeface="Cambria Math" panose="02040503050406030204" pitchFamily="18" charset="0"/>
                            </a:rPr>
                            <m:t> 1</m:t>
                          </m:r>
                          <m:r>
                            <a:rPr lang="en-US" b="0" i="1" noProof="1" smtClean="0">
                              <a:latin typeface="Cambria Math" panose="02040503050406030204" pitchFamily="18" charset="0"/>
                            </a:rPr>
                            <m:t>𝐷</m:t>
                          </m:r>
                        </m:e>
                      </m:d>
                    </m:oMath>
                  </m:oMathPara>
                </a14:m>
                <a:endParaRPr lang="pt-BR" noProof="1"/>
              </a:p>
              <a:p>
                <a:r>
                  <a:rPr lang="pt-BR" noProof="1"/>
                  <a:t>Sendo:</a:t>
                </a:r>
              </a:p>
              <a:p>
                <a:pPr marL="171450" indent="-171450">
                  <a:buClr>
                    <a:srgbClr val="460073"/>
                  </a:buClr>
                  <a:buFont typeface="Arial" panose="020B0604020202020204" pitchFamily="34" charset="0"/>
                  <a:buChar char="•"/>
                </a:pPr>
                <a14:m>
                  <m:oMath xmlns:m="http://schemas.openxmlformats.org/officeDocument/2006/math">
                    <m:r>
                      <m:rPr>
                        <m:sty m:val="p"/>
                      </m:rPr>
                      <a:rPr lang="pt-BR" i="1" noProof="1" smtClean="0">
                        <a:latin typeface="Cambria Math" panose="02040503050406030204" pitchFamily="18" charset="0"/>
                        <a:ea typeface="Cambria Math" panose="02040503050406030204" pitchFamily="18" charset="0"/>
                      </a:rPr>
                      <m:t>∇</m:t>
                    </m:r>
                    <m:r>
                      <a:rPr lang="pt-BR" i="1" noProof="1" smtClean="0">
                        <a:latin typeface="Cambria Math" panose="02040503050406030204" pitchFamily="18" charset="0"/>
                        <a:ea typeface="Cambria Math" panose="02040503050406030204" pitchFamily="18" charset="0"/>
                      </a:rPr>
                      <m:t>∙</m:t>
                    </m:r>
                    <m:r>
                      <a:rPr lang="pt-BR" i="1" noProof="1" smtClean="0">
                        <a:latin typeface="Cambria Math" panose="02040503050406030204" pitchFamily="18" charset="0"/>
                        <a:ea typeface="Cambria Math" panose="02040503050406030204" pitchFamily="18" charset="0"/>
                      </a:rPr>
                      <m:t>𝜎</m:t>
                    </m:r>
                  </m:oMath>
                </a14:m>
                <a:r>
                  <a:rPr lang="pt-BR" noProof="1"/>
                  <a:t> é o divergente do tensor de tensões;</a:t>
                </a:r>
              </a:p>
              <a:p>
                <a:pPr marL="171450" indent="-171450">
                  <a:buClr>
                    <a:srgbClr val="460073"/>
                  </a:buClr>
                  <a:buFont typeface="Arial" panose="020B0604020202020204" pitchFamily="34" charset="0"/>
                  <a:buChar char="•"/>
                </a:pPr>
                <a14:m>
                  <m:oMath xmlns:m="http://schemas.openxmlformats.org/officeDocument/2006/math">
                    <m:r>
                      <a:rPr lang="en-US" b="0" i="1" noProof="1" smtClean="0">
                        <a:latin typeface="Cambria Math" panose="02040503050406030204" pitchFamily="18" charset="0"/>
                      </a:rPr>
                      <m:t>𝑓</m:t>
                    </m:r>
                  </m:oMath>
                </a14:m>
                <a:r>
                  <a:rPr lang="pt-BR" noProof="1"/>
                  <a:t> é o vetor de forças volumétricas;</a:t>
                </a:r>
              </a:p>
              <a:p>
                <a:pPr marL="171450" indent="-171450">
                  <a:buClr>
                    <a:srgbClr val="460073"/>
                  </a:buClr>
                  <a:buFont typeface="Arial" panose="020B0604020202020204" pitchFamily="34" charset="0"/>
                  <a:buChar char="•"/>
                </a:pPr>
                <a14:m>
                  <m:oMath xmlns:m="http://schemas.openxmlformats.org/officeDocument/2006/math">
                    <m:r>
                      <a:rPr lang="pt-BR" i="1" noProof="1" smtClean="0">
                        <a:latin typeface="Cambria Math" panose="02040503050406030204" pitchFamily="18" charset="0"/>
                        <a:ea typeface="Cambria Math" panose="02040503050406030204" pitchFamily="18" charset="0"/>
                      </a:rPr>
                      <m:t>𝜌</m:t>
                    </m:r>
                  </m:oMath>
                </a14:m>
                <a:r>
                  <a:rPr lang="pt-BR" noProof="1"/>
                  <a:t> é a densidade do material;</a:t>
                </a:r>
              </a:p>
              <a:p>
                <a:pPr marL="171450" indent="-171450">
                  <a:buClr>
                    <a:srgbClr val="460073"/>
                  </a:buClr>
                  <a:buFont typeface="Arial" panose="020B0604020202020204" pitchFamily="34" charset="0"/>
                  <a:buChar char="•"/>
                </a:pPr>
                <a14:m>
                  <m:oMath xmlns:m="http://schemas.openxmlformats.org/officeDocument/2006/math">
                    <m:acc>
                      <m:accPr>
                        <m:chr m:val="̈"/>
                        <m:ctrlPr>
                          <a:rPr lang="pt-BR" i="1" noProof="1" smtClean="0">
                            <a:latin typeface="Cambria Math" panose="02040503050406030204" pitchFamily="18" charset="0"/>
                          </a:rPr>
                        </m:ctrlPr>
                      </m:accPr>
                      <m:e>
                        <m:r>
                          <a:rPr lang="en-US" b="0" i="1" noProof="1" smtClean="0">
                            <a:latin typeface="Cambria Math" panose="02040503050406030204" pitchFamily="18" charset="0"/>
                          </a:rPr>
                          <m:t>𝑢</m:t>
                        </m:r>
                      </m:e>
                    </m:acc>
                  </m:oMath>
                </a14:m>
                <a:r>
                  <a:rPr lang="pt-BR" noProof="1"/>
                  <a:t> é a segunda derivada do deslocamento.</a:t>
                </a:r>
              </a:p>
              <a:p>
                <a:pPr marL="171450" indent="-171450">
                  <a:buFont typeface="Arial" panose="020B0604020202020204" pitchFamily="34" charset="0"/>
                  <a:buChar char="•"/>
                </a:pPr>
                <a:endParaRPr lang="pt-BR" noProof="1"/>
              </a:p>
            </p:txBody>
          </p:sp>
        </mc:Choice>
        <mc:Fallback>
          <p:sp>
            <p:nvSpPr>
              <p:cNvPr id="7" name="Marcador de contenido 6">
                <a:extLst>
                  <a:ext uri="{FF2B5EF4-FFF2-40B4-BE49-F238E27FC236}">
                    <a16:creationId xmlns:a16="http://schemas.microsoft.com/office/drawing/2014/main" id="{95118A95-D52C-45F1-8919-30835EB23805}"/>
                  </a:ext>
                </a:extLst>
              </p:cNvPr>
              <p:cNvSpPr>
                <a:spLocks noGrp="1" noRot="1" noChangeAspect="1" noMove="1" noResize="1" noEditPoints="1" noAdjustHandles="1" noChangeArrowheads="1" noChangeShapeType="1" noTextEdit="1"/>
              </p:cNvSpPr>
              <p:nvPr>
                <p:ph sz="half" idx="28"/>
              </p:nvPr>
            </p:nvSpPr>
            <p:spPr>
              <a:xfrm>
                <a:off x="561427" y="3124961"/>
                <a:ext cx="2578828" cy="2761615"/>
              </a:xfrm>
              <a:blipFill>
                <a:blip r:embed="rId6"/>
                <a:stretch>
                  <a:fillRect l="-3546" t="-1766" r="-4255" b="-28035"/>
                </a:stretch>
              </a:blipFill>
            </p:spPr>
            <p:txBody>
              <a:bodyPr/>
              <a:lstStyle/>
              <a:p>
                <a:r>
                  <a:rPr lang="pt-BR">
                    <a:noFill/>
                  </a:rPr>
                  <a:t> </a:t>
                </a:r>
              </a:p>
            </p:txBody>
          </p:sp>
        </mc:Fallback>
      </mc:AlternateContent>
      <p:sp>
        <p:nvSpPr>
          <p:cNvPr id="5" name="Marcador de texto 4">
            <a:extLst>
              <a:ext uri="{FF2B5EF4-FFF2-40B4-BE49-F238E27FC236}">
                <a16:creationId xmlns:a16="http://schemas.microsoft.com/office/drawing/2014/main" id="{98BA65F6-DD7C-9BD2-AD2B-F34A2042DBF6}"/>
              </a:ext>
            </a:extLst>
          </p:cNvPr>
          <p:cNvSpPr>
            <a:spLocks noGrp="1"/>
          </p:cNvSpPr>
          <p:nvPr>
            <p:ph type="body" idx="34"/>
          </p:nvPr>
        </p:nvSpPr>
        <p:spPr>
          <a:xfrm>
            <a:off x="3403235" y="1844675"/>
            <a:ext cx="2578828" cy="457200"/>
          </a:xfrm>
        </p:spPr>
        <p:txBody>
          <a:bodyPr/>
          <a:lstStyle/>
          <a:p>
            <a:r>
              <a:rPr lang="pt-BR" noProof="1"/>
              <a:t>02</a:t>
            </a:r>
          </a:p>
        </p:txBody>
      </p:sp>
      <p:sp>
        <p:nvSpPr>
          <p:cNvPr id="9" name="Marcador de texto 8">
            <a:extLst>
              <a:ext uri="{FF2B5EF4-FFF2-40B4-BE49-F238E27FC236}">
                <a16:creationId xmlns:a16="http://schemas.microsoft.com/office/drawing/2014/main" id="{7418CA08-5714-DBA2-CA02-04979B51FA6C}"/>
              </a:ext>
            </a:extLst>
          </p:cNvPr>
          <p:cNvSpPr>
            <a:spLocks noGrp="1"/>
          </p:cNvSpPr>
          <p:nvPr>
            <p:ph type="body" idx="35"/>
          </p:nvPr>
        </p:nvSpPr>
        <p:spPr>
          <a:xfrm>
            <a:off x="3403235" y="2301875"/>
            <a:ext cx="2578828" cy="822960"/>
          </a:xfrm>
        </p:spPr>
        <p:txBody>
          <a:bodyPr/>
          <a:lstStyle/>
          <a:p>
            <a:r>
              <a:rPr lang="pt-BR" noProof="1"/>
              <a:t>Relações Deformação-Deslocamento</a:t>
            </a:r>
          </a:p>
        </p:txBody>
      </p:sp>
      <mc:AlternateContent xmlns:mc="http://schemas.openxmlformats.org/markup-compatibility/2006">
        <mc:Choice xmlns:a14="http://schemas.microsoft.com/office/drawing/2010/main" Requires="a14">
          <p:sp>
            <p:nvSpPr>
              <p:cNvPr id="3" name="Marcador de contenido 2">
                <a:extLst>
                  <a:ext uri="{FF2B5EF4-FFF2-40B4-BE49-F238E27FC236}">
                    <a16:creationId xmlns:a16="http://schemas.microsoft.com/office/drawing/2014/main" id="{ACBC78FB-CEC1-2DDC-E913-4269D07122DF}"/>
                  </a:ext>
                </a:extLst>
              </p:cNvPr>
              <p:cNvSpPr>
                <a:spLocks noGrp="1"/>
              </p:cNvSpPr>
              <p:nvPr>
                <p:ph sz="half" idx="36"/>
              </p:nvPr>
            </p:nvSpPr>
            <p:spPr>
              <a:xfrm>
                <a:off x="3403235" y="3124834"/>
                <a:ext cx="2578828" cy="2761615"/>
              </a:xfrm>
            </p:spPr>
            <p:txBody>
              <a:bodyPr/>
              <a:lstStyle/>
              <a:p>
                <a:pPr lvl="0"/>
                <a:r>
                  <a:rPr lang="pt-BR" noProof="1"/>
                  <a:t>Relacionam o campo de deslocamentos </a:t>
                </a:r>
                <a14:m>
                  <m:oMath xmlns:m="http://schemas.openxmlformats.org/officeDocument/2006/math">
                    <m:r>
                      <a:rPr lang="en-US" b="0" i="1" noProof="1" smtClean="0">
                        <a:latin typeface="Cambria Math" panose="02040503050406030204" pitchFamily="18" charset="0"/>
                      </a:rPr>
                      <m:t>𝑢</m:t>
                    </m:r>
                  </m:oMath>
                </a14:m>
                <a:r>
                  <a:rPr lang="pt-BR" noProof="1"/>
                  <a:t> às deformações internas do material.</a:t>
                </a:r>
              </a:p>
              <a:p>
                <a14:m>
                  <m:oMathPara xmlns:m="http://schemas.openxmlformats.org/officeDocument/2006/math">
                    <m:oMathParaPr>
                      <m:jc m:val="centerGroup"/>
                    </m:oMathParaPr>
                    <m:oMath xmlns:m="http://schemas.openxmlformats.org/officeDocument/2006/math">
                      <m:r>
                        <a:rPr lang="pt-BR" i="1" noProof="1" smtClean="0">
                          <a:latin typeface="Cambria Math" panose="02040503050406030204" pitchFamily="18" charset="0"/>
                          <a:ea typeface="Cambria Math" panose="02040503050406030204" pitchFamily="18" charset="0"/>
                        </a:rPr>
                        <m:t>𝜀</m:t>
                      </m:r>
                      <m:d>
                        <m:dPr>
                          <m:ctrlPr>
                            <a:rPr lang="en-US" b="0" i="1" noProof="1" smtClean="0">
                              <a:latin typeface="Cambria Math" panose="02040503050406030204" pitchFamily="18" charset="0"/>
                              <a:ea typeface="Cambria Math" panose="02040503050406030204" pitchFamily="18" charset="0"/>
                            </a:rPr>
                          </m:ctrlPr>
                        </m:dPr>
                        <m:e>
                          <m:r>
                            <a:rPr lang="en-US" b="0" i="1" noProof="1" smtClean="0">
                              <a:latin typeface="Cambria Math" panose="02040503050406030204" pitchFamily="18" charset="0"/>
                              <a:ea typeface="Cambria Math" panose="02040503050406030204" pitchFamily="18" charset="0"/>
                            </a:rPr>
                            <m:t>𝑢</m:t>
                          </m:r>
                        </m:e>
                      </m:d>
                      <m:r>
                        <a:rPr lang="en-US" b="0" i="1" noProof="1" smtClean="0">
                          <a:latin typeface="Cambria Math" panose="02040503050406030204" pitchFamily="18" charset="0"/>
                          <a:ea typeface="Cambria Math" panose="02040503050406030204" pitchFamily="18" charset="0"/>
                        </a:rPr>
                        <m:t>=</m:t>
                      </m:r>
                      <m:f>
                        <m:fPr>
                          <m:ctrlPr>
                            <a:rPr lang="en-US" b="0" i="1" noProof="1" smtClean="0">
                              <a:latin typeface="Cambria Math" panose="02040503050406030204" pitchFamily="18" charset="0"/>
                              <a:ea typeface="Cambria Math" panose="02040503050406030204" pitchFamily="18" charset="0"/>
                            </a:rPr>
                          </m:ctrlPr>
                        </m:fPr>
                        <m:num>
                          <m:r>
                            <a:rPr lang="en-US" b="0" i="1" noProof="1" smtClean="0">
                              <a:latin typeface="Cambria Math" panose="02040503050406030204" pitchFamily="18" charset="0"/>
                              <a:ea typeface="Cambria Math" panose="02040503050406030204" pitchFamily="18" charset="0"/>
                            </a:rPr>
                            <m:t>1</m:t>
                          </m:r>
                        </m:num>
                        <m:den>
                          <m:r>
                            <a:rPr lang="en-US" b="0" i="1" noProof="1" smtClean="0">
                              <a:latin typeface="Cambria Math" panose="02040503050406030204" pitchFamily="18" charset="0"/>
                              <a:ea typeface="Cambria Math" panose="02040503050406030204" pitchFamily="18" charset="0"/>
                            </a:rPr>
                            <m:t>2</m:t>
                          </m:r>
                        </m:den>
                      </m:f>
                      <m:r>
                        <a:rPr lang="en-US" i="1" noProof="1">
                          <a:latin typeface="Cambria Math" panose="02040503050406030204" pitchFamily="18" charset="0"/>
                          <a:ea typeface="Cambria Math" panose="02040503050406030204" pitchFamily="18" charset="0"/>
                        </a:rPr>
                        <m:t>∙</m:t>
                      </m:r>
                      <m:d>
                        <m:dPr>
                          <m:begChr m:val="["/>
                          <m:endChr m:val="]"/>
                          <m:ctrlPr>
                            <a:rPr lang="en-US" i="1" noProof="1" smtClean="0">
                              <a:latin typeface="Cambria Math" panose="02040503050406030204" pitchFamily="18" charset="0"/>
                              <a:ea typeface="Cambria Math" panose="02040503050406030204" pitchFamily="18" charset="0"/>
                            </a:rPr>
                          </m:ctrlPr>
                        </m:dPr>
                        <m:e>
                          <m:r>
                            <m:rPr>
                              <m:sty m:val="p"/>
                            </m:rPr>
                            <a:rPr lang="en-US" i="1" noProof="1" smtClean="0">
                              <a:latin typeface="Cambria Math" panose="02040503050406030204" pitchFamily="18" charset="0"/>
                              <a:ea typeface="Cambria Math" panose="02040503050406030204" pitchFamily="18" charset="0"/>
                            </a:rPr>
                            <m:t>∇</m:t>
                          </m:r>
                          <m:r>
                            <a:rPr lang="en-US" b="0" i="1" noProof="1" smtClean="0">
                              <a:latin typeface="Cambria Math" panose="02040503050406030204" pitchFamily="18" charset="0"/>
                              <a:ea typeface="Cambria Math" panose="02040503050406030204" pitchFamily="18" charset="0"/>
                            </a:rPr>
                            <m:t>𝑢</m:t>
                          </m:r>
                          <m:r>
                            <a:rPr lang="en-US" b="0" i="1" noProof="1" smtClean="0">
                              <a:latin typeface="Cambria Math" panose="02040503050406030204" pitchFamily="18" charset="0"/>
                              <a:ea typeface="Cambria Math" panose="02040503050406030204" pitchFamily="18" charset="0"/>
                            </a:rPr>
                            <m:t>+</m:t>
                          </m:r>
                          <m:sSup>
                            <m:sSupPr>
                              <m:ctrlPr>
                                <a:rPr lang="en-US" b="0" i="1" noProof="1" smtClean="0">
                                  <a:latin typeface="Cambria Math" panose="02040503050406030204" pitchFamily="18" charset="0"/>
                                  <a:ea typeface="Cambria Math" panose="02040503050406030204" pitchFamily="18" charset="0"/>
                                </a:rPr>
                              </m:ctrlPr>
                            </m:sSupPr>
                            <m:e>
                              <m:d>
                                <m:dPr>
                                  <m:ctrlPr>
                                    <a:rPr lang="en-US" b="0" i="1" noProof="1" smtClean="0">
                                      <a:latin typeface="Cambria Math" panose="02040503050406030204" pitchFamily="18" charset="0"/>
                                      <a:ea typeface="Cambria Math" panose="02040503050406030204" pitchFamily="18" charset="0"/>
                                    </a:rPr>
                                  </m:ctrlPr>
                                </m:dPr>
                                <m:e>
                                  <m:r>
                                    <m:rPr>
                                      <m:sty m:val="p"/>
                                    </m:rPr>
                                    <a:rPr lang="en-US" i="1" noProof="1">
                                      <a:latin typeface="Cambria Math" panose="02040503050406030204" pitchFamily="18" charset="0"/>
                                      <a:ea typeface="Cambria Math" panose="02040503050406030204" pitchFamily="18" charset="0"/>
                                    </a:rPr>
                                    <m:t>∇</m:t>
                                  </m:r>
                                  <m:r>
                                    <a:rPr lang="en-US" i="1" noProof="1">
                                      <a:latin typeface="Cambria Math" panose="02040503050406030204" pitchFamily="18" charset="0"/>
                                      <a:ea typeface="Cambria Math" panose="02040503050406030204" pitchFamily="18" charset="0"/>
                                    </a:rPr>
                                    <m:t>𝑢</m:t>
                                  </m:r>
                                </m:e>
                              </m:d>
                            </m:e>
                            <m:sup>
                              <m:r>
                                <a:rPr lang="en-US" b="0" i="1" noProof="1" smtClean="0">
                                  <a:latin typeface="Cambria Math" panose="02040503050406030204" pitchFamily="18" charset="0"/>
                                  <a:ea typeface="Cambria Math" panose="02040503050406030204" pitchFamily="18" charset="0"/>
                                </a:rPr>
                                <m:t>𝑇</m:t>
                              </m:r>
                            </m:sup>
                          </m:sSup>
                        </m:e>
                      </m:d>
                      <m:r>
                        <a:rPr lang="en-US" b="0" i="1" noProof="1" smtClean="0">
                          <a:latin typeface="Cambria Math" panose="02040503050406030204" pitchFamily="18" charset="0"/>
                          <a:ea typeface="Cambria Math" panose="02040503050406030204" pitchFamily="18" charset="0"/>
                        </a:rPr>
                        <m:t> (</m:t>
                      </m:r>
                      <m:r>
                        <a:rPr lang="en-US" b="0" i="1" noProof="1" smtClean="0">
                          <a:latin typeface="Cambria Math" panose="02040503050406030204" pitchFamily="18" charset="0"/>
                          <a:ea typeface="Cambria Math" panose="02040503050406030204" pitchFamily="18" charset="0"/>
                        </a:rPr>
                        <m:t>𝑐𝑎𝑠𝑜</m:t>
                      </m:r>
                      <m:r>
                        <a:rPr lang="en-US" b="0" i="1" noProof="1" smtClean="0">
                          <a:latin typeface="Cambria Math" panose="02040503050406030204" pitchFamily="18" charset="0"/>
                          <a:ea typeface="Cambria Math" panose="02040503050406030204" pitchFamily="18" charset="0"/>
                        </a:rPr>
                        <m:t> </m:t>
                      </m:r>
                      <m:r>
                        <a:rPr lang="en-US" b="0" i="1" noProof="1" smtClean="0">
                          <a:latin typeface="Cambria Math" panose="02040503050406030204" pitchFamily="18" charset="0"/>
                          <a:ea typeface="Cambria Math" panose="02040503050406030204" pitchFamily="18" charset="0"/>
                        </a:rPr>
                        <m:t>𝑔𝑒𝑟𝑎𝑙</m:t>
                      </m:r>
                      <m:r>
                        <a:rPr lang="en-US" b="0" i="1" noProof="1" smtClean="0">
                          <a:latin typeface="Cambria Math" panose="02040503050406030204" pitchFamily="18" charset="0"/>
                          <a:ea typeface="Cambria Math" panose="02040503050406030204" pitchFamily="18" charset="0"/>
                        </a:rPr>
                        <m:t>)</m:t>
                      </m:r>
                    </m:oMath>
                  </m:oMathPara>
                </a14:m>
                <a:endParaRPr lang="pt-BR" noProof="1"/>
              </a:p>
              <a:p>
                <a14:m>
                  <m:oMathPara xmlns:m="http://schemas.openxmlformats.org/officeDocument/2006/math">
                    <m:oMathParaPr>
                      <m:jc m:val="centerGroup"/>
                    </m:oMathParaPr>
                    <m:oMath xmlns:m="http://schemas.openxmlformats.org/officeDocument/2006/math">
                      <m:r>
                        <a:rPr lang="pt-BR" i="1" noProof="1" smtClean="0">
                          <a:latin typeface="Cambria Math" panose="02040503050406030204" pitchFamily="18" charset="0"/>
                          <a:ea typeface="Cambria Math" panose="02040503050406030204" pitchFamily="18" charset="0"/>
                        </a:rPr>
                        <m:t>𝜀</m:t>
                      </m:r>
                      <m:d>
                        <m:dPr>
                          <m:ctrlPr>
                            <a:rPr lang="en-US" b="0" i="1" noProof="1" smtClean="0">
                              <a:latin typeface="Cambria Math" panose="02040503050406030204" pitchFamily="18" charset="0"/>
                              <a:ea typeface="Cambria Math" panose="02040503050406030204" pitchFamily="18" charset="0"/>
                            </a:rPr>
                          </m:ctrlPr>
                        </m:dPr>
                        <m:e>
                          <m:r>
                            <a:rPr lang="en-US" b="0" i="1" noProof="1" smtClean="0">
                              <a:latin typeface="Cambria Math" panose="02040503050406030204" pitchFamily="18" charset="0"/>
                              <a:ea typeface="Cambria Math" panose="02040503050406030204" pitchFamily="18" charset="0"/>
                            </a:rPr>
                            <m:t>𝑥</m:t>
                          </m:r>
                        </m:e>
                      </m:d>
                      <m:r>
                        <a:rPr lang="en-US" b="0" i="1" noProof="1" smtClean="0">
                          <a:latin typeface="Cambria Math" panose="02040503050406030204" pitchFamily="18" charset="0"/>
                          <a:ea typeface="Cambria Math" panose="02040503050406030204" pitchFamily="18" charset="0"/>
                        </a:rPr>
                        <m:t>=</m:t>
                      </m:r>
                      <m:f>
                        <m:fPr>
                          <m:ctrlPr>
                            <a:rPr lang="en-US" b="0" i="1" noProof="1" smtClean="0">
                              <a:latin typeface="Cambria Math" panose="02040503050406030204" pitchFamily="18" charset="0"/>
                              <a:ea typeface="Cambria Math" panose="02040503050406030204" pitchFamily="18" charset="0"/>
                            </a:rPr>
                          </m:ctrlPr>
                        </m:fPr>
                        <m:num>
                          <m:r>
                            <a:rPr lang="en-US" b="0" i="1" noProof="1" smtClean="0">
                              <a:latin typeface="Cambria Math" panose="02040503050406030204" pitchFamily="18" charset="0"/>
                              <a:ea typeface="Cambria Math" panose="02040503050406030204" pitchFamily="18" charset="0"/>
                            </a:rPr>
                            <m:t>𝑑𝑢</m:t>
                          </m:r>
                        </m:num>
                        <m:den>
                          <m:r>
                            <a:rPr lang="en-US" b="0" i="1" noProof="1" smtClean="0">
                              <a:latin typeface="Cambria Math" panose="02040503050406030204" pitchFamily="18" charset="0"/>
                              <a:ea typeface="Cambria Math" panose="02040503050406030204" pitchFamily="18" charset="0"/>
                            </a:rPr>
                            <m:t>𝑑𝑥</m:t>
                          </m:r>
                        </m:den>
                      </m:f>
                      <m:r>
                        <a:rPr lang="en-US" b="0" i="1" noProof="1" smtClean="0">
                          <a:latin typeface="Cambria Math" panose="02040503050406030204" pitchFamily="18" charset="0"/>
                          <a:ea typeface="Cambria Math" panose="02040503050406030204" pitchFamily="18" charset="0"/>
                        </a:rPr>
                        <m:t> (</m:t>
                      </m:r>
                      <m:r>
                        <a:rPr lang="en-US" b="0" i="1" noProof="1" smtClean="0">
                          <a:latin typeface="Cambria Math" panose="02040503050406030204" pitchFamily="18" charset="0"/>
                          <a:ea typeface="Cambria Math" panose="02040503050406030204" pitchFamily="18" charset="0"/>
                        </a:rPr>
                        <m:t>𝑐𝑎𝑠𝑜</m:t>
                      </m:r>
                      <m:r>
                        <a:rPr lang="en-US" b="0" i="1" noProof="1" smtClean="0">
                          <a:latin typeface="Cambria Math" panose="02040503050406030204" pitchFamily="18" charset="0"/>
                          <a:ea typeface="Cambria Math" panose="02040503050406030204" pitchFamily="18" charset="0"/>
                        </a:rPr>
                        <m:t> 1</m:t>
                      </m:r>
                      <m:r>
                        <a:rPr lang="en-US" b="0" i="1" noProof="1" smtClean="0">
                          <a:latin typeface="Cambria Math" panose="02040503050406030204" pitchFamily="18" charset="0"/>
                          <a:ea typeface="Cambria Math" panose="02040503050406030204" pitchFamily="18" charset="0"/>
                        </a:rPr>
                        <m:t>𝐷</m:t>
                      </m:r>
                      <m:r>
                        <a:rPr lang="en-US" b="0" i="1" noProof="1" smtClean="0">
                          <a:latin typeface="Cambria Math" panose="02040503050406030204" pitchFamily="18" charset="0"/>
                          <a:ea typeface="Cambria Math" panose="02040503050406030204" pitchFamily="18" charset="0"/>
                        </a:rPr>
                        <m:t>)</m:t>
                      </m:r>
                    </m:oMath>
                  </m:oMathPara>
                </a14:m>
                <a:endParaRPr lang="pt-BR" noProof="1"/>
              </a:p>
              <a:p>
                <a:r>
                  <a:rPr lang="pt-BR" noProof="1"/>
                  <a:t>Sendo:</a:t>
                </a:r>
              </a:p>
              <a:p>
                <a:pPr marL="171450" indent="-171450">
                  <a:buFont typeface="Arial" panose="020B0604020202020204" pitchFamily="34" charset="0"/>
                  <a:buChar char="•"/>
                </a:pPr>
                <a14:m>
                  <m:oMath xmlns:m="http://schemas.openxmlformats.org/officeDocument/2006/math">
                    <m:r>
                      <a:rPr lang="pt-BR" i="1" noProof="1">
                        <a:latin typeface="Cambria Math" panose="02040503050406030204" pitchFamily="18" charset="0"/>
                        <a:ea typeface="Cambria Math" panose="02040503050406030204" pitchFamily="18" charset="0"/>
                      </a:rPr>
                      <m:t>𝜀</m:t>
                    </m:r>
                    <m:d>
                      <m:dPr>
                        <m:ctrlPr>
                          <a:rPr lang="en-US" i="1" noProof="1">
                            <a:latin typeface="Cambria Math" panose="02040503050406030204" pitchFamily="18" charset="0"/>
                            <a:ea typeface="Cambria Math" panose="02040503050406030204" pitchFamily="18" charset="0"/>
                          </a:rPr>
                        </m:ctrlPr>
                      </m:dPr>
                      <m:e>
                        <m:r>
                          <a:rPr lang="en-US" i="1" noProof="1">
                            <a:latin typeface="Cambria Math" panose="02040503050406030204" pitchFamily="18" charset="0"/>
                            <a:ea typeface="Cambria Math" panose="02040503050406030204" pitchFamily="18" charset="0"/>
                          </a:rPr>
                          <m:t>𝑢</m:t>
                        </m:r>
                      </m:e>
                    </m:d>
                  </m:oMath>
                </a14:m>
                <a:r>
                  <a:rPr lang="pt-BR" noProof="1"/>
                  <a:t> é o tensor de deformação infinitesimais;</a:t>
                </a:r>
              </a:p>
              <a:p>
                <a:pPr marL="171450" indent="-171450">
                  <a:buFont typeface="Arial" panose="020B0604020202020204" pitchFamily="34" charset="0"/>
                  <a:buChar char="•"/>
                </a:pPr>
                <a14:m>
                  <m:oMath xmlns:m="http://schemas.openxmlformats.org/officeDocument/2006/math">
                    <m:r>
                      <a:rPr lang="en-US" b="0" i="1" noProof="1" smtClean="0">
                        <a:latin typeface="Cambria Math" panose="02040503050406030204" pitchFamily="18" charset="0"/>
                      </a:rPr>
                      <m:t>𝑢</m:t>
                    </m:r>
                  </m:oMath>
                </a14:m>
                <a:r>
                  <a:rPr lang="pt-BR" noProof="1"/>
                  <a:t> é o vetor de deslocamentos.</a:t>
                </a:r>
              </a:p>
              <a:p>
                <a:pPr marL="171450" indent="-171450">
                  <a:buFont typeface="Arial" panose="020B0604020202020204" pitchFamily="34" charset="0"/>
                  <a:buChar char="•"/>
                </a:pPr>
                <a:endParaRPr lang="pt-BR" noProof="1"/>
              </a:p>
              <a:p>
                <a:endParaRPr lang="pt-BR" noProof="1"/>
              </a:p>
            </p:txBody>
          </p:sp>
        </mc:Choice>
        <mc:Fallback>
          <p:sp>
            <p:nvSpPr>
              <p:cNvPr id="3" name="Marcador de contenido 2">
                <a:extLst>
                  <a:ext uri="{FF2B5EF4-FFF2-40B4-BE49-F238E27FC236}">
                    <a16:creationId xmlns:a16="http://schemas.microsoft.com/office/drawing/2014/main" id="{ACBC78FB-CEC1-2DDC-E913-4269D07122DF}"/>
                  </a:ext>
                </a:extLst>
              </p:cNvPr>
              <p:cNvSpPr>
                <a:spLocks noGrp="1" noRot="1" noChangeAspect="1" noMove="1" noResize="1" noEditPoints="1" noAdjustHandles="1" noChangeArrowheads="1" noChangeShapeType="1" noTextEdit="1"/>
              </p:cNvSpPr>
              <p:nvPr>
                <p:ph sz="half" idx="36"/>
              </p:nvPr>
            </p:nvSpPr>
            <p:spPr>
              <a:xfrm>
                <a:off x="3403235" y="3124834"/>
                <a:ext cx="2578828" cy="2761615"/>
              </a:xfrm>
              <a:blipFill>
                <a:blip r:embed="rId7"/>
                <a:stretch>
                  <a:fillRect l="-3546" t="-1766" r="-236"/>
                </a:stretch>
              </a:blipFill>
            </p:spPr>
            <p:txBody>
              <a:bodyPr/>
              <a:lstStyle/>
              <a:p>
                <a:r>
                  <a:rPr lang="pt-BR">
                    <a:noFill/>
                  </a:rPr>
                  <a:t> </a:t>
                </a:r>
              </a:p>
            </p:txBody>
          </p:sp>
        </mc:Fallback>
      </mc:AlternateContent>
      <p:sp>
        <p:nvSpPr>
          <p:cNvPr id="10" name="Marcador de texto 9">
            <a:extLst>
              <a:ext uri="{FF2B5EF4-FFF2-40B4-BE49-F238E27FC236}">
                <a16:creationId xmlns:a16="http://schemas.microsoft.com/office/drawing/2014/main" id="{C3A586DC-DDD2-F1A9-DC91-5A8183B76190}"/>
              </a:ext>
            </a:extLst>
          </p:cNvPr>
          <p:cNvSpPr>
            <a:spLocks noGrp="1"/>
          </p:cNvSpPr>
          <p:nvPr>
            <p:ph type="body" idx="37"/>
          </p:nvPr>
        </p:nvSpPr>
        <p:spPr>
          <a:xfrm>
            <a:off x="6245043" y="1844675"/>
            <a:ext cx="2578828" cy="457200"/>
          </a:xfrm>
        </p:spPr>
        <p:txBody>
          <a:bodyPr/>
          <a:lstStyle/>
          <a:p>
            <a:r>
              <a:rPr lang="pt-BR" noProof="1"/>
              <a:t>03</a:t>
            </a:r>
          </a:p>
        </p:txBody>
      </p:sp>
      <p:sp>
        <p:nvSpPr>
          <p:cNvPr id="11" name="Marcador de texto 10">
            <a:extLst>
              <a:ext uri="{FF2B5EF4-FFF2-40B4-BE49-F238E27FC236}">
                <a16:creationId xmlns:a16="http://schemas.microsoft.com/office/drawing/2014/main" id="{61670592-D747-C6A2-CC76-6F926E1D39F1}"/>
              </a:ext>
            </a:extLst>
          </p:cNvPr>
          <p:cNvSpPr>
            <a:spLocks noGrp="1"/>
          </p:cNvSpPr>
          <p:nvPr>
            <p:ph type="body" idx="38"/>
          </p:nvPr>
        </p:nvSpPr>
        <p:spPr>
          <a:xfrm>
            <a:off x="6245043" y="2301875"/>
            <a:ext cx="2578828" cy="822960"/>
          </a:xfrm>
        </p:spPr>
        <p:txBody>
          <a:bodyPr/>
          <a:lstStyle/>
          <a:p>
            <a:r>
              <a:rPr lang="pt-BR" noProof="1"/>
              <a:t>Relações Constitutivas Lineares</a:t>
            </a:r>
          </a:p>
        </p:txBody>
      </p:sp>
      <mc:AlternateContent xmlns:mc="http://schemas.openxmlformats.org/markup-compatibility/2006">
        <mc:Choice xmlns:a14="http://schemas.microsoft.com/office/drawing/2010/main" Requires="a14">
          <p:sp>
            <p:nvSpPr>
              <p:cNvPr id="12" name="Marcador de contenido 11">
                <a:extLst>
                  <a:ext uri="{FF2B5EF4-FFF2-40B4-BE49-F238E27FC236}">
                    <a16:creationId xmlns:a16="http://schemas.microsoft.com/office/drawing/2014/main" id="{44258FC4-CB97-601A-CBB0-1BCEEE676FEE}"/>
                  </a:ext>
                </a:extLst>
              </p:cNvPr>
              <p:cNvSpPr>
                <a:spLocks noGrp="1"/>
              </p:cNvSpPr>
              <p:nvPr>
                <p:ph sz="half" idx="39"/>
              </p:nvPr>
            </p:nvSpPr>
            <p:spPr>
              <a:xfrm>
                <a:off x="6245043" y="3124834"/>
                <a:ext cx="2578828" cy="2761615"/>
              </a:xfrm>
            </p:spPr>
            <p:txBody>
              <a:bodyPr/>
              <a:lstStyle/>
              <a:p>
                <a:pPr lvl="0"/>
                <a:r>
                  <a:rPr lang="pt-BR" noProof="1"/>
                  <a:t>Conectam deformações às tensões por meio de constantes do material (E, </a:t>
                </a:r>
                <a:r>
                  <a:rPr lang="el-GR" noProof="1">
                    <a:latin typeface="Aptos Narrow" panose="020B0004020202020204" pitchFamily="34" charset="0"/>
                  </a:rPr>
                  <a:t>ν</a:t>
                </a:r>
                <a:r>
                  <a:rPr lang="pt-BR" noProof="1"/>
                  <a:t>). </a:t>
                </a:r>
              </a:p>
              <a:p>
                <a:pPr lvl="0"/>
                <a14:m>
                  <m:oMathPara xmlns:m="http://schemas.openxmlformats.org/officeDocument/2006/math">
                    <m:oMathParaPr>
                      <m:jc m:val="centerGroup"/>
                    </m:oMathParaPr>
                    <m:oMath xmlns:m="http://schemas.openxmlformats.org/officeDocument/2006/math">
                      <m:r>
                        <a:rPr lang="pt-BR" i="1" noProof="1" smtClean="0">
                          <a:latin typeface="Cambria Math" panose="02040503050406030204" pitchFamily="18" charset="0"/>
                          <a:ea typeface="Cambria Math" panose="02040503050406030204" pitchFamily="18" charset="0"/>
                        </a:rPr>
                        <m:t>𝜎</m:t>
                      </m:r>
                      <m:r>
                        <a:rPr lang="en-US" b="0" i="1" noProof="1" smtClean="0">
                          <a:latin typeface="Cambria Math" panose="02040503050406030204" pitchFamily="18" charset="0"/>
                          <a:ea typeface="Cambria Math" panose="02040503050406030204" pitchFamily="18" charset="0"/>
                        </a:rPr>
                        <m:t>=</m:t>
                      </m:r>
                      <m:r>
                        <a:rPr lang="en-US" b="0" i="1" noProof="1" smtClean="0">
                          <a:latin typeface="Cambria Math" panose="02040503050406030204" pitchFamily="18" charset="0"/>
                          <a:ea typeface="Cambria Math" panose="02040503050406030204" pitchFamily="18" charset="0"/>
                        </a:rPr>
                        <m:t>𝐶</m:t>
                      </m:r>
                      <m:r>
                        <a:rPr lang="en-US" b="0" i="1" noProof="1" smtClean="0">
                          <a:latin typeface="Cambria Math" panose="02040503050406030204" pitchFamily="18" charset="0"/>
                          <a:ea typeface="Cambria Math" panose="02040503050406030204" pitchFamily="18" charset="0"/>
                        </a:rPr>
                        <m:t>:</m:t>
                      </m:r>
                      <m:r>
                        <a:rPr lang="en-US" b="0" i="1" noProof="1" smtClean="0">
                          <a:latin typeface="Cambria Math" panose="02040503050406030204" pitchFamily="18" charset="0"/>
                          <a:ea typeface="Cambria Math" panose="02040503050406030204" pitchFamily="18" charset="0"/>
                        </a:rPr>
                        <m:t>𝜀</m:t>
                      </m:r>
                      <m:r>
                        <a:rPr lang="en-US" b="0" i="1" noProof="1" smtClean="0">
                          <a:latin typeface="Cambria Math" panose="02040503050406030204" pitchFamily="18" charset="0"/>
                          <a:ea typeface="Cambria Math" panose="02040503050406030204" pitchFamily="18" charset="0"/>
                        </a:rPr>
                        <m:t> (</m:t>
                      </m:r>
                      <m:r>
                        <a:rPr lang="en-US" b="0" i="1" noProof="1" smtClean="0">
                          <a:latin typeface="Cambria Math" panose="02040503050406030204" pitchFamily="18" charset="0"/>
                          <a:ea typeface="Cambria Math" panose="02040503050406030204" pitchFamily="18" charset="0"/>
                        </a:rPr>
                        <m:t>𝑐𝑎𝑠𝑜</m:t>
                      </m:r>
                      <m:r>
                        <a:rPr lang="en-US" b="0" i="1" noProof="1" smtClean="0">
                          <a:latin typeface="Cambria Math" panose="02040503050406030204" pitchFamily="18" charset="0"/>
                          <a:ea typeface="Cambria Math" panose="02040503050406030204" pitchFamily="18" charset="0"/>
                        </a:rPr>
                        <m:t> </m:t>
                      </m:r>
                      <m:r>
                        <a:rPr lang="en-US" b="0" i="1" noProof="1" smtClean="0">
                          <a:latin typeface="Cambria Math" panose="02040503050406030204" pitchFamily="18" charset="0"/>
                          <a:ea typeface="Cambria Math" panose="02040503050406030204" pitchFamily="18" charset="0"/>
                        </a:rPr>
                        <m:t>𝑔𝑒𝑟𝑎𝑙</m:t>
                      </m:r>
                      <m:r>
                        <a:rPr lang="en-US" b="0" i="1" noProof="1" smtClean="0">
                          <a:latin typeface="Cambria Math" panose="02040503050406030204" pitchFamily="18" charset="0"/>
                          <a:ea typeface="Cambria Math" panose="02040503050406030204" pitchFamily="18" charset="0"/>
                        </a:rPr>
                        <m:t>)</m:t>
                      </m:r>
                    </m:oMath>
                  </m:oMathPara>
                </a14:m>
                <a:endParaRPr lang="pt-BR" noProof="1"/>
              </a:p>
              <a:p>
                <a:pPr lvl="0"/>
                <a14:m>
                  <m:oMathPara xmlns:m="http://schemas.openxmlformats.org/officeDocument/2006/math">
                    <m:oMathParaPr>
                      <m:jc m:val="centerGroup"/>
                    </m:oMathParaPr>
                    <m:oMath xmlns:m="http://schemas.openxmlformats.org/officeDocument/2006/math">
                      <m:r>
                        <a:rPr lang="pt-BR" i="1" noProof="1" smtClean="0">
                          <a:latin typeface="Cambria Math" panose="02040503050406030204" pitchFamily="18" charset="0"/>
                          <a:ea typeface="Cambria Math" panose="02040503050406030204" pitchFamily="18" charset="0"/>
                        </a:rPr>
                        <m:t>𝜎</m:t>
                      </m:r>
                      <m:r>
                        <a:rPr lang="en-US" b="0" i="1" noProof="1" smtClean="0">
                          <a:latin typeface="Cambria Math" panose="02040503050406030204" pitchFamily="18" charset="0"/>
                          <a:ea typeface="Cambria Math" panose="02040503050406030204" pitchFamily="18" charset="0"/>
                        </a:rPr>
                        <m:t>=</m:t>
                      </m:r>
                      <m:r>
                        <a:rPr lang="en-US" b="0" i="1" noProof="1" smtClean="0">
                          <a:latin typeface="Cambria Math" panose="02040503050406030204" pitchFamily="18" charset="0"/>
                          <a:ea typeface="Cambria Math" panose="02040503050406030204" pitchFamily="18" charset="0"/>
                        </a:rPr>
                        <m:t>𝐸</m:t>
                      </m:r>
                      <m:r>
                        <a:rPr lang="en-US" b="0" i="1" noProof="1" smtClean="0">
                          <a:latin typeface="Cambria Math" panose="02040503050406030204" pitchFamily="18" charset="0"/>
                          <a:ea typeface="Cambria Math" panose="02040503050406030204" pitchFamily="18" charset="0"/>
                        </a:rPr>
                        <m:t>𝜀</m:t>
                      </m:r>
                      <m:r>
                        <a:rPr lang="en-US" b="0" i="1" noProof="1" smtClean="0">
                          <a:latin typeface="Cambria Math" panose="02040503050406030204" pitchFamily="18" charset="0"/>
                          <a:ea typeface="Cambria Math" panose="02040503050406030204" pitchFamily="18" charset="0"/>
                        </a:rPr>
                        <m:t> (</m:t>
                      </m:r>
                      <m:r>
                        <a:rPr lang="en-US" b="0" i="1" noProof="1" smtClean="0">
                          <a:latin typeface="Cambria Math" panose="02040503050406030204" pitchFamily="18" charset="0"/>
                          <a:ea typeface="Cambria Math" panose="02040503050406030204" pitchFamily="18" charset="0"/>
                        </a:rPr>
                        <m:t>𝑐𝑎𝑠𝑜</m:t>
                      </m:r>
                      <m:r>
                        <a:rPr lang="en-US" b="0" i="1" noProof="1" smtClean="0">
                          <a:latin typeface="Cambria Math" panose="02040503050406030204" pitchFamily="18" charset="0"/>
                          <a:ea typeface="Cambria Math" panose="02040503050406030204" pitchFamily="18" charset="0"/>
                        </a:rPr>
                        <m:t> 1</m:t>
                      </m:r>
                      <m:r>
                        <a:rPr lang="en-US" b="0" i="1" noProof="1" smtClean="0">
                          <a:latin typeface="Cambria Math" panose="02040503050406030204" pitchFamily="18" charset="0"/>
                          <a:ea typeface="Cambria Math" panose="02040503050406030204" pitchFamily="18" charset="0"/>
                        </a:rPr>
                        <m:t>𝐷</m:t>
                      </m:r>
                      <m:r>
                        <a:rPr lang="en-US" b="0" i="1" noProof="1" smtClean="0">
                          <a:latin typeface="Cambria Math" panose="02040503050406030204" pitchFamily="18" charset="0"/>
                          <a:ea typeface="Cambria Math" panose="02040503050406030204" pitchFamily="18" charset="0"/>
                        </a:rPr>
                        <m:t>)</m:t>
                      </m:r>
                    </m:oMath>
                  </m:oMathPara>
                </a14:m>
                <a:endParaRPr lang="pt-BR" noProof="1"/>
              </a:p>
              <a:p>
                <a:r>
                  <a:rPr lang="pt-BR" noProof="1"/>
                  <a:t>Sendo:</a:t>
                </a:r>
              </a:p>
              <a:p>
                <a:pPr marL="171450" indent="-171450">
                  <a:buFont typeface="Arial" panose="020B0604020202020204" pitchFamily="34" charset="0"/>
                  <a:buChar char="•"/>
                </a:pPr>
                <a14:m>
                  <m:oMath xmlns:m="http://schemas.openxmlformats.org/officeDocument/2006/math">
                    <m:r>
                      <a:rPr lang="pt-BR" i="1" noProof="1" smtClean="0">
                        <a:latin typeface="Cambria Math" panose="02040503050406030204" pitchFamily="18" charset="0"/>
                        <a:ea typeface="Cambria Math" panose="02040503050406030204" pitchFamily="18" charset="0"/>
                      </a:rPr>
                      <m:t>𝜎</m:t>
                    </m:r>
                  </m:oMath>
                </a14:m>
                <a:r>
                  <a:rPr lang="pt-BR" noProof="1"/>
                  <a:t> é o tensor de tensões;</a:t>
                </a:r>
              </a:p>
              <a:p>
                <a:pPr marL="171450" indent="-171450">
                  <a:buFont typeface="Arial" panose="020B0604020202020204" pitchFamily="34" charset="0"/>
                  <a:buChar char="•"/>
                </a:pPr>
                <a14:m>
                  <m:oMath xmlns:m="http://schemas.openxmlformats.org/officeDocument/2006/math">
                    <m:r>
                      <a:rPr lang="pt-BR" i="1" noProof="1" smtClean="0">
                        <a:latin typeface="Cambria Math" panose="02040503050406030204" pitchFamily="18" charset="0"/>
                        <a:ea typeface="Cambria Math" panose="02040503050406030204" pitchFamily="18" charset="0"/>
                      </a:rPr>
                      <m:t>𝜀</m:t>
                    </m:r>
                  </m:oMath>
                </a14:m>
                <a:r>
                  <a:rPr lang="pt-BR" noProof="1"/>
                  <a:t> é o tensor de deformações;</a:t>
                </a:r>
              </a:p>
              <a:p>
                <a:pPr marL="171450" indent="-171450">
                  <a:buFont typeface="Arial" panose="020B0604020202020204" pitchFamily="34" charset="0"/>
                  <a:buChar char="•"/>
                </a:pPr>
                <a14:m>
                  <m:oMath xmlns:m="http://schemas.openxmlformats.org/officeDocument/2006/math">
                    <m:r>
                      <a:rPr lang="pt-BR" i="1" noProof="1" smtClean="0">
                        <a:latin typeface="Cambria Math" panose="02040503050406030204" pitchFamily="18" charset="0"/>
                        <a:ea typeface="Cambria Math" panose="02040503050406030204" pitchFamily="18" charset="0"/>
                      </a:rPr>
                      <m:t>∁</m:t>
                    </m:r>
                  </m:oMath>
                </a14:m>
                <a:r>
                  <a:rPr lang="pt-BR" noProof="1"/>
                  <a:t> é o tensor constitutivo de 4ª ordem.</a:t>
                </a:r>
              </a:p>
              <a:p>
                <a:endParaRPr lang="pt-BR" noProof="1"/>
              </a:p>
            </p:txBody>
          </p:sp>
        </mc:Choice>
        <mc:Fallback>
          <p:sp>
            <p:nvSpPr>
              <p:cNvPr id="12" name="Marcador de contenido 11">
                <a:extLst>
                  <a:ext uri="{FF2B5EF4-FFF2-40B4-BE49-F238E27FC236}">
                    <a16:creationId xmlns:a16="http://schemas.microsoft.com/office/drawing/2014/main" id="{44258FC4-CB97-601A-CBB0-1BCEEE676FEE}"/>
                  </a:ext>
                </a:extLst>
              </p:cNvPr>
              <p:cNvSpPr>
                <a:spLocks noGrp="1" noRot="1" noChangeAspect="1" noMove="1" noResize="1" noEditPoints="1" noAdjustHandles="1" noChangeArrowheads="1" noChangeShapeType="1" noTextEdit="1"/>
              </p:cNvSpPr>
              <p:nvPr>
                <p:ph sz="half" idx="39"/>
              </p:nvPr>
            </p:nvSpPr>
            <p:spPr>
              <a:xfrm>
                <a:off x="6245043" y="3124834"/>
                <a:ext cx="2578828" cy="2761615"/>
              </a:xfrm>
              <a:blipFill>
                <a:blip r:embed="rId8"/>
                <a:stretch>
                  <a:fillRect l="-3546" t="-1766" r="-4965"/>
                </a:stretch>
              </a:blipFill>
            </p:spPr>
            <p:txBody>
              <a:bodyPr/>
              <a:lstStyle/>
              <a:p>
                <a:r>
                  <a:rPr lang="pt-BR">
                    <a:noFill/>
                  </a:rPr>
                  <a:t> </a:t>
                </a:r>
              </a:p>
            </p:txBody>
          </p:sp>
        </mc:Fallback>
      </mc:AlternateContent>
    </p:spTree>
    <p:extLst>
      <p:ext uri="{BB962C8B-B14F-4D97-AF65-F5344CB8AC3E}">
        <p14:creationId xmlns:p14="http://schemas.microsoft.com/office/powerpoint/2010/main" val="8185917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14DE3B-3974-3FB9-EC18-705EE1E93567}"/>
            </a:ext>
          </a:extLst>
        </p:cNvPr>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7333973B-EFA2-4245-651A-6082F23929FA}"/>
              </a:ext>
            </a:extLst>
          </p:cNvPr>
          <p:cNvGraphicFramePr>
            <a:graphicFrameLocks noChangeAspect="1"/>
          </p:cNvGraphicFramePr>
          <p:nvPr>
            <p:custDataLst>
              <p:tags r:id="rId1"/>
            </p:custDataLst>
            <p:extLst>
              <p:ext uri="{D42A27DB-BD31-4B8C-83A1-F6EECF244321}">
                <p14:modId xmlns:p14="http://schemas.microsoft.com/office/powerpoint/2010/main" val="763502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16" name="think-cell data - do not delete" hidden="1">
                        <a:extLst>
                          <a:ext uri="{FF2B5EF4-FFF2-40B4-BE49-F238E27FC236}">
                            <a16:creationId xmlns:a16="http://schemas.microsoft.com/office/drawing/2014/main" id="{7333973B-EFA2-4245-651A-6082F23929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Title 28">
            <a:extLst>
              <a:ext uri="{FF2B5EF4-FFF2-40B4-BE49-F238E27FC236}">
                <a16:creationId xmlns:a16="http://schemas.microsoft.com/office/drawing/2014/main" id="{4B03E187-A1FC-B1C3-CF04-500164969F3E}"/>
              </a:ext>
            </a:extLst>
          </p:cNvPr>
          <p:cNvSpPr>
            <a:spLocks noGrp="1"/>
          </p:cNvSpPr>
          <p:nvPr>
            <p:ph type="title"/>
          </p:nvPr>
        </p:nvSpPr>
        <p:spPr>
          <a:xfrm>
            <a:off x="556467" y="572600"/>
            <a:ext cx="11109212" cy="393954"/>
          </a:xfrm>
        </p:spPr>
        <p:txBody>
          <a:bodyPr vert="horz"/>
          <a:lstStyle/>
          <a:p>
            <a:r>
              <a:rPr lang="pt-BR" noProof="1"/>
              <a:t>Fundamentos de Machine Learning</a:t>
            </a:r>
          </a:p>
        </p:txBody>
      </p:sp>
      <p:sp>
        <p:nvSpPr>
          <p:cNvPr id="2" name="Marcador de texto 1">
            <a:extLst>
              <a:ext uri="{FF2B5EF4-FFF2-40B4-BE49-F238E27FC236}">
                <a16:creationId xmlns:a16="http://schemas.microsoft.com/office/drawing/2014/main" id="{0798B30C-3F85-BB9C-25A8-AA6F686432AB}"/>
              </a:ext>
            </a:extLst>
          </p:cNvPr>
          <p:cNvSpPr>
            <a:spLocks noGrp="1"/>
          </p:cNvSpPr>
          <p:nvPr>
            <p:ph type="body" sz="quarter" idx="26"/>
          </p:nvPr>
        </p:nvSpPr>
        <p:spPr>
          <a:xfrm>
            <a:off x="563411" y="1109663"/>
            <a:ext cx="11077727" cy="384048"/>
          </a:xfrm>
        </p:spPr>
        <p:txBody>
          <a:bodyPr/>
          <a:lstStyle/>
          <a:p>
            <a:r>
              <a:rPr lang="pt-BR" noProof="1">
                <a:solidFill>
                  <a:schemeClr val="bg2"/>
                </a:solidFill>
              </a:rPr>
              <a:t>Redes neurais como aproximadoras com quantificação de incerteza</a:t>
            </a:r>
          </a:p>
        </p:txBody>
      </p:sp>
      <p:sp>
        <p:nvSpPr>
          <p:cNvPr id="4" name="Marcador de texto 3">
            <a:extLst>
              <a:ext uri="{FF2B5EF4-FFF2-40B4-BE49-F238E27FC236}">
                <a16:creationId xmlns:a16="http://schemas.microsoft.com/office/drawing/2014/main" id="{5309CE9E-7B8E-E170-BB32-F8410773024D}"/>
              </a:ext>
            </a:extLst>
          </p:cNvPr>
          <p:cNvSpPr>
            <a:spLocks noGrp="1"/>
          </p:cNvSpPr>
          <p:nvPr>
            <p:ph type="body" idx="18"/>
          </p:nvPr>
        </p:nvSpPr>
        <p:spPr>
          <a:xfrm>
            <a:off x="561427" y="1844800"/>
            <a:ext cx="2578828" cy="457200"/>
          </a:xfrm>
        </p:spPr>
        <p:txBody>
          <a:bodyPr/>
          <a:lstStyle/>
          <a:p>
            <a:r>
              <a:rPr lang="pt-BR" noProof="1"/>
              <a:t>01</a:t>
            </a:r>
          </a:p>
        </p:txBody>
      </p:sp>
      <p:sp>
        <p:nvSpPr>
          <p:cNvPr id="8" name="Marcador de texto 7">
            <a:extLst>
              <a:ext uri="{FF2B5EF4-FFF2-40B4-BE49-F238E27FC236}">
                <a16:creationId xmlns:a16="http://schemas.microsoft.com/office/drawing/2014/main" id="{8391E25C-C90F-D50A-4D93-1DF798862688}"/>
              </a:ext>
            </a:extLst>
          </p:cNvPr>
          <p:cNvSpPr>
            <a:spLocks noGrp="1"/>
          </p:cNvSpPr>
          <p:nvPr>
            <p:ph type="body" idx="1"/>
          </p:nvPr>
        </p:nvSpPr>
        <p:spPr>
          <a:xfrm>
            <a:off x="561427" y="2302000"/>
            <a:ext cx="2578828" cy="822960"/>
          </a:xfrm>
        </p:spPr>
        <p:txBody>
          <a:bodyPr/>
          <a:lstStyle/>
          <a:p>
            <a:r>
              <a:rPr lang="pt-BR" noProof="1"/>
              <a:t>Multilayer Perceptron (MLP)</a:t>
            </a:r>
          </a:p>
        </p:txBody>
      </p:sp>
      <p:sp>
        <p:nvSpPr>
          <p:cNvPr id="7" name="Marcador de contenido 6">
            <a:extLst>
              <a:ext uri="{FF2B5EF4-FFF2-40B4-BE49-F238E27FC236}">
                <a16:creationId xmlns:a16="http://schemas.microsoft.com/office/drawing/2014/main" id="{2B4A37BB-52DE-41F2-DDA3-FE6EDE440853}"/>
              </a:ext>
            </a:extLst>
          </p:cNvPr>
          <p:cNvSpPr>
            <a:spLocks noGrp="1"/>
          </p:cNvSpPr>
          <p:nvPr>
            <p:ph sz="half" idx="28"/>
          </p:nvPr>
        </p:nvSpPr>
        <p:spPr>
          <a:xfrm>
            <a:off x="561427" y="3124961"/>
            <a:ext cx="2578828" cy="2761615"/>
          </a:xfrm>
        </p:spPr>
        <p:txBody>
          <a:bodyPr/>
          <a:lstStyle/>
          <a:p>
            <a:pPr marL="171450" indent="-171450">
              <a:buFont typeface="Arial" panose="020B0604020202020204" pitchFamily="34" charset="0"/>
              <a:buChar char="•"/>
            </a:pPr>
            <a:r>
              <a:rPr lang="pt-BR" noProof="1"/>
              <a:t>Rede totalmente conectda usada como aproximadora da </a:t>
            </a:r>
            <a:r>
              <a:rPr lang="pt-BR" noProof="1">
                <a:latin typeface="Graphik" panose="020B0503030202060203" pitchFamily="34" charset="0"/>
              </a:rPr>
              <a:t>solução u(x).</a:t>
            </a:r>
          </a:p>
          <a:p>
            <a:pPr marL="171450" indent="-171450">
              <a:buFont typeface="Arial" panose="020B0604020202020204" pitchFamily="34" charset="0"/>
              <a:buChar char="•"/>
            </a:pPr>
            <a:r>
              <a:rPr lang="pt-BR" noProof="1">
                <a:latin typeface="Graphik" panose="020B0503030202060203" pitchFamily="34" charset="0"/>
              </a:rPr>
              <a:t>Baseada no teorema da aproximação universal: redes profundas podem aproximas funções contínuas com precisão arbitrária.</a:t>
            </a:r>
          </a:p>
          <a:p>
            <a:pPr marL="171450" indent="-171450">
              <a:buFont typeface="Arial" panose="020B0604020202020204" pitchFamily="34" charset="0"/>
              <a:buChar char="•"/>
            </a:pPr>
            <a:r>
              <a:rPr lang="pt-BR" noProof="1">
                <a:latin typeface="Graphik" panose="020B0503030202060203" pitchFamily="34" charset="0"/>
              </a:rPr>
              <a:t>Mapeia parâmetros do problema → deslocamento estrutural</a:t>
            </a:r>
          </a:p>
        </p:txBody>
      </p:sp>
      <p:sp>
        <p:nvSpPr>
          <p:cNvPr id="5" name="Marcador de texto 4">
            <a:extLst>
              <a:ext uri="{FF2B5EF4-FFF2-40B4-BE49-F238E27FC236}">
                <a16:creationId xmlns:a16="http://schemas.microsoft.com/office/drawing/2014/main" id="{397F8256-0EA1-2C2C-320D-083A37963998}"/>
              </a:ext>
            </a:extLst>
          </p:cNvPr>
          <p:cNvSpPr>
            <a:spLocks noGrp="1"/>
          </p:cNvSpPr>
          <p:nvPr>
            <p:ph type="body" idx="34"/>
          </p:nvPr>
        </p:nvSpPr>
        <p:spPr>
          <a:xfrm>
            <a:off x="3403235" y="1844675"/>
            <a:ext cx="2578828" cy="457200"/>
          </a:xfrm>
        </p:spPr>
        <p:txBody>
          <a:bodyPr/>
          <a:lstStyle/>
          <a:p>
            <a:r>
              <a:rPr lang="pt-BR" noProof="1"/>
              <a:t>02</a:t>
            </a:r>
          </a:p>
        </p:txBody>
      </p:sp>
      <p:sp>
        <p:nvSpPr>
          <p:cNvPr id="9" name="Marcador de texto 8">
            <a:extLst>
              <a:ext uri="{FF2B5EF4-FFF2-40B4-BE49-F238E27FC236}">
                <a16:creationId xmlns:a16="http://schemas.microsoft.com/office/drawing/2014/main" id="{9E099419-D760-3401-219A-136F56FAD224}"/>
              </a:ext>
            </a:extLst>
          </p:cNvPr>
          <p:cNvSpPr>
            <a:spLocks noGrp="1"/>
          </p:cNvSpPr>
          <p:nvPr>
            <p:ph type="body" idx="35"/>
          </p:nvPr>
        </p:nvSpPr>
        <p:spPr>
          <a:xfrm>
            <a:off x="3403235" y="2301875"/>
            <a:ext cx="2578828" cy="822960"/>
          </a:xfrm>
        </p:spPr>
        <p:txBody>
          <a:bodyPr/>
          <a:lstStyle/>
          <a:p>
            <a:r>
              <a:rPr lang="pt-BR" noProof="1"/>
              <a:t>Treinamento Supervisionado</a:t>
            </a:r>
          </a:p>
        </p:txBody>
      </p:sp>
      <p:sp>
        <p:nvSpPr>
          <p:cNvPr id="3" name="Marcador de contenido 2">
            <a:extLst>
              <a:ext uri="{FF2B5EF4-FFF2-40B4-BE49-F238E27FC236}">
                <a16:creationId xmlns:a16="http://schemas.microsoft.com/office/drawing/2014/main" id="{B0338364-A2E9-3A88-D218-01CB97D8700E}"/>
              </a:ext>
            </a:extLst>
          </p:cNvPr>
          <p:cNvSpPr>
            <a:spLocks noGrp="1"/>
          </p:cNvSpPr>
          <p:nvPr>
            <p:ph sz="half" idx="36"/>
          </p:nvPr>
        </p:nvSpPr>
        <p:spPr>
          <a:xfrm>
            <a:off x="3403235" y="3124834"/>
            <a:ext cx="2578828" cy="2761615"/>
          </a:xfrm>
        </p:spPr>
        <p:txBody>
          <a:bodyPr/>
          <a:lstStyle/>
          <a:p>
            <a:pPr marL="171450" indent="-171450">
              <a:buFont typeface="Arial" panose="020B0604020202020204" pitchFamily="34" charset="0"/>
              <a:buChar char="•"/>
            </a:pPr>
            <a:r>
              <a:rPr lang="pt-BR" noProof="1"/>
              <a:t>Minimização do erro quadrático médio (MSE) entre a solução da rede e a solução VEM.</a:t>
            </a:r>
          </a:p>
          <a:p>
            <a:pPr marL="171450" indent="-171450">
              <a:buFont typeface="Arial" panose="020B0604020202020204" pitchFamily="34" charset="0"/>
              <a:buChar char="•"/>
            </a:pPr>
            <a:r>
              <a:rPr lang="pt-BR" noProof="1"/>
              <a:t>Atualização via backpropagation + AdamW + scheduler</a:t>
            </a:r>
          </a:p>
        </p:txBody>
      </p:sp>
      <p:sp>
        <p:nvSpPr>
          <p:cNvPr id="10" name="Marcador de texto 9">
            <a:extLst>
              <a:ext uri="{FF2B5EF4-FFF2-40B4-BE49-F238E27FC236}">
                <a16:creationId xmlns:a16="http://schemas.microsoft.com/office/drawing/2014/main" id="{0AB65D9B-0AF1-1600-C4C0-2AD7C01DD124}"/>
              </a:ext>
            </a:extLst>
          </p:cNvPr>
          <p:cNvSpPr>
            <a:spLocks noGrp="1"/>
          </p:cNvSpPr>
          <p:nvPr>
            <p:ph type="body" idx="37"/>
          </p:nvPr>
        </p:nvSpPr>
        <p:spPr>
          <a:xfrm>
            <a:off x="6245043" y="1844675"/>
            <a:ext cx="2578828" cy="457200"/>
          </a:xfrm>
        </p:spPr>
        <p:txBody>
          <a:bodyPr/>
          <a:lstStyle/>
          <a:p>
            <a:r>
              <a:rPr lang="pt-BR" noProof="1"/>
              <a:t>03</a:t>
            </a:r>
          </a:p>
        </p:txBody>
      </p:sp>
      <p:sp>
        <p:nvSpPr>
          <p:cNvPr id="11" name="Marcador de texto 10">
            <a:extLst>
              <a:ext uri="{FF2B5EF4-FFF2-40B4-BE49-F238E27FC236}">
                <a16:creationId xmlns:a16="http://schemas.microsoft.com/office/drawing/2014/main" id="{0AA0F07D-492B-E851-E561-4F2914385D4E}"/>
              </a:ext>
            </a:extLst>
          </p:cNvPr>
          <p:cNvSpPr>
            <a:spLocks noGrp="1"/>
          </p:cNvSpPr>
          <p:nvPr>
            <p:ph type="body" idx="38"/>
          </p:nvPr>
        </p:nvSpPr>
        <p:spPr>
          <a:xfrm>
            <a:off x="6245043" y="2301875"/>
            <a:ext cx="2578828" cy="822960"/>
          </a:xfrm>
        </p:spPr>
        <p:txBody>
          <a:bodyPr/>
          <a:lstStyle/>
          <a:p>
            <a:r>
              <a:rPr lang="pt-BR" noProof="1"/>
              <a:t>Sobolev Training</a:t>
            </a:r>
          </a:p>
        </p:txBody>
      </p:sp>
      <p:sp>
        <p:nvSpPr>
          <p:cNvPr id="12" name="Marcador de contenido 11">
            <a:extLst>
              <a:ext uri="{FF2B5EF4-FFF2-40B4-BE49-F238E27FC236}">
                <a16:creationId xmlns:a16="http://schemas.microsoft.com/office/drawing/2014/main" id="{AF24BEF4-6627-4217-766C-B436A885412A}"/>
              </a:ext>
            </a:extLst>
          </p:cNvPr>
          <p:cNvSpPr>
            <a:spLocks noGrp="1"/>
          </p:cNvSpPr>
          <p:nvPr>
            <p:ph sz="half" idx="39"/>
          </p:nvPr>
        </p:nvSpPr>
        <p:spPr>
          <a:xfrm>
            <a:off x="6245043" y="3124834"/>
            <a:ext cx="2578828" cy="2761615"/>
          </a:xfrm>
        </p:spPr>
        <p:txBody>
          <a:bodyPr/>
          <a:lstStyle/>
          <a:p>
            <a:pPr lvl="0"/>
            <a:r>
              <a:rPr lang="pt-BR" noProof="1"/>
              <a:t>Rede também aprende derivadas da solução, aumentando suavidade e consistência física</a:t>
            </a:r>
          </a:p>
          <a:p>
            <a:endParaRPr lang="pt-BR" noProof="1"/>
          </a:p>
        </p:txBody>
      </p:sp>
      <p:sp>
        <p:nvSpPr>
          <p:cNvPr id="13" name="Marcador de texto 12">
            <a:extLst>
              <a:ext uri="{FF2B5EF4-FFF2-40B4-BE49-F238E27FC236}">
                <a16:creationId xmlns:a16="http://schemas.microsoft.com/office/drawing/2014/main" id="{01AB2ACE-C832-F366-96F3-C46856AF97CF}"/>
              </a:ext>
            </a:extLst>
          </p:cNvPr>
          <p:cNvSpPr>
            <a:spLocks noGrp="1"/>
          </p:cNvSpPr>
          <p:nvPr>
            <p:ph type="body" idx="40"/>
          </p:nvPr>
        </p:nvSpPr>
        <p:spPr>
          <a:xfrm>
            <a:off x="9086850" y="1844675"/>
            <a:ext cx="2578828" cy="457200"/>
          </a:xfrm>
        </p:spPr>
        <p:txBody>
          <a:bodyPr/>
          <a:lstStyle/>
          <a:p>
            <a:r>
              <a:rPr lang="pt-BR" noProof="1"/>
              <a:t>04</a:t>
            </a:r>
          </a:p>
        </p:txBody>
      </p:sp>
      <p:sp>
        <p:nvSpPr>
          <p:cNvPr id="14" name="Marcador de texto 13">
            <a:extLst>
              <a:ext uri="{FF2B5EF4-FFF2-40B4-BE49-F238E27FC236}">
                <a16:creationId xmlns:a16="http://schemas.microsoft.com/office/drawing/2014/main" id="{735BCF4D-4BE5-CB4D-D4A3-4ECCB0D0F28F}"/>
              </a:ext>
            </a:extLst>
          </p:cNvPr>
          <p:cNvSpPr>
            <a:spLocks noGrp="1"/>
          </p:cNvSpPr>
          <p:nvPr>
            <p:ph type="body" idx="41"/>
          </p:nvPr>
        </p:nvSpPr>
        <p:spPr>
          <a:xfrm>
            <a:off x="9086850" y="2301875"/>
            <a:ext cx="2578828" cy="822960"/>
          </a:xfrm>
        </p:spPr>
        <p:txBody>
          <a:bodyPr/>
          <a:lstStyle/>
          <a:p>
            <a:r>
              <a:rPr lang="pt-BR" noProof="1"/>
              <a:t>Quantificação da Incerteza – MC Dropout</a:t>
            </a:r>
          </a:p>
        </p:txBody>
      </p:sp>
      <p:sp>
        <p:nvSpPr>
          <p:cNvPr id="15" name="Marcador de contenido 14">
            <a:extLst>
              <a:ext uri="{FF2B5EF4-FFF2-40B4-BE49-F238E27FC236}">
                <a16:creationId xmlns:a16="http://schemas.microsoft.com/office/drawing/2014/main" id="{4AF1B25B-7D31-8177-7660-F4271F25C1E2}"/>
              </a:ext>
            </a:extLst>
          </p:cNvPr>
          <p:cNvSpPr>
            <a:spLocks noGrp="1"/>
          </p:cNvSpPr>
          <p:nvPr>
            <p:ph sz="half" idx="42"/>
          </p:nvPr>
        </p:nvSpPr>
        <p:spPr>
          <a:xfrm>
            <a:off x="9086850" y="3124834"/>
            <a:ext cx="2578828" cy="2761615"/>
          </a:xfrm>
        </p:spPr>
        <p:txBody>
          <a:bodyPr/>
          <a:lstStyle/>
          <a:p>
            <a:pPr marL="171450" lvl="0" indent="-171450">
              <a:buFont typeface="Arial" panose="020B0604020202020204" pitchFamily="34" charset="0"/>
              <a:buChar char="•"/>
            </a:pPr>
            <a:r>
              <a:rPr lang="pt-BR" noProof="1"/>
              <a:t>Dropout ativado na inferência gera múltiplas amostras da predição.</a:t>
            </a:r>
          </a:p>
          <a:p>
            <a:pPr marL="171450" lvl="0" indent="-171450">
              <a:buFont typeface="Arial" panose="020B0604020202020204" pitchFamily="34" charset="0"/>
              <a:buChar char="•"/>
            </a:pPr>
            <a:r>
              <a:rPr lang="pt-BR" noProof="1"/>
              <a:t>Média </a:t>
            </a:r>
            <a:r>
              <a:rPr lang="pt-BR" noProof="1">
                <a:latin typeface="Graphik" panose="020B0503030202060203" pitchFamily="34" charset="0"/>
              </a:rPr>
              <a:t>→</a:t>
            </a:r>
            <a:r>
              <a:rPr lang="pt-BR" noProof="1"/>
              <a:t> solução estimada; desvio-padrão </a:t>
            </a:r>
            <a:r>
              <a:rPr lang="pt-BR" noProof="1">
                <a:latin typeface="Graphik" panose="020B0503030202060203" pitchFamily="34" charset="0"/>
              </a:rPr>
              <a:t>→</a:t>
            </a:r>
            <a:r>
              <a:rPr lang="pt-BR" noProof="1"/>
              <a:t> incerteza</a:t>
            </a:r>
          </a:p>
          <a:p>
            <a:pPr marL="171450" lvl="0" indent="-171450">
              <a:buFont typeface="Arial" panose="020B0604020202020204" pitchFamily="34" charset="0"/>
              <a:buChar char="•"/>
            </a:pPr>
            <a:r>
              <a:rPr lang="pt-BR" noProof="1"/>
              <a:t>Usado para identificar regiões onde a rede é menos confiável</a:t>
            </a:r>
          </a:p>
          <a:p>
            <a:pPr marL="171450" indent="-171450">
              <a:buFont typeface="Arial" panose="020B0604020202020204" pitchFamily="34" charset="0"/>
              <a:buChar char="•"/>
            </a:pPr>
            <a:endParaRPr lang="pt-BR" noProof="1"/>
          </a:p>
        </p:txBody>
      </p:sp>
    </p:spTree>
    <p:extLst>
      <p:ext uri="{BB962C8B-B14F-4D97-AF65-F5344CB8AC3E}">
        <p14:creationId xmlns:p14="http://schemas.microsoft.com/office/powerpoint/2010/main" val="42293341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9CFC01-6C2F-2A60-FEC8-5D1761D718D0}"/>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1BFE674-0879-45A7-2783-8CDC96078A34}"/>
              </a:ext>
            </a:extLst>
          </p:cNvPr>
          <p:cNvGraphicFramePr>
            <a:graphicFrameLocks noChangeAspect="1"/>
          </p:cNvGraphicFramePr>
          <p:nvPr>
            <p:custDataLst>
              <p:tags r:id="rId1"/>
            </p:custDataLst>
            <p:extLst>
              <p:ext uri="{D42A27DB-BD31-4B8C-83A1-F6EECF244321}">
                <p14:modId xmlns:p14="http://schemas.microsoft.com/office/powerpoint/2010/main" val="38967182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2" name="think-cell data - do not delete" hidden="1">
                        <a:extLst>
                          <a:ext uri="{FF2B5EF4-FFF2-40B4-BE49-F238E27FC236}">
                            <a16:creationId xmlns:a16="http://schemas.microsoft.com/office/drawing/2014/main" id="{31BFE674-0879-45A7-2783-8CDC96078A3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2C9EA956-97A5-916B-6BE0-016CFCC7DBDE}"/>
              </a:ext>
            </a:extLst>
          </p:cNvPr>
          <p:cNvSpPr>
            <a:spLocks noGrp="1"/>
          </p:cNvSpPr>
          <p:nvPr>
            <p:ph type="title"/>
          </p:nvPr>
        </p:nvSpPr>
        <p:spPr>
          <a:xfrm>
            <a:off x="574352" y="4414043"/>
            <a:ext cx="4205323" cy="393954"/>
          </a:xfrm>
        </p:spPr>
        <p:txBody>
          <a:bodyPr vert="horz"/>
          <a:lstStyle/>
          <a:p>
            <a:r>
              <a:rPr lang="pt-BR" noProof="1"/>
              <a:t>Metodologia</a:t>
            </a:r>
          </a:p>
        </p:txBody>
      </p:sp>
      <p:sp>
        <p:nvSpPr>
          <p:cNvPr id="3" name="Text Placeholder 2">
            <a:extLst>
              <a:ext uri="{FF2B5EF4-FFF2-40B4-BE49-F238E27FC236}">
                <a16:creationId xmlns:a16="http://schemas.microsoft.com/office/drawing/2014/main" id="{347A8B0C-BD8E-4E80-B5B8-D3979CA0CF31}"/>
              </a:ext>
            </a:extLst>
          </p:cNvPr>
          <p:cNvSpPr>
            <a:spLocks noGrp="1"/>
          </p:cNvSpPr>
          <p:nvPr>
            <p:ph type="body" sz="quarter" idx="11"/>
          </p:nvPr>
        </p:nvSpPr>
        <p:spPr>
          <a:xfrm>
            <a:off x="574352" y="2576447"/>
            <a:ext cx="1429879" cy="1231106"/>
          </a:xfrm>
        </p:spPr>
        <p:txBody>
          <a:bodyPr/>
          <a:lstStyle/>
          <a:p>
            <a:r>
              <a:rPr lang="pt-BR" noProof="1"/>
              <a:t>04</a:t>
            </a:r>
          </a:p>
        </p:txBody>
      </p:sp>
      <p:sp>
        <p:nvSpPr>
          <p:cNvPr id="4" name="Marcador de texto 3">
            <a:extLst>
              <a:ext uri="{FF2B5EF4-FFF2-40B4-BE49-F238E27FC236}">
                <a16:creationId xmlns:a16="http://schemas.microsoft.com/office/drawing/2014/main" id="{20C4260D-8B69-D126-0558-66E38896715F}"/>
              </a:ext>
            </a:extLst>
          </p:cNvPr>
          <p:cNvSpPr>
            <a:spLocks noGrp="1"/>
          </p:cNvSpPr>
          <p:nvPr>
            <p:ph type="body" sz="quarter" idx="19"/>
          </p:nvPr>
        </p:nvSpPr>
        <p:spPr>
          <a:xfrm>
            <a:off x="574352" y="5080829"/>
            <a:ext cx="4205324" cy="787909"/>
          </a:xfrm>
        </p:spPr>
        <p:txBody>
          <a:bodyPr/>
          <a:lstStyle/>
          <a:p>
            <a:r>
              <a:rPr lang="pt-BR" noProof="1"/>
              <a:t>Estrutura, etapas e estratégias adotadas</a:t>
            </a:r>
          </a:p>
        </p:txBody>
      </p:sp>
      <p:pic>
        <p:nvPicPr>
          <p:cNvPr id="13" name="Picture Placeholder 12">
            <a:extLst>
              <a:ext uri="{FF2B5EF4-FFF2-40B4-BE49-F238E27FC236}">
                <a16:creationId xmlns:a16="http://schemas.microsoft.com/office/drawing/2014/main" id="{7267349D-7C46-965F-8567-CAF49C7E9CDF}"/>
              </a:ext>
              <a:ext uri="{C183D7F6-B498-43B3-948B-1728B52AA6E4}">
                <adec:decorative xmlns:adec="http://schemas.microsoft.com/office/drawing/2017/decorative" val="1"/>
              </a:ext>
            </a:extLst>
          </p:cNvPr>
          <p:cNvPicPr>
            <a:picLocks noGrp="1" noChangeAspect="1"/>
          </p:cNvPicPr>
          <p:nvPr>
            <p:ph type="pic" sz="quarter" idx="13"/>
          </p:nvPr>
        </p:nvPicPr>
        <p:blipFill>
          <a:blip r:embed="rId6"/>
          <a:srcRect t="7" b="7"/>
          <a:stretch/>
        </p:blipFill>
        <p:spPr>
          <a:xfrm>
            <a:off x="5362807" y="549275"/>
            <a:ext cx="6278331" cy="5759449"/>
          </a:xfrm>
        </p:spPr>
      </p:pic>
    </p:spTree>
    <p:extLst>
      <p:ext uri="{BB962C8B-B14F-4D97-AF65-F5344CB8AC3E}">
        <p14:creationId xmlns:p14="http://schemas.microsoft.com/office/powerpoint/2010/main" val="34914603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B1AB75-6F26-9FDD-654A-11CA852CA943}"/>
            </a:ext>
          </a:extLst>
        </p:cNvPr>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A2D62BE2-8B4D-3DB3-2AA2-9142C4DCFA71}"/>
              </a:ext>
            </a:extLst>
          </p:cNvPr>
          <p:cNvGraphicFramePr>
            <a:graphicFrameLocks noChangeAspect="1"/>
          </p:cNvGraphicFramePr>
          <p:nvPr>
            <p:custDataLst>
              <p:tags r:id="rId1"/>
            </p:custDataLst>
            <p:extLst>
              <p:ext uri="{D42A27DB-BD31-4B8C-83A1-F6EECF244321}">
                <p14:modId xmlns:p14="http://schemas.microsoft.com/office/powerpoint/2010/main" val="1168364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16" name="think-cell data - do not delete" hidden="1">
                        <a:extLst>
                          <a:ext uri="{FF2B5EF4-FFF2-40B4-BE49-F238E27FC236}">
                            <a16:creationId xmlns:a16="http://schemas.microsoft.com/office/drawing/2014/main" id="{A2D62BE2-8B4D-3DB3-2AA2-9142C4DCFA7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Title 28">
            <a:extLst>
              <a:ext uri="{FF2B5EF4-FFF2-40B4-BE49-F238E27FC236}">
                <a16:creationId xmlns:a16="http://schemas.microsoft.com/office/drawing/2014/main" id="{36B703BB-05AB-E97B-B02E-8E347B77B312}"/>
              </a:ext>
            </a:extLst>
          </p:cNvPr>
          <p:cNvSpPr>
            <a:spLocks noGrp="1"/>
          </p:cNvSpPr>
          <p:nvPr>
            <p:ph type="title"/>
          </p:nvPr>
        </p:nvSpPr>
        <p:spPr>
          <a:xfrm>
            <a:off x="556467" y="572600"/>
            <a:ext cx="11109212" cy="393954"/>
          </a:xfrm>
        </p:spPr>
        <p:txBody>
          <a:bodyPr vert="horz"/>
          <a:lstStyle/>
          <a:p>
            <a:r>
              <a:rPr lang="pt-BR" noProof="1"/>
              <a:t>Metodologia do Framework Híbrido VEM + DL</a:t>
            </a:r>
          </a:p>
        </p:txBody>
      </p:sp>
      <p:sp>
        <p:nvSpPr>
          <p:cNvPr id="2" name="Marcador de texto 1">
            <a:extLst>
              <a:ext uri="{FF2B5EF4-FFF2-40B4-BE49-F238E27FC236}">
                <a16:creationId xmlns:a16="http://schemas.microsoft.com/office/drawing/2014/main" id="{B07BC5B8-D713-FF63-A6D2-81EF79C7AD33}"/>
              </a:ext>
            </a:extLst>
          </p:cNvPr>
          <p:cNvSpPr>
            <a:spLocks noGrp="1"/>
          </p:cNvSpPr>
          <p:nvPr>
            <p:ph type="body" sz="quarter" idx="26"/>
          </p:nvPr>
        </p:nvSpPr>
        <p:spPr>
          <a:xfrm>
            <a:off x="563411" y="1109663"/>
            <a:ext cx="11077727" cy="384048"/>
          </a:xfrm>
        </p:spPr>
        <p:txBody>
          <a:bodyPr/>
          <a:lstStyle/>
          <a:p>
            <a:r>
              <a:rPr lang="pt-BR" noProof="1">
                <a:solidFill>
                  <a:schemeClr val="bg2"/>
                </a:solidFill>
              </a:rPr>
              <a:t>Da geração de dados à inferência com incerteza</a:t>
            </a:r>
          </a:p>
        </p:txBody>
      </p:sp>
      <p:sp>
        <p:nvSpPr>
          <p:cNvPr id="4" name="Marcador de texto 3">
            <a:extLst>
              <a:ext uri="{FF2B5EF4-FFF2-40B4-BE49-F238E27FC236}">
                <a16:creationId xmlns:a16="http://schemas.microsoft.com/office/drawing/2014/main" id="{4EA1E1DF-3F6C-7080-CAFF-85E5B858D931}"/>
              </a:ext>
            </a:extLst>
          </p:cNvPr>
          <p:cNvSpPr>
            <a:spLocks noGrp="1"/>
          </p:cNvSpPr>
          <p:nvPr>
            <p:ph type="body" idx="18"/>
          </p:nvPr>
        </p:nvSpPr>
        <p:spPr>
          <a:xfrm>
            <a:off x="561427" y="1844800"/>
            <a:ext cx="2578828" cy="457200"/>
          </a:xfrm>
        </p:spPr>
        <p:txBody>
          <a:bodyPr/>
          <a:lstStyle/>
          <a:p>
            <a:r>
              <a:rPr lang="pt-BR" noProof="1"/>
              <a:t>01</a:t>
            </a:r>
          </a:p>
        </p:txBody>
      </p:sp>
      <p:sp>
        <p:nvSpPr>
          <p:cNvPr id="8" name="Marcador de texto 7">
            <a:extLst>
              <a:ext uri="{FF2B5EF4-FFF2-40B4-BE49-F238E27FC236}">
                <a16:creationId xmlns:a16="http://schemas.microsoft.com/office/drawing/2014/main" id="{FB5D9929-ABCF-ABE1-7807-8466AE093F2B}"/>
              </a:ext>
            </a:extLst>
          </p:cNvPr>
          <p:cNvSpPr>
            <a:spLocks noGrp="1"/>
          </p:cNvSpPr>
          <p:nvPr>
            <p:ph type="body" idx="1"/>
          </p:nvPr>
        </p:nvSpPr>
        <p:spPr>
          <a:xfrm>
            <a:off x="561427" y="2302000"/>
            <a:ext cx="2578828" cy="822960"/>
          </a:xfrm>
        </p:spPr>
        <p:txBody>
          <a:bodyPr/>
          <a:lstStyle/>
          <a:p>
            <a:r>
              <a:rPr lang="pt-BR" dirty="0"/>
              <a:t>Geração de Dados via VEM</a:t>
            </a:r>
            <a:endParaRPr lang="pt-BR" noProof="1"/>
          </a:p>
        </p:txBody>
      </p:sp>
      <mc:AlternateContent xmlns:mc="http://schemas.openxmlformats.org/markup-compatibility/2006">
        <mc:Choice xmlns:a14="http://schemas.microsoft.com/office/drawing/2010/main" Requires="a14">
          <p:sp>
            <p:nvSpPr>
              <p:cNvPr id="7" name="Marcador de contenido 6">
                <a:extLst>
                  <a:ext uri="{FF2B5EF4-FFF2-40B4-BE49-F238E27FC236}">
                    <a16:creationId xmlns:a16="http://schemas.microsoft.com/office/drawing/2014/main" id="{731FFAC6-FBB2-456C-6E90-350E7949E599}"/>
                  </a:ext>
                </a:extLst>
              </p:cNvPr>
              <p:cNvSpPr>
                <a:spLocks noGrp="1"/>
              </p:cNvSpPr>
              <p:nvPr>
                <p:ph sz="half" idx="28"/>
              </p:nvPr>
            </p:nvSpPr>
            <p:spPr>
              <a:xfrm>
                <a:off x="561427" y="3124961"/>
                <a:ext cx="2578828" cy="2761615"/>
              </a:xfrm>
            </p:spPr>
            <p:txBody>
              <a:bodyPr/>
              <a:lstStyle/>
              <a:p>
                <a:pPr marL="171450" indent="-171450">
                  <a:buFont typeface="Arial" panose="020B0604020202020204" pitchFamily="34" charset="0"/>
                  <a:buChar char="•"/>
                </a:pPr>
                <a:r>
                  <a:rPr lang="pt-BR" noProof="1">
                    <a:latin typeface="Graphik" panose="020B0503030202060203" pitchFamily="34" charset="0"/>
                  </a:rPr>
                  <a:t>Solver VEM 1D parametrizado gerando pares</a:t>
                </a:r>
                <a:r>
                  <a:rPr lang="el-GR" dirty="0"/>
                  <a:t>(μ,</a:t>
                </a:r>
                <a14:m>
                  <m:oMath xmlns:m="http://schemas.openxmlformats.org/officeDocument/2006/math">
                    <m:sSub>
                      <m:sSubPr>
                        <m:ctrlPr>
                          <a:rPr lang="en-US" i="1" smtClean="0">
                            <a:latin typeface="Cambria Math" panose="02040503050406030204" pitchFamily="18" charset="0"/>
                          </a:rPr>
                        </m:ctrlPr>
                      </m:sSubPr>
                      <m:e>
                        <m:r>
                          <a:rPr lang="pt-BR" b="0" i="1" smtClean="0">
                            <a:latin typeface="Cambria Math" panose="02040503050406030204" pitchFamily="18" charset="0"/>
                          </a:rPr>
                          <m:t>𝑢</m:t>
                        </m:r>
                      </m:e>
                      <m:sub>
                        <m:r>
                          <a:rPr lang="pt-BR" b="0" i="1" smtClean="0">
                            <a:latin typeface="Cambria Math" panose="02040503050406030204" pitchFamily="18" charset="0"/>
                          </a:rPr>
                          <m:t>𝑉𝐸𝑀</m:t>
                        </m:r>
                      </m:sub>
                    </m:sSub>
                  </m:oMath>
                </a14:m>
                <a:r>
                  <a:rPr lang="en-US" dirty="0"/>
                  <a:t>​).</a:t>
                </a:r>
                <a:endParaRPr lang="pt-BR" noProof="1">
                  <a:latin typeface="Graphik" panose="020B0503030202060203" pitchFamily="34" charset="0"/>
                </a:endParaRPr>
              </a:p>
              <a:p>
                <a:pPr marL="171450" indent="-171450">
                  <a:buFont typeface="Arial" panose="020B0604020202020204" pitchFamily="34" charset="0"/>
                  <a:buChar char="•"/>
                </a:pPr>
                <a:r>
                  <a:rPr lang="pt-BR" dirty="0"/>
                  <a:t>Amostragem eficiente dos parâmetros com LHS.</a:t>
                </a:r>
              </a:p>
              <a:p>
                <a:pPr marL="171450" indent="-171450">
                  <a:buFont typeface="Arial" panose="020B0604020202020204" pitchFamily="34" charset="0"/>
                  <a:buChar char="•"/>
                </a:pPr>
                <a:r>
                  <a:rPr lang="pt-BR" dirty="0"/>
                  <a:t>Malha, propriedades do material e carregamento variam conforme o problema.</a:t>
                </a:r>
              </a:p>
              <a:p>
                <a:pPr marL="171450" indent="-171450">
                  <a:buFont typeface="Arial" panose="020B0604020202020204" pitchFamily="34" charset="0"/>
                  <a:buChar char="•"/>
                </a:pPr>
                <a:endParaRPr lang="pt-BR" noProof="1">
                  <a:latin typeface="Graphik" panose="020B0503030202060203" pitchFamily="34" charset="0"/>
                </a:endParaRPr>
              </a:p>
              <a:p>
                <a:pPr marL="171450" indent="-171450">
                  <a:buFont typeface="Arial" panose="020B0604020202020204" pitchFamily="34" charset="0"/>
                  <a:buChar char="•"/>
                </a:pPr>
                <a:endParaRPr lang="pt-BR" noProof="1">
                  <a:latin typeface="Graphik" panose="020B0503030202060203" pitchFamily="34" charset="0"/>
                </a:endParaRPr>
              </a:p>
              <a:p>
                <a:pPr marL="171450" indent="-171450">
                  <a:buFont typeface="Arial" panose="020B0604020202020204" pitchFamily="34" charset="0"/>
                  <a:buChar char="•"/>
                </a:pPr>
                <a:endParaRPr lang="pt-BR" noProof="1">
                  <a:latin typeface="Graphik" panose="020B0503030202060203" pitchFamily="34" charset="0"/>
                </a:endParaRPr>
              </a:p>
            </p:txBody>
          </p:sp>
        </mc:Choice>
        <mc:Fallback>
          <p:sp>
            <p:nvSpPr>
              <p:cNvPr id="7" name="Marcador de contenido 6">
                <a:extLst>
                  <a:ext uri="{FF2B5EF4-FFF2-40B4-BE49-F238E27FC236}">
                    <a16:creationId xmlns:a16="http://schemas.microsoft.com/office/drawing/2014/main" id="{731FFAC6-FBB2-456C-6E90-350E7949E599}"/>
                  </a:ext>
                </a:extLst>
              </p:cNvPr>
              <p:cNvSpPr>
                <a:spLocks noGrp="1" noRot="1" noChangeAspect="1" noMove="1" noResize="1" noEditPoints="1" noAdjustHandles="1" noChangeArrowheads="1" noChangeShapeType="1" noTextEdit="1"/>
              </p:cNvSpPr>
              <p:nvPr>
                <p:ph sz="half" idx="28"/>
              </p:nvPr>
            </p:nvSpPr>
            <p:spPr>
              <a:xfrm>
                <a:off x="561427" y="3124961"/>
                <a:ext cx="2578828" cy="2761615"/>
              </a:xfrm>
              <a:blipFill>
                <a:blip r:embed="rId6"/>
                <a:stretch>
                  <a:fillRect l="-3310" t="-1766" r="-3546"/>
                </a:stretch>
              </a:blipFill>
            </p:spPr>
            <p:txBody>
              <a:bodyPr/>
              <a:lstStyle/>
              <a:p>
                <a:r>
                  <a:rPr lang="pt-BR">
                    <a:noFill/>
                  </a:rPr>
                  <a:t> </a:t>
                </a:r>
              </a:p>
            </p:txBody>
          </p:sp>
        </mc:Fallback>
      </mc:AlternateContent>
      <p:sp>
        <p:nvSpPr>
          <p:cNvPr id="5" name="Marcador de texto 4">
            <a:extLst>
              <a:ext uri="{FF2B5EF4-FFF2-40B4-BE49-F238E27FC236}">
                <a16:creationId xmlns:a16="http://schemas.microsoft.com/office/drawing/2014/main" id="{E9988B6E-150A-07BA-F642-A7D44362BB9A}"/>
              </a:ext>
            </a:extLst>
          </p:cNvPr>
          <p:cNvSpPr>
            <a:spLocks noGrp="1"/>
          </p:cNvSpPr>
          <p:nvPr>
            <p:ph type="body" idx="34"/>
          </p:nvPr>
        </p:nvSpPr>
        <p:spPr>
          <a:xfrm>
            <a:off x="3403235" y="1844675"/>
            <a:ext cx="2578828" cy="457200"/>
          </a:xfrm>
        </p:spPr>
        <p:txBody>
          <a:bodyPr/>
          <a:lstStyle/>
          <a:p>
            <a:r>
              <a:rPr lang="pt-BR" noProof="1"/>
              <a:t>02</a:t>
            </a:r>
          </a:p>
        </p:txBody>
      </p:sp>
      <p:sp>
        <p:nvSpPr>
          <p:cNvPr id="9" name="Marcador de texto 8">
            <a:extLst>
              <a:ext uri="{FF2B5EF4-FFF2-40B4-BE49-F238E27FC236}">
                <a16:creationId xmlns:a16="http://schemas.microsoft.com/office/drawing/2014/main" id="{B03CDA3C-C3DF-FD4C-054C-CE01F036E63A}"/>
              </a:ext>
            </a:extLst>
          </p:cNvPr>
          <p:cNvSpPr>
            <a:spLocks noGrp="1"/>
          </p:cNvSpPr>
          <p:nvPr>
            <p:ph type="body" idx="35"/>
          </p:nvPr>
        </p:nvSpPr>
        <p:spPr>
          <a:xfrm>
            <a:off x="3403235" y="2301875"/>
            <a:ext cx="2578828" cy="822960"/>
          </a:xfrm>
        </p:spPr>
        <p:txBody>
          <a:bodyPr/>
          <a:lstStyle/>
          <a:p>
            <a:r>
              <a:rPr lang="pt-BR" dirty="0"/>
              <a:t>Treinamento da Rede Neural</a:t>
            </a:r>
          </a:p>
        </p:txBody>
      </p:sp>
      <p:sp>
        <p:nvSpPr>
          <p:cNvPr id="3" name="Marcador de contenido 2">
            <a:extLst>
              <a:ext uri="{FF2B5EF4-FFF2-40B4-BE49-F238E27FC236}">
                <a16:creationId xmlns:a16="http://schemas.microsoft.com/office/drawing/2014/main" id="{1987AA8A-AD8E-33E3-A43A-0CF52EBF12A6}"/>
              </a:ext>
            </a:extLst>
          </p:cNvPr>
          <p:cNvSpPr>
            <a:spLocks noGrp="1"/>
          </p:cNvSpPr>
          <p:nvPr>
            <p:ph sz="half" idx="36"/>
          </p:nvPr>
        </p:nvSpPr>
        <p:spPr>
          <a:xfrm>
            <a:off x="3403235" y="3124834"/>
            <a:ext cx="2578828" cy="2761615"/>
          </a:xfrm>
        </p:spPr>
        <p:txBody>
          <a:bodyPr/>
          <a:lstStyle/>
          <a:p>
            <a:pPr marL="171450" indent="-171450">
              <a:buFont typeface="Arial" panose="020B0604020202020204" pitchFamily="34" charset="0"/>
              <a:buChar char="•"/>
            </a:pPr>
            <a:r>
              <a:rPr lang="pt-BR" noProof="1"/>
              <a:t>Entrada: parâmetros do problema.</a:t>
            </a:r>
          </a:p>
          <a:p>
            <a:pPr marL="171450" indent="-171450">
              <a:buFont typeface="Arial" panose="020B0604020202020204" pitchFamily="34" charset="0"/>
              <a:buChar char="•"/>
            </a:pPr>
            <a:r>
              <a:rPr lang="pt-BR" noProof="1"/>
              <a:t>Saída: campo de deslocamentos.</a:t>
            </a:r>
          </a:p>
          <a:p>
            <a:pPr marL="171450" indent="-171450">
              <a:buFont typeface="Arial" panose="020B0604020202020204" pitchFamily="34" charset="0"/>
              <a:buChar char="•"/>
            </a:pPr>
            <a:r>
              <a:rPr lang="pt-BR" noProof="1"/>
              <a:t>Função de perda baseada em MSE (+ Sobolev, quando usado).</a:t>
            </a:r>
          </a:p>
          <a:p>
            <a:pPr marL="171450" indent="-171450">
              <a:buFont typeface="Arial" panose="020B0604020202020204" pitchFamily="34" charset="0"/>
              <a:buChar char="•"/>
            </a:pPr>
            <a:r>
              <a:rPr lang="pt-BR" noProof="1"/>
              <a:t>Otimização de hiperparâmetros com ASHA</a:t>
            </a:r>
          </a:p>
        </p:txBody>
      </p:sp>
      <p:sp>
        <p:nvSpPr>
          <p:cNvPr id="10" name="Marcador de texto 9">
            <a:extLst>
              <a:ext uri="{FF2B5EF4-FFF2-40B4-BE49-F238E27FC236}">
                <a16:creationId xmlns:a16="http://schemas.microsoft.com/office/drawing/2014/main" id="{D9D54961-43FE-9F40-04E7-5FE0A64395C8}"/>
              </a:ext>
            </a:extLst>
          </p:cNvPr>
          <p:cNvSpPr>
            <a:spLocks noGrp="1"/>
          </p:cNvSpPr>
          <p:nvPr>
            <p:ph type="body" idx="37"/>
          </p:nvPr>
        </p:nvSpPr>
        <p:spPr>
          <a:xfrm>
            <a:off x="6245043" y="1844675"/>
            <a:ext cx="2578828" cy="457200"/>
          </a:xfrm>
        </p:spPr>
        <p:txBody>
          <a:bodyPr/>
          <a:lstStyle/>
          <a:p>
            <a:r>
              <a:rPr lang="pt-BR" noProof="1"/>
              <a:t>03</a:t>
            </a:r>
          </a:p>
        </p:txBody>
      </p:sp>
      <p:sp>
        <p:nvSpPr>
          <p:cNvPr id="11" name="Marcador de texto 10">
            <a:extLst>
              <a:ext uri="{FF2B5EF4-FFF2-40B4-BE49-F238E27FC236}">
                <a16:creationId xmlns:a16="http://schemas.microsoft.com/office/drawing/2014/main" id="{C419999E-DD7C-1CA3-CE29-AC0FBF1A3CBB}"/>
              </a:ext>
            </a:extLst>
          </p:cNvPr>
          <p:cNvSpPr>
            <a:spLocks noGrp="1"/>
          </p:cNvSpPr>
          <p:nvPr>
            <p:ph type="body" idx="38"/>
          </p:nvPr>
        </p:nvSpPr>
        <p:spPr>
          <a:xfrm>
            <a:off x="6245043" y="2301875"/>
            <a:ext cx="2578828" cy="822960"/>
          </a:xfrm>
        </p:spPr>
        <p:txBody>
          <a:bodyPr/>
          <a:lstStyle/>
          <a:p>
            <a:r>
              <a:rPr lang="pt-BR" dirty="0"/>
              <a:t>Quantificação de Incerteza (MC </a:t>
            </a:r>
            <a:r>
              <a:rPr lang="pt-BR" dirty="0" err="1"/>
              <a:t>Dropout</a:t>
            </a:r>
            <a:r>
              <a:rPr lang="pt-BR" dirty="0"/>
              <a:t>)</a:t>
            </a:r>
            <a:endParaRPr lang="pt-BR" noProof="1"/>
          </a:p>
        </p:txBody>
      </p:sp>
      <p:sp>
        <p:nvSpPr>
          <p:cNvPr id="12" name="Marcador de contenido 11">
            <a:extLst>
              <a:ext uri="{FF2B5EF4-FFF2-40B4-BE49-F238E27FC236}">
                <a16:creationId xmlns:a16="http://schemas.microsoft.com/office/drawing/2014/main" id="{26ABA084-031A-CA58-E0A8-F17B74BD6C90}"/>
              </a:ext>
            </a:extLst>
          </p:cNvPr>
          <p:cNvSpPr>
            <a:spLocks noGrp="1"/>
          </p:cNvSpPr>
          <p:nvPr>
            <p:ph sz="half" idx="39"/>
          </p:nvPr>
        </p:nvSpPr>
        <p:spPr>
          <a:xfrm>
            <a:off x="6245043" y="3124834"/>
            <a:ext cx="2578828" cy="2761615"/>
          </a:xfrm>
        </p:spPr>
        <p:txBody>
          <a:bodyPr/>
          <a:lstStyle/>
          <a:p>
            <a:pPr marL="171450" lvl="0" indent="-171450">
              <a:buFont typeface="Arial" panose="020B0604020202020204" pitchFamily="34" charset="0"/>
              <a:buChar char="•"/>
            </a:pPr>
            <a:r>
              <a:rPr lang="pt-BR" noProof="1"/>
              <a:t>Várias inferências → média + desvio-padrão.</a:t>
            </a:r>
          </a:p>
          <a:p>
            <a:pPr marL="171450" lvl="0" indent="-171450">
              <a:buFont typeface="Arial" panose="020B0604020202020204" pitchFamily="34" charset="0"/>
              <a:buChar char="•"/>
            </a:pPr>
            <a:r>
              <a:rPr lang="pt-BR" noProof="1"/>
              <a:t>Incerteza indica regiões de possível erro da rede.</a:t>
            </a:r>
          </a:p>
        </p:txBody>
      </p:sp>
      <p:sp>
        <p:nvSpPr>
          <p:cNvPr id="13" name="Marcador de texto 12">
            <a:extLst>
              <a:ext uri="{FF2B5EF4-FFF2-40B4-BE49-F238E27FC236}">
                <a16:creationId xmlns:a16="http://schemas.microsoft.com/office/drawing/2014/main" id="{271B5F4E-782C-CE12-B1F9-D240BF799DC5}"/>
              </a:ext>
            </a:extLst>
          </p:cNvPr>
          <p:cNvSpPr>
            <a:spLocks noGrp="1"/>
          </p:cNvSpPr>
          <p:nvPr>
            <p:ph type="body" idx="40"/>
          </p:nvPr>
        </p:nvSpPr>
        <p:spPr>
          <a:xfrm>
            <a:off x="9086850" y="1844675"/>
            <a:ext cx="2578828" cy="457200"/>
          </a:xfrm>
        </p:spPr>
        <p:txBody>
          <a:bodyPr/>
          <a:lstStyle/>
          <a:p>
            <a:r>
              <a:rPr lang="pt-BR" noProof="1"/>
              <a:t>04</a:t>
            </a:r>
          </a:p>
        </p:txBody>
      </p:sp>
      <p:sp>
        <p:nvSpPr>
          <p:cNvPr id="14" name="Marcador de texto 13">
            <a:extLst>
              <a:ext uri="{FF2B5EF4-FFF2-40B4-BE49-F238E27FC236}">
                <a16:creationId xmlns:a16="http://schemas.microsoft.com/office/drawing/2014/main" id="{F40685C6-EF7C-E5C5-D7D3-9AD71F2D2412}"/>
              </a:ext>
            </a:extLst>
          </p:cNvPr>
          <p:cNvSpPr>
            <a:spLocks noGrp="1"/>
          </p:cNvSpPr>
          <p:nvPr>
            <p:ph type="body" idx="41"/>
          </p:nvPr>
        </p:nvSpPr>
        <p:spPr>
          <a:xfrm>
            <a:off x="9086850" y="2301875"/>
            <a:ext cx="2578828" cy="822960"/>
          </a:xfrm>
        </p:spPr>
        <p:txBody>
          <a:bodyPr/>
          <a:lstStyle/>
          <a:p>
            <a:r>
              <a:rPr lang="en-US" dirty="0" err="1"/>
              <a:t>Refinamento</a:t>
            </a:r>
            <a:r>
              <a:rPr lang="en-US" dirty="0"/>
              <a:t> </a:t>
            </a:r>
            <a:r>
              <a:rPr lang="en-US" dirty="0" err="1"/>
              <a:t>Adaptativo</a:t>
            </a:r>
            <a:r>
              <a:rPr lang="en-US" dirty="0"/>
              <a:t> (</a:t>
            </a:r>
            <a:r>
              <a:rPr lang="en-US" dirty="0" err="1"/>
              <a:t>conceito</a:t>
            </a:r>
            <a:r>
              <a:rPr lang="en-US" dirty="0"/>
              <a:t> pronto)</a:t>
            </a:r>
            <a:endParaRPr lang="pt-BR" noProof="1"/>
          </a:p>
        </p:txBody>
      </p:sp>
      <p:sp>
        <p:nvSpPr>
          <p:cNvPr id="15" name="Marcador de contenido 14">
            <a:extLst>
              <a:ext uri="{FF2B5EF4-FFF2-40B4-BE49-F238E27FC236}">
                <a16:creationId xmlns:a16="http://schemas.microsoft.com/office/drawing/2014/main" id="{D40A3280-E1C8-7C18-A7F2-7873116D542A}"/>
              </a:ext>
            </a:extLst>
          </p:cNvPr>
          <p:cNvSpPr>
            <a:spLocks noGrp="1"/>
          </p:cNvSpPr>
          <p:nvPr>
            <p:ph sz="half" idx="42"/>
          </p:nvPr>
        </p:nvSpPr>
        <p:spPr>
          <a:xfrm>
            <a:off x="9086850" y="3124834"/>
            <a:ext cx="2578828" cy="2761615"/>
          </a:xfrm>
        </p:spPr>
        <p:txBody>
          <a:bodyPr/>
          <a:lstStyle/>
          <a:p>
            <a:pPr marL="171450" lvl="0" indent="-171450">
              <a:buFont typeface="Arial" panose="020B0604020202020204" pitchFamily="34" charset="0"/>
              <a:buChar char="•"/>
            </a:pPr>
            <a:r>
              <a:rPr lang="pt-BR" noProof="1"/>
              <a:t>Regiões com maior incerteza → refinamento local.</a:t>
            </a:r>
          </a:p>
          <a:p>
            <a:pPr marL="171450" lvl="0" indent="-171450">
              <a:buFont typeface="Arial" panose="020B0604020202020204" pitchFamily="34" charset="0"/>
              <a:buChar char="•"/>
            </a:pPr>
            <a:r>
              <a:rPr lang="pt-BR" noProof="1"/>
              <a:t>Nova simulação VEM alimenta novo ciclo de treinamento.</a:t>
            </a:r>
          </a:p>
        </p:txBody>
      </p:sp>
    </p:spTree>
    <p:extLst>
      <p:ext uri="{BB962C8B-B14F-4D97-AF65-F5344CB8AC3E}">
        <p14:creationId xmlns:p14="http://schemas.microsoft.com/office/powerpoint/2010/main" val="18257208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ED0E3C-5477-D9B2-F023-33EF4343155E}"/>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E2DFC1C-A548-8B34-6931-CCA4F208796C}"/>
              </a:ext>
            </a:extLst>
          </p:cNvPr>
          <p:cNvGraphicFramePr>
            <a:graphicFrameLocks noChangeAspect="1"/>
          </p:cNvGraphicFramePr>
          <p:nvPr>
            <p:custDataLst>
              <p:tags r:id="rId1"/>
            </p:custDataLst>
            <p:extLst>
              <p:ext uri="{D42A27DB-BD31-4B8C-83A1-F6EECF244321}">
                <p14:modId xmlns:p14="http://schemas.microsoft.com/office/powerpoint/2010/main" val="2877732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2" name="think-cell data - do not delete" hidden="1">
                        <a:extLst>
                          <a:ext uri="{FF2B5EF4-FFF2-40B4-BE49-F238E27FC236}">
                            <a16:creationId xmlns:a16="http://schemas.microsoft.com/office/drawing/2014/main" id="{9E2DFC1C-A548-8B34-6931-CCA4F20879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FE85554B-92E0-03D1-7E7E-26FAB9AC21E2}"/>
              </a:ext>
            </a:extLst>
          </p:cNvPr>
          <p:cNvSpPr>
            <a:spLocks noGrp="1"/>
          </p:cNvSpPr>
          <p:nvPr>
            <p:ph type="title"/>
          </p:nvPr>
        </p:nvSpPr>
        <p:spPr>
          <a:xfrm>
            <a:off x="574352" y="4414043"/>
            <a:ext cx="4205323" cy="393954"/>
          </a:xfrm>
        </p:spPr>
        <p:txBody>
          <a:bodyPr vert="horz"/>
          <a:lstStyle/>
          <a:p>
            <a:r>
              <a:rPr lang="pt-BR" noProof="1"/>
              <a:t>Resultados</a:t>
            </a:r>
          </a:p>
        </p:txBody>
      </p:sp>
      <p:sp>
        <p:nvSpPr>
          <p:cNvPr id="3" name="Text Placeholder 2">
            <a:extLst>
              <a:ext uri="{FF2B5EF4-FFF2-40B4-BE49-F238E27FC236}">
                <a16:creationId xmlns:a16="http://schemas.microsoft.com/office/drawing/2014/main" id="{BF3FA48F-762C-FE1D-F1FC-0B17D6FE71D5}"/>
              </a:ext>
            </a:extLst>
          </p:cNvPr>
          <p:cNvSpPr>
            <a:spLocks noGrp="1"/>
          </p:cNvSpPr>
          <p:nvPr>
            <p:ph type="body" sz="quarter" idx="11"/>
          </p:nvPr>
        </p:nvSpPr>
        <p:spPr>
          <a:xfrm>
            <a:off x="574352" y="2576447"/>
            <a:ext cx="1386598" cy="1231106"/>
          </a:xfrm>
        </p:spPr>
        <p:txBody>
          <a:bodyPr/>
          <a:lstStyle/>
          <a:p>
            <a:r>
              <a:rPr lang="pt-BR" noProof="1"/>
              <a:t>05</a:t>
            </a:r>
          </a:p>
        </p:txBody>
      </p:sp>
      <p:sp>
        <p:nvSpPr>
          <p:cNvPr id="4" name="Marcador de texto 3">
            <a:extLst>
              <a:ext uri="{FF2B5EF4-FFF2-40B4-BE49-F238E27FC236}">
                <a16:creationId xmlns:a16="http://schemas.microsoft.com/office/drawing/2014/main" id="{F057349C-A25F-088A-D9AD-35878A842480}"/>
              </a:ext>
            </a:extLst>
          </p:cNvPr>
          <p:cNvSpPr>
            <a:spLocks noGrp="1"/>
          </p:cNvSpPr>
          <p:nvPr>
            <p:ph type="body" sz="quarter" idx="19"/>
          </p:nvPr>
        </p:nvSpPr>
        <p:spPr>
          <a:xfrm>
            <a:off x="574352" y="5080829"/>
            <a:ext cx="4205324" cy="787909"/>
          </a:xfrm>
        </p:spPr>
        <p:txBody>
          <a:bodyPr/>
          <a:lstStyle/>
          <a:p>
            <a:r>
              <a:rPr lang="pt-BR" noProof="1"/>
              <a:t>Principais experimentos e análises obtidas</a:t>
            </a:r>
          </a:p>
        </p:txBody>
      </p:sp>
      <p:pic>
        <p:nvPicPr>
          <p:cNvPr id="13" name="Picture Placeholder 12">
            <a:extLst>
              <a:ext uri="{FF2B5EF4-FFF2-40B4-BE49-F238E27FC236}">
                <a16:creationId xmlns:a16="http://schemas.microsoft.com/office/drawing/2014/main" id="{98640F79-5621-B8D4-45D2-D2F78D16C81A}"/>
              </a:ext>
              <a:ext uri="{C183D7F6-B498-43B3-948B-1728B52AA6E4}">
                <adec:decorative xmlns:adec="http://schemas.microsoft.com/office/drawing/2017/decorative" val="1"/>
              </a:ext>
            </a:extLst>
          </p:cNvPr>
          <p:cNvPicPr>
            <a:picLocks noGrp="1" noChangeAspect="1"/>
          </p:cNvPicPr>
          <p:nvPr>
            <p:ph type="pic" sz="quarter" idx="13"/>
          </p:nvPr>
        </p:nvPicPr>
        <p:blipFill>
          <a:blip r:embed="rId6" cstate="screen">
            <a:extLst>
              <a:ext uri="{28A0092B-C50C-407E-A947-70E740481C1C}">
                <a14:useLocalDpi xmlns:a14="http://schemas.microsoft.com/office/drawing/2010/main"/>
              </a:ext>
            </a:extLst>
          </a:blip>
          <a:srcRect l="40" r="40"/>
          <a:stretch/>
        </p:blipFill>
        <p:spPr>
          <a:xfrm>
            <a:off x="5362807" y="549275"/>
            <a:ext cx="6278331" cy="5759449"/>
          </a:xfrm>
        </p:spPr>
      </p:pic>
    </p:spTree>
    <p:extLst>
      <p:ext uri="{BB962C8B-B14F-4D97-AF65-F5344CB8AC3E}">
        <p14:creationId xmlns:p14="http://schemas.microsoft.com/office/powerpoint/2010/main" val="3186896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411DBCDA-C256-C422-7913-611997C4A80C}"/>
            </a:ext>
          </a:extLst>
        </p:cNvPr>
        <p:cNvGrpSpPr/>
        <p:nvPr/>
      </p:nvGrpSpPr>
      <p:grpSpPr>
        <a:xfrm>
          <a:off x="0" y="0"/>
          <a:ext cx="0" cy="0"/>
          <a:chOff x="0" y="0"/>
          <a:chExt cx="0" cy="0"/>
        </a:xfrm>
      </p:grpSpPr>
      <p:graphicFrame>
        <p:nvGraphicFramePr>
          <p:cNvPr id="37" name="think-cell data - do not delete" hidden="1">
            <a:extLst>
              <a:ext uri="{FF2B5EF4-FFF2-40B4-BE49-F238E27FC236}">
                <a16:creationId xmlns:a16="http://schemas.microsoft.com/office/drawing/2014/main" id="{60921388-E25C-6A43-C45E-EA52B8BC89AE}"/>
              </a:ext>
            </a:extLst>
          </p:cNvPr>
          <p:cNvGraphicFramePr>
            <a:graphicFrameLocks noChangeAspect="1"/>
          </p:cNvGraphicFramePr>
          <p:nvPr>
            <p:custDataLst>
              <p:tags r:id="rId1"/>
            </p:custDataLst>
            <p:extLst>
              <p:ext uri="{D42A27DB-BD31-4B8C-83A1-F6EECF244321}">
                <p14:modId xmlns:p14="http://schemas.microsoft.com/office/powerpoint/2010/main" val="979734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37" name="think-cell data - do not delete" hidden="1">
                        <a:extLst>
                          <a:ext uri="{FF2B5EF4-FFF2-40B4-BE49-F238E27FC236}">
                            <a16:creationId xmlns:a16="http://schemas.microsoft.com/office/drawing/2014/main" id="{60921388-E25C-6A43-C45E-EA52B8BC89A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descr="Agenda title">
            <a:extLst>
              <a:ext uri="{FF2B5EF4-FFF2-40B4-BE49-F238E27FC236}">
                <a16:creationId xmlns:a16="http://schemas.microsoft.com/office/drawing/2014/main" id="{CBA63027-21DF-EBDD-BB4F-5B0551774D6E}"/>
              </a:ext>
            </a:extLst>
          </p:cNvPr>
          <p:cNvSpPr>
            <a:spLocks noGrp="1"/>
          </p:cNvSpPr>
          <p:nvPr>
            <p:ph type="title"/>
          </p:nvPr>
        </p:nvSpPr>
        <p:spPr>
          <a:xfrm>
            <a:off x="561600" y="1793449"/>
            <a:ext cx="3091443" cy="787908"/>
          </a:xfrm>
        </p:spPr>
        <p:txBody>
          <a:bodyPr vert="horz"/>
          <a:lstStyle/>
          <a:p>
            <a:r>
              <a:rPr lang="pt-BR" noProof="1"/>
              <a:t>Estrutura da Apresentação</a:t>
            </a:r>
          </a:p>
        </p:txBody>
      </p:sp>
      <p:sp>
        <p:nvSpPr>
          <p:cNvPr id="2" name="Text Placeholder 1" descr="Agenda Subtitle">
            <a:extLst>
              <a:ext uri="{FF2B5EF4-FFF2-40B4-BE49-F238E27FC236}">
                <a16:creationId xmlns:a16="http://schemas.microsoft.com/office/drawing/2014/main" id="{4D591F20-B9E4-9D89-BE48-2C877F312852}"/>
              </a:ext>
            </a:extLst>
          </p:cNvPr>
          <p:cNvSpPr>
            <a:spLocks noGrp="1"/>
          </p:cNvSpPr>
          <p:nvPr>
            <p:ph type="body" sz="quarter" idx="14"/>
          </p:nvPr>
        </p:nvSpPr>
        <p:spPr/>
        <p:txBody>
          <a:bodyPr/>
          <a:lstStyle/>
          <a:p>
            <a:r>
              <a:rPr lang="pt-BR" noProof="1"/>
              <a:t>Visão geral das seções abordadas</a:t>
            </a:r>
          </a:p>
        </p:txBody>
      </p:sp>
      <p:sp>
        <p:nvSpPr>
          <p:cNvPr id="13" name="Text Placeholder 12" descr="No. 1">
            <a:extLst>
              <a:ext uri="{FF2B5EF4-FFF2-40B4-BE49-F238E27FC236}">
                <a16:creationId xmlns:a16="http://schemas.microsoft.com/office/drawing/2014/main" id="{F621F2B0-E98B-7B36-EDB0-03A532C88BB0}"/>
              </a:ext>
            </a:extLst>
          </p:cNvPr>
          <p:cNvSpPr>
            <a:spLocks noGrp="1"/>
          </p:cNvSpPr>
          <p:nvPr>
            <p:ph type="body" sz="quarter" idx="31"/>
          </p:nvPr>
        </p:nvSpPr>
        <p:spPr/>
        <p:txBody>
          <a:bodyPr>
            <a:normAutofit/>
          </a:bodyPr>
          <a:lstStyle/>
          <a:p>
            <a:r>
              <a:rPr lang="pt-BR" noProof="1"/>
              <a:t>01</a:t>
            </a:r>
          </a:p>
        </p:txBody>
      </p:sp>
      <p:sp>
        <p:nvSpPr>
          <p:cNvPr id="5" name="Text Placeholder 4" descr="Agenda Item 1">
            <a:extLst>
              <a:ext uri="{FF2B5EF4-FFF2-40B4-BE49-F238E27FC236}">
                <a16:creationId xmlns:a16="http://schemas.microsoft.com/office/drawing/2014/main" id="{57511DD6-D33E-1414-D0FE-FC679CD0E0A8}"/>
              </a:ext>
            </a:extLst>
          </p:cNvPr>
          <p:cNvSpPr>
            <a:spLocks noGrp="1"/>
          </p:cNvSpPr>
          <p:nvPr>
            <p:ph type="body" sz="quarter" idx="16"/>
          </p:nvPr>
        </p:nvSpPr>
        <p:spPr>
          <a:xfrm>
            <a:off x="4966974" y="1371602"/>
            <a:ext cx="5771704" cy="485340"/>
          </a:xfrm>
        </p:spPr>
        <p:txBody>
          <a:bodyPr/>
          <a:lstStyle/>
          <a:p>
            <a:r>
              <a:rPr lang="pt-BR" noProof="1"/>
              <a:t>Contextualização do Trabalho</a:t>
            </a:r>
          </a:p>
        </p:txBody>
      </p:sp>
      <p:sp>
        <p:nvSpPr>
          <p:cNvPr id="14" name="Text Placeholder 13" descr="No. 2">
            <a:extLst>
              <a:ext uri="{FF2B5EF4-FFF2-40B4-BE49-F238E27FC236}">
                <a16:creationId xmlns:a16="http://schemas.microsoft.com/office/drawing/2014/main" id="{3DB774F8-BCD1-08B9-23C7-360230146CBA}"/>
              </a:ext>
            </a:extLst>
          </p:cNvPr>
          <p:cNvSpPr>
            <a:spLocks noGrp="1"/>
          </p:cNvSpPr>
          <p:nvPr>
            <p:ph type="body" sz="quarter" idx="32"/>
          </p:nvPr>
        </p:nvSpPr>
        <p:spPr>
          <a:xfrm>
            <a:off x="4426241" y="2218431"/>
            <a:ext cx="405128" cy="485340"/>
          </a:xfrm>
        </p:spPr>
        <p:txBody>
          <a:bodyPr>
            <a:normAutofit/>
          </a:bodyPr>
          <a:lstStyle/>
          <a:p>
            <a:pPr lvl="0"/>
            <a:r>
              <a:rPr lang="pt-BR" noProof="1"/>
              <a:t>02</a:t>
            </a:r>
          </a:p>
        </p:txBody>
      </p:sp>
      <p:sp>
        <p:nvSpPr>
          <p:cNvPr id="6" name="Text Placeholder 5" descr="Agenda Item 2">
            <a:extLst>
              <a:ext uri="{FF2B5EF4-FFF2-40B4-BE49-F238E27FC236}">
                <a16:creationId xmlns:a16="http://schemas.microsoft.com/office/drawing/2014/main" id="{C01D72D8-FD0A-EEFA-658E-493EB0BE4F18}"/>
              </a:ext>
            </a:extLst>
          </p:cNvPr>
          <p:cNvSpPr>
            <a:spLocks noGrp="1"/>
          </p:cNvSpPr>
          <p:nvPr>
            <p:ph type="body" sz="quarter" idx="18"/>
          </p:nvPr>
        </p:nvSpPr>
        <p:spPr>
          <a:xfrm>
            <a:off x="4966974" y="2218431"/>
            <a:ext cx="5771704" cy="485340"/>
          </a:xfrm>
        </p:spPr>
        <p:txBody>
          <a:bodyPr/>
          <a:lstStyle/>
          <a:p>
            <a:r>
              <a:rPr lang="pt-BR" noProof="1"/>
              <a:t>Revisão Bibliográfica</a:t>
            </a:r>
          </a:p>
        </p:txBody>
      </p:sp>
      <p:sp>
        <p:nvSpPr>
          <p:cNvPr id="15" name="Text Placeholder 14" descr="No. 3">
            <a:extLst>
              <a:ext uri="{FF2B5EF4-FFF2-40B4-BE49-F238E27FC236}">
                <a16:creationId xmlns:a16="http://schemas.microsoft.com/office/drawing/2014/main" id="{39F2CCF8-2C7A-5F54-0E44-35F89FCC092A}"/>
              </a:ext>
            </a:extLst>
          </p:cNvPr>
          <p:cNvSpPr>
            <a:spLocks noGrp="1"/>
          </p:cNvSpPr>
          <p:nvPr>
            <p:ph type="body" sz="quarter" idx="33"/>
          </p:nvPr>
        </p:nvSpPr>
        <p:spPr>
          <a:xfrm>
            <a:off x="4426241" y="3065260"/>
            <a:ext cx="405128" cy="485340"/>
          </a:xfrm>
        </p:spPr>
        <p:txBody>
          <a:bodyPr>
            <a:normAutofit/>
          </a:bodyPr>
          <a:lstStyle/>
          <a:p>
            <a:pPr lvl="0"/>
            <a:r>
              <a:rPr lang="pt-BR" noProof="1"/>
              <a:t>03</a:t>
            </a:r>
          </a:p>
        </p:txBody>
      </p:sp>
      <p:sp>
        <p:nvSpPr>
          <p:cNvPr id="7" name="Text Placeholder 6" descr="Agenda Item 3">
            <a:extLst>
              <a:ext uri="{FF2B5EF4-FFF2-40B4-BE49-F238E27FC236}">
                <a16:creationId xmlns:a16="http://schemas.microsoft.com/office/drawing/2014/main" id="{E5CB83A5-6AD1-A54D-374C-4FD48C8CDAFA}"/>
              </a:ext>
            </a:extLst>
          </p:cNvPr>
          <p:cNvSpPr>
            <a:spLocks noGrp="1"/>
          </p:cNvSpPr>
          <p:nvPr>
            <p:ph type="body" sz="quarter" idx="20"/>
          </p:nvPr>
        </p:nvSpPr>
        <p:spPr>
          <a:xfrm>
            <a:off x="4966974" y="3065260"/>
            <a:ext cx="5771704" cy="485340"/>
          </a:xfrm>
        </p:spPr>
        <p:txBody>
          <a:bodyPr/>
          <a:lstStyle/>
          <a:p>
            <a:r>
              <a:rPr lang="pt-BR" noProof="1"/>
              <a:t>Fundamentação Teórica</a:t>
            </a:r>
          </a:p>
        </p:txBody>
      </p:sp>
      <p:sp>
        <p:nvSpPr>
          <p:cNvPr id="16" name="Text Placeholder 15" descr="No. 4">
            <a:extLst>
              <a:ext uri="{FF2B5EF4-FFF2-40B4-BE49-F238E27FC236}">
                <a16:creationId xmlns:a16="http://schemas.microsoft.com/office/drawing/2014/main" id="{023DD785-FEF6-1AA4-9275-5CCFDE8E2099}"/>
              </a:ext>
            </a:extLst>
          </p:cNvPr>
          <p:cNvSpPr>
            <a:spLocks noGrp="1"/>
          </p:cNvSpPr>
          <p:nvPr>
            <p:ph type="body" sz="quarter" idx="34"/>
          </p:nvPr>
        </p:nvSpPr>
        <p:spPr>
          <a:xfrm>
            <a:off x="4426241" y="3912089"/>
            <a:ext cx="405128" cy="485340"/>
          </a:xfrm>
        </p:spPr>
        <p:txBody>
          <a:bodyPr>
            <a:normAutofit/>
          </a:bodyPr>
          <a:lstStyle/>
          <a:p>
            <a:pPr lvl="0"/>
            <a:r>
              <a:rPr lang="pt-BR" noProof="1"/>
              <a:t>04</a:t>
            </a:r>
          </a:p>
        </p:txBody>
      </p:sp>
      <p:sp>
        <p:nvSpPr>
          <p:cNvPr id="8" name="Text Placeholder 7" descr="Agenda Item 4">
            <a:extLst>
              <a:ext uri="{FF2B5EF4-FFF2-40B4-BE49-F238E27FC236}">
                <a16:creationId xmlns:a16="http://schemas.microsoft.com/office/drawing/2014/main" id="{613952AB-9C26-20D4-0280-74ABF3B4752B}"/>
              </a:ext>
            </a:extLst>
          </p:cNvPr>
          <p:cNvSpPr>
            <a:spLocks noGrp="1"/>
          </p:cNvSpPr>
          <p:nvPr>
            <p:ph type="body" sz="quarter" idx="22"/>
          </p:nvPr>
        </p:nvSpPr>
        <p:spPr>
          <a:xfrm>
            <a:off x="4966974" y="3912089"/>
            <a:ext cx="5771704" cy="485340"/>
          </a:xfrm>
        </p:spPr>
        <p:txBody>
          <a:bodyPr/>
          <a:lstStyle/>
          <a:p>
            <a:r>
              <a:rPr lang="pt-BR" noProof="1"/>
              <a:t>Metodologia</a:t>
            </a:r>
          </a:p>
        </p:txBody>
      </p:sp>
      <p:sp>
        <p:nvSpPr>
          <p:cNvPr id="17" name="Text Placeholder 16" descr="No. 5">
            <a:extLst>
              <a:ext uri="{FF2B5EF4-FFF2-40B4-BE49-F238E27FC236}">
                <a16:creationId xmlns:a16="http://schemas.microsoft.com/office/drawing/2014/main" id="{A4B6399A-37BD-20D4-564C-ACBAEFD2B9E5}"/>
              </a:ext>
            </a:extLst>
          </p:cNvPr>
          <p:cNvSpPr>
            <a:spLocks noGrp="1"/>
          </p:cNvSpPr>
          <p:nvPr>
            <p:ph type="body" sz="quarter" idx="35"/>
          </p:nvPr>
        </p:nvSpPr>
        <p:spPr>
          <a:xfrm>
            <a:off x="4426241" y="4758918"/>
            <a:ext cx="405128" cy="485340"/>
          </a:xfrm>
        </p:spPr>
        <p:txBody>
          <a:bodyPr>
            <a:normAutofit/>
          </a:bodyPr>
          <a:lstStyle/>
          <a:p>
            <a:pPr lvl="0"/>
            <a:r>
              <a:rPr lang="pt-BR" noProof="1"/>
              <a:t>05</a:t>
            </a:r>
          </a:p>
        </p:txBody>
      </p:sp>
      <p:sp>
        <p:nvSpPr>
          <p:cNvPr id="9" name="Text Placeholder 8" descr="Agenda Item 5">
            <a:extLst>
              <a:ext uri="{FF2B5EF4-FFF2-40B4-BE49-F238E27FC236}">
                <a16:creationId xmlns:a16="http://schemas.microsoft.com/office/drawing/2014/main" id="{C1A61DBB-8DCD-233E-0070-BC1D80A1B4A4}"/>
              </a:ext>
            </a:extLst>
          </p:cNvPr>
          <p:cNvSpPr>
            <a:spLocks noGrp="1"/>
          </p:cNvSpPr>
          <p:nvPr>
            <p:ph type="body" sz="quarter" idx="24"/>
          </p:nvPr>
        </p:nvSpPr>
        <p:spPr>
          <a:xfrm>
            <a:off x="4966974" y="4758918"/>
            <a:ext cx="5771704" cy="485340"/>
          </a:xfrm>
        </p:spPr>
        <p:txBody>
          <a:bodyPr/>
          <a:lstStyle/>
          <a:p>
            <a:r>
              <a:rPr lang="pt-BR" noProof="1"/>
              <a:t>Resultados</a:t>
            </a:r>
          </a:p>
        </p:txBody>
      </p:sp>
      <p:sp>
        <p:nvSpPr>
          <p:cNvPr id="20" name="Text Placeholder 19" descr="No. 8">
            <a:extLst>
              <a:ext uri="{FF2B5EF4-FFF2-40B4-BE49-F238E27FC236}">
                <a16:creationId xmlns:a16="http://schemas.microsoft.com/office/drawing/2014/main" id="{61A81521-A6EE-31D2-9E22-9E7D19904391}"/>
              </a:ext>
            </a:extLst>
          </p:cNvPr>
          <p:cNvSpPr>
            <a:spLocks noGrp="1"/>
          </p:cNvSpPr>
          <p:nvPr>
            <p:ph type="body" sz="quarter" idx="38"/>
          </p:nvPr>
        </p:nvSpPr>
        <p:spPr>
          <a:xfrm>
            <a:off x="4426241" y="5605747"/>
            <a:ext cx="405128" cy="485340"/>
          </a:xfrm>
        </p:spPr>
        <p:txBody>
          <a:bodyPr>
            <a:normAutofit/>
          </a:bodyPr>
          <a:lstStyle/>
          <a:p>
            <a:pPr lvl="0"/>
            <a:r>
              <a:rPr lang="pt-BR" noProof="1"/>
              <a:t>06</a:t>
            </a:r>
          </a:p>
        </p:txBody>
      </p:sp>
      <p:sp>
        <p:nvSpPr>
          <p:cNvPr id="12" name="Text Placeholder 11" descr="Agenda Item 8">
            <a:extLst>
              <a:ext uri="{FF2B5EF4-FFF2-40B4-BE49-F238E27FC236}">
                <a16:creationId xmlns:a16="http://schemas.microsoft.com/office/drawing/2014/main" id="{540119FF-BCD1-409B-BED0-F57F9C5C5C59}"/>
              </a:ext>
            </a:extLst>
          </p:cNvPr>
          <p:cNvSpPr>
            <a:spLocks noGrp="1"/>
          </p:cNvSpPr>
          <p:nvPr>
            <p:ph type="body" sz="quarter" idx="30"/>
          </p:nvPr>
        </p:nvSpPr>
        <p:spPr>
          <a:xfrm>
            <a:off x="4966974" y="5605747"/>
            <a:ext cx="5771704" cy="485340"/>
          </a:xfrm>
        </p:spPr>
        <p:txBody>
          <a:bodyPr/>
          <a:lstStyle/>
          <a:p>
            <a:r>
              <a:rPr lang="pt-BR" noProof="1"/>
              <a:t>Conclusão</a:t>
            </a:r>
          </a:p>
        </p:txBody>
      </p:sp>
    </p:spTree>
    <p:extLst>
      <p:ext uri="{BB962C8B-B14F-4D97-AF65-F5344CB8AC3E}">
        <p14:creationId xmlns:p14="http://schemas.microsoft.com/office/powerpoint/2010/main" val="328394361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8BF00C7D-EA5E-69CA-7D48-96A12984D099}"/>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C6F571E-D57F-0953-BBEB-D2C504B0914D}"/>
              </a:ext>
            </a:extLst>
          </p:cNvPr>
          <p:cNvGraphicFramePr>
            <a:graphicFrameLocks noChangeAspect="1"/>
          </p:cNvGraphicFramePr>
          <p:nvPr>
            <p:custDataLst>
              <p:tags r:id="rId1"/>
            </p:custDataLst>
            <p:extLst>
              <p:ext uri="{D42A27DB-BD31-4B8C-83A1-F6EECF244321}">
                <p14:modId xmlns:p14="http://schemas.microsoft.com/office/powerpoint/2010/main" val="39027430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13" name="think-cell data - do not delete" hidden="1">
                        <a:extLst>
                          <a:ext uri="{FF2B5EF4-FFF2-40B4-BE49-F238E27FC236}">
                            <a16:creationId xmlns:a16="http://schemas.microsoft.com/office/drawing/2014/main" id="{DC6F571E-D57F-0953-BBEB-D2C504B091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Title 22">
            <a:extLst>
              <a:ext uri="{FF2B5EF4-FFF2-40B4-BE49-F238E27FC236}">
                <a16:creationId xmlns:a16="http://schemas.microsoft.com/office/drawing/2014/main" id="{95278088-DBA1-7387-0B8A-2FCE0B73FFB7}"/>
              </a:ext>
            </a:extLst>
          </p:cNvPr>
          <p:cNvSpPr>
            <a:spLocks noGrp="1"/>
          </p:cNvSpPr>
          <p:nvPr>
            <p:ph type="title"/>
          </p:nvPr>
        </p:nvSpPr>
        <p:spPr>
          <a:xfrm>
            <a:off x="556467" y="572600"/>
            <a:ext cx="11084672" cy="393954"/>
          </a:xfrm>
        </p:spPr>
        <p:txBody>
          <a:bodyPr vert="horz"/>
          <a:lstStyle/>
          <a:p>
            <a:r>
              <a:rPr lang="pt-BR" noProof="1"/>
              <a:t>Comparação entre o VEM e a Rede Neural</a:t>
            </a:r>
          </a:p>
        </p:txBody>
      </p:sp>
      <p:sp>
        <p:nvSpPr>
          <p:cNvPr id="2" name="Marcador de texto 1">
            <a:extLst>
              <a:ext uri="{FF2B5EF4-FFF2-40B4-BE49-F238E27FC236}">
                <a16:creationId xmlns:a16="http://schemas.microsoft.com/office/drawing/2014/main" id="{CE33AA3A-25CA-4432-0671-9384566BD5A1}"/>
              </a:ext>
            </a:extLst>
          </p:cNvPr>
          <p:cNvSpPr>
            <a:spLocks noGrp="1"/>
          </p:cNvSpPr>
          <p:nvPr>
            <p:ph type="body" sz="quarter" idx="26"/>
          </p:nvPr>
        </p:nvSpPr>
        <p:spPr>
          <a:xfrm>
            <a:off x="563411" y="1109663"/>
            <a:ext cx="11084673" cy="384048"/>
          </a:xfrm>
        </p:spPr>
        <p:txBody>
          <a:bodyPr/>
          <a:lstStyle/>
          <a:p>
            <a:r>
              <a:rPr lang="pt-BR" noProof="1"/>
              <a:t>Aproximação do Campo de Deslocamentos e Rotações</a:t>
            </a:r>
          </a:p>
        </p:txBody>
      </p:sp>
      <p:sp>
        <p:nvSpPr>
          <p:cNvPr id="4" name="Marcador de texto 3">
            <a:extLst>
              <a:ext uri="{FF2B5EF4-FFF2-40B4-BE49-F238E27FC236}">
                <a16:creationId xmlns:a16="http://schemas.microsoft.com/office/drawing/2014/main" id="{5DAA897E-B24E-6947-46C2-0E974575E336}"/>
              </a:ext>
            </a:extLst>
          </p:cNvPr>
          <p:cNvSpPr>
            <a:spLocks noGrp="1"/>
          </p:cNvSpPr>
          <p:nvPr>
            <p:ph type="body" idx="18"/>
          </p:nvPr>
        </p:nvSpPr>
        <p:spPr>
          <a:xfrm>
            <a:off x="561424" y="1844675"/>
            <a:ext cx="3393084" cy="457200"/>
          </a:xfrm>
        </p:spPr>
        <p:txBody>
          <a:bodyPr/>
          <a:lstStyle/>
          <a:p>
            <a:r>
              <a:rPr lang="pt-BR" noProof="1"/>
              <a:t>01</a:t>
            </a:r>
          </a:p>
        </p:txBody>
      </p:sp>
      <p:sp>
        <p:nvSpPr>
          <p:cNvPr id="8" name="Marcador de texto 7">
            <a:extLst>
              <a:ext uri="{FF2B5EF4-FFF2-40B4-BE49-F238E27FC236}">
                <a16:creationId xmlns:a16="http://schemas.microsoft.com/office/drawing/2014/main" id="{A822EE3F-4591-24DA-0B13-F1ECF2623BF0}"/>
              </a:ext>
            </a:extLst>
          </p:cNvPr>
          <p:cNvSpPr>
            <a:spLocks noGrp="1"/>
          </p:cNvSpPr>
          <p:nvPr>
            <p:ph type="body" idx="1"/>
          </p:nvPr>
        </p:nvSpPr>
        <p:spPr>
          <a:xfrm>
            <a:off x="561424" y="2301875"/>
            <a:ext cx="3393084" cy="822960"/>
          </a:xfrm>
        </p:spPr>
        <p:txBody>
          <a:bodyPr/>
          <a:lstStyle/>
          <a:p>
            <a:r>
              <a:rPr lang="pt-BR" noProof="1"/>
              <a:t>Solução VEM</a:t>
            </a:r>
          </a:p>
          <a:p>
            <a:r>
              <a:rPr lang="pt-BR" noProof="1"/>
              <a:t>(ground truth)</a:t>
            </a:r>
          </a:p>
        </p:txBody>
      </p:sp>
      <p:sp>
        <p:nvSpPr>
          <p:cNvPr id="7" name="Marcador de contenido 6">
            <a:extLst>
              <a:ext uri="{FF2B5EF4-FFF2-40B4-BE49-F238E27FC236}">
                <a16:creationId xmlns:a16="http://schemas.microsoft.com/office/drawing/2014/main" id="{3083376D-E8CF-FDE8-9C27-6DA6527B8EF9}"/>
              </a:ext>
            </a:extLst>
          </p:cNvPr>
          <p:cNvSpPr>
            <a:spLocks noGrp="1"/>
          </p:cNvSpPr>
          <p:nvPr>
            <p:ph sz="half" idx="2"/>
          </p:nvPr>
        </p:nvSpPr>
        <p:spPr>
          <a:xfrm>
            <a:off x="561424" y="3124835"/>
            <a:ext cx="3393084" cy="2761488"/>
          </a:xfrm>
        </p:spPr>
        <p:txBody>
          <a:bodyPr/>
          <a:lstStyle/>
          <a:p>
            <a:pPr lvl="0"/>
            <a:r>
              <a:rPr lang="pt-BR" noProof="1"/>
              <a:t>First level (bullet)</a:t>
            </a:r>
          </a:p>
          <a:p>
            <a:pPr lvl="1"/>
            <a:r>
              <a:rPr lang="pt-BR" noProof="1"/>
              <a:t>Second level (bullet)</a:t>
            </a:r>
          </a:p>
          <a:p>
            <a:pPr lvl="2"/>
            <a:r>
              <a:rPr lang="pt-BR" noProof="1"/>
              <a:t>Third level (bullet)</a:t>
            </a:r>
          </a:p>
          <a:p>
            <a:pPr lvl="3"/>
            <a:r>
              <a:rPr lang="pt-BR" noProof="1"/>
              <a:t>Fourth level (bullet)</a:t>
            </a:r>
          </a:p>
          <a:p>
            <a:pPr lvl="4"/>
            <a:r>
              <a:rPr lang="pt-BR" noProof="1"/>
              <a:t>Fifth level (bullet)</a:t>
            </a:r>
          </a:p>
          <a:p>
            <a:pPr lvl="5"/>
            <a:r>
              <a:rPr lang="pt-BR" noProof="1"/>
              <a:t>Sixth level (copy)</a:t>
            </a:r>
          </a:p>
          <a:p>
            <a:pPr lvl="6"/>
            <a:r>
              <a:rPr lang="pt-BR" noProof="1"/>
              <a:t>Seventh level (small copy)</a:t>
            </a:r>
          </a:p>
          <a:p>
            <a:pPr lvl="8"/>
            <a:r>
              <a:rPr lang="pt-BR" noProof="1"/>
              <a:t>Ninth level (footnotes and citations)</a:t>
            </a:r>
          </a:p>
          <a:p>
            <a:endParaRPr lang="pt-BR" noProof="1"/>
          </a:p>
        </p:txBody>
      </p:sp>
      <p:sp>
        <p:nvSpPr>
          <p:cNvPr id="9" name="Marcador de texto 8">
            <a:extLst>
              <a:ext uri="{FF2B5EF4-FFF2-40B4-BE49-F238E27FC236}">
                <a16:creationId xmlns:a16="http://schemas.microsoft.com/office/drawing/2014/main" id="{815598A1-2429-91F0-5D3C-136EA1B9B133}"/>
              </a:ext>
            </a:extLst>
          </p:cNvPr>
          <p:cNvSpPr>
            <a:spLocks noGrp="1"/>
          </p:cNvSpPr>
          <p:nvPr>
            <p:ph type="body" idx="21"/>
          </p:nvPr>
        </p:nvSpPr>
        <p:spPr>
          <a:xfrm>
            <a:off x="4408212" y="1844675"/>
            <a:ext cx="3393084" cy="457200"/>
          </a:xfrm>
        </p:spPr>
        <p:txBody>
          <a:bodyPr/>
          <a:lstStyle/>
          <a:p>
            <a:r>
              <a:rPr lang="pt-BR" noProof="1"/>
              <a:t>02</a:t>
            </a:r>
          </a:p>
        </p:txBody>
      </p:sp>
      <p:sp>
        <p:nvSpPr>
          <p:cNvPr id="5" name="Marcador de texto 4">
            <a:extLst>
              <a:ext uri="{FF2B5EF4-FFF2-40B4-BE49-F238E27FC236}">
                <a16:creationId xmlns:a16="http://schemas.microsoft.com/office/drawing/2014/main" id="{240FF618-6589-BF6E-1F3B-69A374FC08F1}"/>
              </a:ext>
            </a:extLst>
          </p:cNvPr>
          <p:cNvSpPr>
            <a:spLocks noGrp="1"/>
          </p:cNvSpPr>
          <p:nvPr>
            <p:ph type="body" idx="19"/>
          </p:nvPr>
        </p:nvSpPr>
        <p:spPr>
          <a:xfrm>
            <a:off x="4408212" y="2301875"/>
            <a:ext cx="3393084" cy="822960"/>
          </a:xfrm>
        </p:spPr>
        <p:txBody>
          <a:bodyPr/>
          <a:lstStyle/>
          <a:p>
            <a:r>
              <a:rPr lang="pt-BR" noProof="1"/>
              <a:t>Solução da Rede Neural</a:t>
            </a:r>
          </a:p>
          <a:p>
            <a:r>
              <a:rPr lang="pt-BR" noProof="1"/>
              <a:t>(predição)</a:t>
            </a:r>
          </a:p>
        </p:txBody>
      </p:sp>
      <p:sp>
        <p:nvSpPr>
          <p:cNvPr id="3" name="Marcador de contenido 2">
            <a:extLst>
              <a:ext uri="{FF2B5EF4-FFF2-40B4-BE49-F238E27FC236}">
                <a16:creationId xmlns:a16="http://schemas.microsoft.com/office/drawing/2014/main" id="{DBE61182-BC94-887B-738B-1834DDF55771}"/>
              </a:ext>
            </a:extLst>
          </p:cNvPr>
          <p:cNvSpPr>
            <a:spLocks noGrp="1"/>
          </p:cNvSpPr>
          <p:nvPr>
            <p:ph sz="half" idx="20"/>
          </p:nvPr>
        </p:nvSpPr>
        <p:spPr>
          <a:xfrm>
            <a:off x="4408212" y="3124835"/>
            <a:ext cx="3393084" cy="2761488"/>
          </a:xfrm>
        </p:spPr>
        <p:txBody>
          <a:bodyPr/>
          <a:lstStyle/>
          <a:p>
            <a:pPr lvl="0"/>
            <a:r>
              <a:rPr lang="pt-BR" noProof="1"/>
              <a:t>First level (bullet)</a:t>
            </a:r>
          </a:p>
          <a:p>
            <a:pPr lvl="1"/>
            <a:r>
              <a:rPr lang="pt-BR" noProof="1"/>
              <a:t>Second level (bullet)</a:t>
            </a:r>
          </a:p>
          <a:p>
            <a:pPr lvl="2"/>
            <a:r>
              <a:rPr lang="pt-BR" noProof="1"/>
              <a:t>Third level (bullet)</a:t>
            </a:r>
          </a:p>
          <a:p>
            <a:pPr lvl="3"/>
            <a:r>
              <a:rPr lang="pt-BR" noProof="1"/>
              <a:t>Fourth level (bullet)</a:t>
            </a:r>
          </a:p>
          <a:p>
            <a:pPr lvl="4"/>
            <a:r>
              <a:rPr lang="pt-BR" noProof="1"/>
              <a:t>Fifth level (bullet)</a:t>
            </a:r>
          </a:p>
          <a:p>
            <a:pPr lvl="5"/>
            <a:r>
              <a:rPr lang="pt-BR" noProof="1"/>
              <a:t>Sixth level (copy)</a:t>
            </a:r>
          </a:p>
          <a:p>
            <a:pPr lvl="6"/>
            <a:r>
              <a:rPr lang="pt-BR" noProof="1"/>
              <a:t>Seventh level (small copy)</a:t>
            </a:r>
          </a:p>
          <a:p>
            <a:pPr lvl="8"/>
            <a:r>
              <a:rPr lang="pt-BR" noProof="1"/>
              <a:t>Ninth level (footnotes and citations)</a:t>
            </a:r>
          </a:p>
          <a:p>
            <a:endParaRPr lang="pt-BR" noProof="1"/>
          </a:p>
        </p:txBody>
      </p:sp>
      <p:sp>
        <p:nvSpPr>
          <p:cNvPr id="12" name="Marcador de texto 11">
            <a:extLst>
              <a:ext uri="{FF2B5EF4-FFF2-40B4-BE49-F238E27FC236}">
                <a16:creationId xmlns:a16="http://schemas.microsoft.com/office/drawing/2014/main" id="{FF91BAD5-C082-5D50-C85F-741D6EB7909C}"/>
              </a:ext>
            </a:extLst>
          </p:cNvPr>
          <p:cNvSpPr>
            <a:spLocks noGrp="1"/>
          </p:cNvSpPr>
          <p:nvPr>
            <p:ph type="body" idx="24"/>
          </p:nvPr>
        </p:nvSpPr>
        <p:spPr>
          <a:xfrm>
            <a:off x="8255000" y="1844675"/>
            <a:ext cx="3393084" cy="457200"/>
          </a:xfrm>
        </p:spPr>
        <p:txBody>
          <a:bodyPr/>
          <a:lstStyle/>
          <a:p>
            <a:r>
              <a:rPr lang="pt-BR" noProof="1"/>
              <a:t>03</a:t>
            </a:r>
          </a:p>
        </p:txBody>
      </p:sp>
      <p:sp>
        <p:nvSpPr>
          <p:cNvPr id="10" name="Marcador de texto 9">
            <a:extLst>
              <a:ext uri="{FF2B5EF4-FFF2-40B4-BE49-F238E27FC236}">
                <a16:creationId xmlns:a16="http://schemas.microsoft.com/office/drawing/2014/main" id="{9441ED00-D516-72BA-7DFD-D38E4D71C2E9}"/>
              </a:ext>
            </a:extLst>
          </p:cNvPr>
          <p:cNvSpPr>
            <a:spLocks noGrp="1"/>
          </p:cNvSpPr>
          <p:nvPr>
            <p:ph type="body" idx="22"/>
          </p:nvPr>
        </p:nvSpPr>
        <p:spPr>
          <a:xfrm>
            <a:off x="8255000" y="2301875"/>
            <a:ext cx="3393084" cy="822960"/>
          </a:xfrm>
        </p:spPr>
        <p:txBody>
          <a:bodyPr/>
          <a:lstStyle/>
          <a:p>
            <a:r>
              <a:rPr lang="pt-BR" noProof="1"/>
              <a:t>Mapa do Erro Absoluto</a:t>
            </a:r>
          </a:p>
        </p:txBody>
      </p:sp>
      <p:sp>
        <p:nvSpPr>
          <p:cNvPr id="11" name="Marcador de contenido 10">
            <a:extLst>
              <a:ext uri="{FF2B5EF4-FFF2-40B4-BE49-F238E27FC236}">
                <a16:creationId xmlns:a16="http://schemas.microsoft.com/office/drawing/2014/main" id="{CEC89A0A-0BD1-6BA0-0003-4D62A2C977D4}"/>
              </a:ext>
            </a:extLst>
          </p:cNvPr>
          <p:cNvSpPr>
            <a:spLocks noGrp="1"/>
          </p:cNvSpPr>
          <p:nvPr>
            <p:ph sz="half" idx="23"/>
          </p:nvPr>
        </p:nvSpPr>
        <p:spPr>
          <a:xfrm>
            <a:off x="8255000" y="3124835"/>
            <a:ext cx="3393084" cy="2761488"/>
          </a:xfrm>
        </p:spPr>
        <p:txBody>
          <a:bodyPr/>
          <a:lstStyle/>
          <a:p>
            <a:pPr lvl="0"/>
            <a:r>
              <a:rPr lang="pt-BR" noProof="1"/>
              <a:t>First level (bullet)</a:t>
            </a:r>
          </a:p>
          <a:p>
            <a:pPr lvl="1"/>
            <a:r>
              <a:rPr lang="pt-BR" noProof="1"/>
              <a:t>Second level (bullet)</a:t>
            </a:r>
          </a:p>
          <a:p>
            <a:pPr lvl="2"/>
            <a:r>
              <a:rPr lang="pt-BR" noProof="1"/>
              <a:t>Third level (bullet)</a:t>
            </a:r>
          </a:p>
          <a:p>
            <a:pPr lvl="3"/>
            <a:r>
              <a:rPr lang="pt-BR" noProof="1"/>
              <a:t>Fourth level (bullet)</a:t>
            </a:r>
          </a:p>
          <a:p>
            <a:pPr lvl="4"/>
            <a:r>
              <a:rPr lang="pt-BR" noProof="1"/>
              <a:t>Fifth level (bullet)</a:t>
            </a:r>
          </a:p>
          <a:p>
            <a:pPr lvl="5"/>
            <a:r>
              <a:rPr lang="pt-BR" noProof="1"/>
              <a:t>Sixth level (copy)</a:t>
            </a:r>
          </a:p>
          <a:p>
            <a:pPr lvl="6"/>
            <a:r>
              <a:rPr lang="pt-BR" noProof="1"/>
              <a:t>Seventh level (small copy)</a:t>
            </a:r>
          </a:p>
          <a:p>
            <a:pPr lvl="8"/>
            <a:r>
              <a:rPr lang="pt-BR" noProof="1"/>
              <a:t>Ninth level (footnotes and citations)</a:t>
            </a:r>
          </a:p>
          <a:p>
            <a:endParaRPr lang="pt-BR" noProof="1"/>
          </a:p>
        </p:txBody>
      </p:sp>
    </p:spTree>
    <p:extLst>
      <p:ext uri="{BB962C8B-B14F-4D97-AF65-F5344CB8AC3E}">
        <p14:creationId xmlns:p14="http://schemas.microsoft.com/office/powerpoint/2010/main" val="19845809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59346B-1662-8DCF-C714-0964297E0512}"/>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4BC702C-0876-C4A5-E14B-B54E4F96D0F9}"/>
              </a:ext>
            </a:extLst>
          </p:cNvPr>
          <p:cNvGraphicFramePr>
            <a:graphicFrameLocks noChangeAspect="1"/>
          </p:cNvGraphicFramePr>
          <p:nvPr>
            <p:custDataLst>
              <p:tags r:id="rId1"/>
            </p:custDataLst>
            <p:extLst>
              <p:ext uri="{D42A27DB-BD31-4B8C-83A1-F6EECF244321}">
                <p14:modId xmlns:p14="http://schemas.microsoft.com/office/powerpoint/2010/main" val="4233662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3" name="think-cell data - do not delete" hidden="1">
                        <a:extLst>
                          <a:ext uri="{FF2B5EF4-FFF2-40B4-BE49-F238E27FC236}">
                            <a16:creationId xmlns:a16="http://schemas.microsoft.com/office/drawing/2014/main" id="{44BC702C-0876-C4A5-E14B-B54E4F96D0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C764A624-9191-0868-8286-AA00A3437717}"/>
              </a:ext>
            </a:extLst>
          </p:cNvPr>
          <p:cNvSpPr>
            <a:spLocks noGrp="1"/>
          </p:cNvSpPr>
          <p:nvPr>
            <p:ph type="title"/>
          </p:nvPr>
        </p:nvSpPr>
        <p:spPr>
          <a:xfrm>
            <a:off x="554569" y="549276"/>
            <a:ext cx="4618998" cy="787908"/>
          </a:xfrm>
        </p:spPr>
        <p:txBody>
          <a:bodyPr vert="horz"/>
          <a:lstStyle/>
          <a:p>
            <a:r>
              <a:rPr lang="pt-BR" noProof="1"/>
              <a:t>Evolução do Erro Durante o Treinamento</a:t>
            </a:r>
          </a:p>
        </p:txBody>
      </p:sp>
      <p:sp>
        <p:nvSpPr>
          <p:cNvPr id="7" name="Marcador de texto 6">
            <a:extLst>
              <a:ext uri="{FF2B5EF4-FFF2-40B4-BE49-F238E27FC236}">
                <a16:creationId xmlns:a16="http://schemas.microsoft.com/office/drawing/2014/main" id="{FE841299-27DE-5CE3-A618-88F2CBAB79D0}"/>
              </a:ext>
            </a:extLst>
          </p:cNvPr>
          <p:cNvSpPr>
            <a:spLocks noGrp="1"/>
          </p:cNvSpPr>
          <p:nvPr>
            <p:ph type="body" sz="quarter" idx="4294967295"/>
          </p:nvPr>
        </p:nvSpPr>
        <p:spPr>
          <a:xfrm>
            <a:off x="554568" y="1740737"/>
            <a:ext cx="4618998" cy="2820136"/>
          </a:xfrm>
        </p:spPr>
        <p:txBody>
          <a:bodyPr/>
          <a:lstStyle/>
          <a:p>
            <a:r>
              <a:rPr lang="pt-BR" noProof="1">
                <a:solidFill>
                  <a:schemeClr val="bg2"/>
                </a:solidFill>
              </a:rPr>
              <a:t>MSE de treinamento e validação + busca de hiperparâmetros</a:t>
            </a:r>
          </a:p>
        </p:txBody>
      </p:sp>
      <p:pic>
        <p:nvPicPr>
          <p:cNvPr id="15" name="Picture 14" descr="A graph with blue and orange lines&#10;&#10;AI-generated content may be incorrect.">
            <a:extLst>
              <a:ext uri="{FF2B5EF4-FFF2-40B4-BE49-F238E27FC236}">
                <a16:creationId xmlns:a16="http://schemas.microsoft.com/office/drawing/2014/main" id="{8557715A-8A0F-206B-201D-C477AACA70CA}"/>
              </a:ext>
            </a:extLst>
          </p:cNvPr>
          <p:cNvPicPr>
            <a:picLocks noChangeAspect="1"/>
          </p:cNvPicPr>
          <p:nvPr/>
        </p:nvPicPr>
        <p:blipFill>
          <a:blip r:embed="rId6"/>
          <a:stretch>
            <a:fillRect/>
          </a:stretch>
        </p:blipFill>
        <p:spPr>
          <a:xfrm>
            <a:off x="5690030" y="1787739"/>
            <a:ext cx="5611782" cy="3507364"/>
          </a:xfrm>
          <a:prstGeom prst="rect">
            <a:avLst/>
          </a:prstGeom>
        </p:spPr>
      </p:pic>
    </p:spTree>
    <p:extLst>
      <p:ext uri="{BB962C8B-B14F-4D97-AF65-F5344CB8AC3E}">
        <p14:creationId xmlns:p14="http://schemas.microsoft.com/office/powerpoint/2010/main" val="330543400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B47832-8892-8409-1E20-5F86C78A1600}"/>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5A1437F-2022-22D6-727A-06A1FAF125C9}"/>
              </a:ext>
            </a:extLst>
          </p:cNvPr>
          <p:cNvGraphicFramePr>
            <a:graphicFrameLocks noChangeAspect="1"/>
          </p:cNvGraphicFramePr>
          <p:nvPr>
            <p:custDataLst>
              <p:tags r:id="rId1"/>
            </p:custDataLst>
            <p:extLst>
              <p:ext uri="{D42A27DB-BD31-4B8C-83A1-F6EECF244321}">
                <p14:modId xmlns:p14="http://schemas.microsoft.com/office/powerpoint/2010/main" val="3729185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2" name="think-cell data - do not delete" hidden="1">
                        <a:extLst>
                          <a:ext uri="{FF2B5EF4-FFF2-40B4-BE49-F238E27FC236}">
                            <a16:creationId xmlns:a16="http://schemas.microsoft.com/office/drawing/2014/main" id="{25A1437F-2022-22D6-727A-06A1FAF125C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62C58283-7627-AB27-8911-9F3196C8453B}"/>
              </a:ext>
            </a:extLst>
          </p:cNvPr>
          <p:cNvSpPr>
            <a:spLocks noGrp="1"/>
          </p:cNvSpPr>
          <p:nvPr>
            <p:ph type="title"/>
          </p:nvPr>
        </p:nvSpPr>
        <p:spPr>
          <a:xfrm>
            <a:off x="574352" y="4414043"/>
            <a:ext cx="4205323" cy="393954"/>
          </a:xfrm>
        </p:spPr>
        <p:txBody>
          <a:bodyPr vert="horz"/>
          <a:lstStyle/>
          <a:p>
            <a:r>
              <a:rPr lang="pt-BR" noProof="1"/>
              <a:t>Conclusão</a:t>
            </a:r>
          </a:p>
        </p:txBody>
      </p:sp>
      <p:sp>
        <p:nvSpPr>
          <p:cNvPr id="3" name="Text Placeholder 2">
            <a:extLst>
              <a:ext uri="{FF2B5EF4-FFF2-40B4-BE49-F238E27FC236}">
                <a16:creationId xmlns:a16="http://schemas.microsoft.com/office/drawing/2014/main" id="{5799E01C-7B3C-B8D3-8421-A2B81AC7DCC4}"/>
              </a:ext>
            </a:extLst>
          </p:cNvPr>
          <p:cNvSpPr>
            <a:spLocks noGrp="1"/>
          </p:cNvSpPr>
          <p:nvPr>
            <p:ph type="body" sz="quarter" idx="11"/>
          </p:nvPr>
        </p:nvSpPr>
        <p:spPr>
          <a:xfrm>
            <a:off x="574352" y="2576447"/>
            <a:ext cx="1426673" cy="1231106"/>
          </a:xfrm>
        </p:spPr>
        <p:txBody>
          <a:bodyPr/>
          <a:lstStyle/>
          <a:p>
            <a:r>
              <a:rPr lang="pt-BR" noProof="1"/>
              <a:t>06</a:t>
            </a:r>
          </a:p>
        </p:txBody>
      </p:sp>
      <p:sp>
        <p:nvSpPr>
          <p:cNvPr id="4" name="Marcador de texto 3">
            <a:extLst>
              <a:ext uri="{FF2B5EF4-FFF2-40B4-BE49-F238E27FC236}">
                <a16:creationId xmlns:a16="http://schemas.microsoft.com/office/drawing/2014/main" id="{11E9FB9D-A7B9-27B1-3357-371532F446C7}"/>
              </a:ext>
            </a:extLst>
          </p:cNvPr>
          <p:cNvSpPr>
            <a:spLocks noGrp="1"/>
          </p:cNvSpPr>
          <p:nvPr>
            <p:ph type="body" sz="quarter" idx="19"/>
          </p:nvPr>
        </p:nvSpPr>
        <p:spPr>
          <a:xfrm>
            <a:off x="574352" y="5080829"/>
            <a:ext cx="4205324" cy="787909"/>
          </a:xfrm>
        </p:spPr>
        <p:txBody>
          <a:bodyPr/>
          <a:lstStyle/>
          <a:p>
            <a:r>
              <a:rPr lang="pt-BR" noProof="1"/>
              <a:t>Síntese final e próximos passos</a:t>
            </a:r>
          </a:p>
        </p:txBody>
      </p:sp>
      <p:pic>
        <p:nvPicPr>
          <p:cNvPr id="13" name="Picture Placeholder 12">
            <a:extLst>
              <a:ext uri="{FF2B5EF4-FFF2-40B4-BE49-F238E27FC236}">
                <a16:creationId xmlns:a16="http://schemas.microsoft.com/office/drawing/2014/main" id="{F9A02025-77AC-651F-F68B-F495AB8D6B55}"/>
              </a:ext>
              <a:ext uri="{C183D7F6-B498-43B3-948B-1728B52AA6E4}">
                <adec:decorative xmlns:adec="http://schemas.microsoft.com/office/drawing/2017/decorative" val="1"/>
              </a:ext>
            </a:extLst>
          </p:cNvPr>
          <p:cNvPicPr>
            <a:picLocks noGrp="1" noChangeAspect="1"/>
          </p:cNvPicPr>
          <p:nvPr>
            <p:ph type="pic" sz="quarter" idx="13"/>
          </p:nvPr>
        </p:nvPicPr>
        <p:blipFill>
          <a:blip r:embed="rId6"/>
          <a:srcRect t="7" b="7"/>
          <a:stretch/>
        </p:blipFill>
        <p:spPr>
          <a:xfrm>
            <a:off x="5362807" y="549275"/>
            <a:ext cx="6278331" cy="5759449"/>
          </a:xfrm>
        </p:spPr>
      </p:pic>
    </p:spTree>
    <p:extLst>
      <p:ext uri="{BB962C8B-B14F-4D97-AF65-F5344CB8AC3E}">
        <p14:creationId xmlns:p14="http://schemas.microsoft.com/office/powerpoint/2010/main" val="3166467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034C7B-F886-1FF3-BF37-60E0E4EF2D98}"/>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6CE9EE6-6761-D3BF-778E-A53D7C7B505A}"/>
              </a:ext>
            </a:extLst>
          </p:cNvPr>
          <p:cNvGraphicFramePr>
            <a:graphicFrameLocks noChangeAspect="1"/>
          </p:cNvGraphicFramePr>
          <p:nvPr>
            <p:custDataLst>
              <p:tags r:id="rId1"/>
            </p:custDataLst>
            <p:extLst>
              <p:ext uri="{D42A27DB-BD31-4B8C-83A1-F6EECF244321}">
                <p14:modId xmlns:p14="http://schemas.microsoft.com/office/powerpoint/2010/main" val="27256330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4" name="think-cell data - do not delete" hidden="1">
                        <a:extLst>
                          <a:ext uri="{FF2B5EF4-FFF2-40B4-BE49-F238E27FC236}">
                            <a16:creationId xmlns:a16="http://schemas.microsoft.com/office/drawing/2014/main" id="{06CE9EE6-6761-D3BF-778E-A53D7C7B50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Title 1">
            <a:extLst>
              <a:ext uri="{FF2B5EF4-FFF2-40B4-BE49-F238E27FC236}">
                <a16:creationId xmlns:a16="http://schemas.microsoft.com/office/drawing/2014/main" id="{44465EFF-A7EF-2295-288F-FCE80AE43913}"/>
              </a:ext>
            </a:extLst>
          </p:cNvPr>
          <p:cNvSpPr txBox="1">
            <a:spLocks/>
          </p:cNvSpPr>
          <p:nvPr/>
        </p:nvSpPr>
        <p:spPr>
          <a:xfrm>
            <a:off x="1321306" y="2194912"/>
            <a:ext cx="9549389" cy="2468176"/>
          </a:xfrm>
          <a:prstGeom prst="rect">
            <a:avLst/>
          </a:prstGeom>
        </p:spPr>
        <p:txBody>
          <a:bodyPr vert="horz" wrap="square" lIns="0" tIns="0" rIns="0" bIns="0" rtlCol="0" anchor="ctr">
            <a:spAutoFit/>
          </a:bodyPr>
          <a:lstStyle>
            <a:lvl1pPr algn="l" defTabSz="914377" rtl="0" eaLnBrk="1" latinLnBrk="0" hangingPunct="1">
              <a:lnSpc>
                <a:spcPct val="80000"/>
              </a:lnSpc>
              <a:spcBef>
                <a:spcPct val="0"/>
              </a:spcBef>
              <a:buNone/>
              <a:defRPr lang="en-US" sz="4000" b="0" i="0" kern="1200">
                <a:solidFill>
                  <a:schemeClr val="tx1"/>
                </a:solidFill>
                <a:latin typeface="GT Sectra Fine Rg" pitchFamily="2" charset="77"/>
                <a:ea typeface="+mj-ea"/>
                <a:cs typeface="+mj-cs"/>
              </a:defRPr>
            </a:lvl1pPr>
          </a:lstStyle>
          <a:p>
            <a:r>
              <a:rPr lang="pt-BR" noProof="1"/>
              <a:t>Next Steps:</a:t>
            </a:r>
            <a:br>
              <a:rPr lang="pt-BR" noProof="1"/>
            </a:br>
            <a:r>
              <a:rPr lang="pt-BR" noProof="1"/>
              <a:t>	</a:t>
            </a:r>
            <a:r>
              <a:rPr lang="pt-BR" b="1" noProof="1">
                <a:solidFill>
                  <a:schemeClr val="bg2"/>
                </a:solidFill>
              </a:rPr>
              <a:t>Refinamento</a:t>
            </a:r>
            <a:r>
              <a:rPr lang="pt-BR" noProof="1"/>
              <a:t> do modelo 1D</a:t>
            </a:r>
          </a:p>
          <a:p>
            <a:r>
              <a:rPr lang="pt-BR" noProof="1"/>
              <a:t>	</a:t>
            </a:r>
            <a:r>
              <a:rPr lang="pt-BR" b="1" noProof="1">
                <a:solidFill>
                  <a:schemeClr val="bg2"/>
                </a:solidFill>
              </a:rPr>
              <a:t>Comparação</a:t>
            </a:r>
            <a:r>
              <a:rPr lang="pt-BR" noProof="1"/>
              <a:t> com resultados do VEM</a:t>
            </a:r>
            <a:br>
              <a:rPr lang="pt-BR" noProof="1"/>
            </a:br>
            <a:r>
              <a:rPr lang="pt-BR" noProof="1"/>
              <a:t>	Cálculos de </a:t>
            </a:r>
            <a:r>
              <a:rPr lang="pt-BR" b="1" noProof="1">
                <a:solidFill>
                  <a:schemeClr val="bg2"/>
                </a:solidFill>
              </a:rPr>
              <a:t>incerteza</a:t>
            </a:r>
            <a:br>
              <a:rPr lang="pt-BR" noProof="1"/>
            </a:br>
            <a:r>
              <a:rPr lang="pt-BR" noProof="1"/>
              <a:t>	Implementação do </a:t>
            </a:r>
            <a:r>
              <a:rPr lang="pt-BR" b="1" noProof="1">
                <a:solidFill>
                  <a:schemeClr val="bg2"/>
                </a:solidFill>
              </a:rPr>
              <a:t>modelo</a:t>
            </a:r>
            <a:r>
              <a:rPr lang="pt-BR" noProof="1">
                <a:solidFill>
                  <a:schemeClr val="bg2"/>
                </a:solidFill>
              </a:rPr>
              <a:t> </a:t>
            </a:r>
            <a:r>
              <a:rPr lang="pt-BR" b="1" noProof="1">
                <a:solidFill>
                  <a:schemeClr val="bg2"/>
                </a:solidFill>
              </a:rPr>
              <a:t>2D</a:t>
            </a:r>
          </a:p>
        </p:txBody>
      </p:sp>
    </p:spTree>
    <p:extLst>
      <p:ext uri="{BB962C8B-B14F-4D97-AF65-F5344CB8AC3E}">
        <p14:creationId xmlns:p14="http://schemas.microsoft.com/office/powerpoint/2010/main" val="387993989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DEA0D4-49F2-68DD-07F0-535A16453F43}"/>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A6A3DE4-07DB-1DF5-A80A-DCAE63DBAEF7}"/>
              </a:ext>
            </a:extLst>
          </p:cNvPr>
          <p:cNvGraphicFramePr>
            <a:graphicFrameLocks noChangeAspect="1"/>
          </p:cNvGraphicFramePr>
          <p:nvPr>
            <p:custDataLst>
              <p:tags r:id="rId1"/>
            </p:custDataLst>
            <p:extLst>
              <p:ext uri="{D42A27DB-BD31-4B8C-83A1-F6EECF244321}">
                <p14:modId xmlns:p14="http://schemas.microsoft.com/office/powerpoint/2010/main" val="1828362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3" name="think-cell data - do not delete" hidden="1">
                        <a:extLst>
                          <a:ext uri="{FF2B5EF4-FFF2-40B4-BE49-F238E27FC236}">
                            <a16:creationId xmlns:a16="http://schemas.microsoft.com/office/drawing/2014/main" id="{1A6A3DE4-07DB-1DF5-A80A-DCAE63DBAE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E28E085-8DB8-4109-DCFC-6406AAFB6C72}"/>
              </a:ext>
            </a:extLst>
          </p:cNvPr>
          <p:cNvSpPr>
            <a:spLocks noGrp="1"/>
          </p:cNvSpPr>
          <p:nvPr>
            <p:ph type="title"/>
          </p:nvPr>
        </p:nvSpPr>
        <p:spPr>
          <a:xfrm>
            <a:off x="1191348" y="3429000"/>
            <a:ext cx="5150449" cy="984885"/>
          </a:xfrm>
        </p:spPr>
        <p:txBody>
          <a:bodyPr vert="horz"/>
          <a:lstStyle/>
          <a:p>
            <a:r>
              <a:rPr lang="pt-BR" noProof="1">
                <a:latin typeface="Graphik Semibold" panose="020B0703030202060203" pitchFamily="34" charset="0"/>
              </a:rPr>
              <a:t>Obrigado!</a:t>
            </a:r>
          </a:p>
        </p:txBody>
      </p:sp>
    </p:spTree>
    <p:extLst>
      <p:ext uri="{BB962C8B-B14F-4D97-AF65-F5344CB8AC3E}">
        <p14:creationId xmlns:p14="http://schemas.microsoft.com/office/powerpoint/2010/main" val="264037277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D31785E-BDB6-6977-7BBB-8852DD832A5C}"/>
              </a:ext>
            </a:extLst>
          </p:cNvPr>
          <p:cNvGraphicFramePr>
            <a:graphicFrameLocks noChangeAspect="1"/>
          </p:cNvGraphicFramePr>
          <p:nvPr>
            <p:custDataLst>
              <p:tags r:id="rId1"/>
            </p:custDataLst>
            <p:extLst>
              <p:ext uri="{D42A27DB-BD31-4B8C-83A1-F6EECF244321}">
                <p14:modId xmlns:p14="http://schemas.microsoft.com/office/powerpoint/2010/main" val="70306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3" name="think-cell data - do not delete" hidden="1">
                        <a:extLst>
                          <a:ext uri="{FF2B5EF4-FFF2-40B4-BE49-F238E27FC236}">
                            <a16:creationId xmlns:a16="http://schemas.microsoft.com/office/drawing/2014/main" id="{2D31785E-BDB6-6977-7BBB-8852DD832A5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B40DB6F-6774-4642-B634-C94EC271FEED}"/>
              </a:ext>
            </a:extLst>
          </p:cNvPr>
          <p:cNvSpPr>
            <a:spLocks noGrp="1"/>
          </p:cNvSpPr>
          <p:nvPr>
            <p:ph type="title"/>
          </p:nvPr>
        </p:nvSpPr>
        <p:spPr>
          <a:xfrm>
            <a:off x="556467" y="585300"/>
            <a:ext cx="6757704" cy="393954"/>
          </a:xfrm>
        </p:spPr>
        <p:txBody>
          <a:bodyPr vert="horz"/>
          <a:lstStyle/>
          <a:p>
            <a:r>
              <a:rPr lang="pt-BR" noProof="1"/>
              <a:t>Contents</a:t>
            </a:r>
          </a:p>
        </p:txBody>
      </p:sp>
      <p:sp>
        <p:nvSpPr>
          <p:cNvPr id="26" name="Text Placeholder 25">
            <a:extLst>
              <a:ext uri="{FF2B5EF4-FFF2-40B4-BE49-F238E27FC236}">
                <a16:creationId xmlns:a16="http://schemas.microsoft.com/office/drawing/2014/main" id="{131160B5-B45C-A861-F042-AC029791C4CC}"/>
              </a:ext>
            </a:extLst>
          </p:cNvPr>
          <p:cNvSpPr>
            <a:spLocks noGrp="1"/>
          </p:cNvSpPr>
          <p:nvPr>
            <p:ph type="body" idx="29"/>
          </p:nvPr>
        </p:nvSpPr>
        <p:spPr/>
        <p:txBody>
          <a:bodyPr/>
          <a:lstStyle/>
          <a:p>
            <a:r>
              <a:rPr lang="pt-BR" noProof="1"/>
              <a:t>How are you using this PPT?</a:t>
            </a:r>
          </a:p>
        </p:txBody>
      </p:sp>
      <p:sp>
        <p:nvSpPr>
          <p:cNvPr id="25" name="Text Placeholder 24">
            <a:extLst>
              <a:ext uri="{FF2B5EF4-FFF2-40B4-BE49-F238E27FC236}">
                <a16:creationId xmlns:a16="http://schemas.microsoft.com/office/drawing/2014/main" id="{F129E932-A172-7098-C327-109636EEC3B2}"/>
              </a:ext>
            </a:extLst>
          </p:cNvPr>
          <p:cNvSpPr>
            <a:spLocks noGrp="1"/>
          </p:cNvSpPr>
          <p:nvPr>
            <p:ph type="body" sz="quarter" idx="28"/>
          </p:nvPr>
        </p:nvSpPr>
        <p:spPr>
          <a:xfrm>
            <a:off x="557213" y="2330450"/>
            <a:ext cx="3148012" cy="975688"/>
          </a:xfrm>
        </p:spPr>
        <p:txBody>
          <a:bodyPr/>
          <a:lstStyle/>
          <a:p>
            <a:r>
              <a:rPr lang="pt-BR" noProof="1"/>
              <a:t>This template is for presentations, not long-form reading. Text should be clear, concise, and easy to read, with ideas simple to interpret in a few words. Use at least 12pts body copy for readability.</a:t>
            </a:r>
          </a:p>
        </p:txBody>
      </p:sp>
      <p:sp>
        <p:nvSpPr>
          <p:cNvPr id="6" name="TextBox 5">
            <a:extLst>
              <a:ext uri="{FF2B5EF4-FFF2-40B4-BE49-F238E27FC236}">
                <a16:creationId xmlns:a16="http://schemas.microsoft.com/office/drawing/2014/main" id="{ECC55D40-FB49-0D5D-2F38-913DAD20002F}"/>
              </a:ext>
            </a:extLst>
          </p:cNvPr>
          <p:cNvSpPr txBox="1"/>
          <p:nvPr/>
        </p:nvSpPr>
        <p:spPr>
          <a:xfrm>
            <a:off x="8527427" y="1814568"/>
            <a:ext cx="2708420" cy="646331"/>
          </a:xfrm>
          <a:prstGeom prst="rect">
            <a:avLst/>
          </a:prstGeom>
          <a:noFill/>
        </p:spPr>
        <p:txBody>
          <a:bodyPr wrap="square" lIns="0" tIns="0" rIns="0" bIns="0" rtlCol="0" anchor="t">
            <a:spAutoFit/>
          </a:bodyPr>
          <a:lstStyle/>
          <a:p>
            <a:pPr defTabSz="228594">
              <a:spcAft>
                <a:spcPts val="1200"/>
              </a:spcAft>
              <a:defRPr/>
            </a:pPr>
            <a:r>
              <a:rPr lang="pt-BR" sz="1400" noProof="1">
                <a:solidFill>
                  <a:srgbClr val="FFFFFF"/>
                </a:solidFill>
                <a:latin typeface="Graphik"/>
              </a:rPr>
              <a:t>Access key information, logos, photos and other brand elements here:</a:t>
            </a:r>
            <a:endParaRPr lang="pt-BR" noProof="1"/>
          </a:p>
        </p:txBody>
      </p:sp>
      <p:sp>
        <p:nvSpPr>
          <p:cNvPr id="7" name="Rounded Rectangle 6" descr="Brandspace website hyperlink">
            <a:hlinkClick r:id="rId6"/>
            <a:extLst>
              <a:ext uri="{FF2B5EF4-FFF2-40B4-BE49-F238E27FC236}">
                <a16:creationId xmlns:a16="http://schemas.microsoft.com/office/drawing/2014/main" id="{D35D2666-F6CC-F9C9-B296-89F11EE3BF6D}"/>
              </a:ext>
            </a:extLst>
          </p:cNvPr>
          <p:cNvSpPr/>
          <p:nvPr/>
        </p:nvSpPr>
        <p:spPr>
          <a:xfrm>
            <a:off x="8526312" y="2815986"/>
            <a:ext cx="1587486" cy="393954"/>
          </a:xfrm>
          <a:prstGeom prst="roundRect">
            <a:avLst>
              <a:gd name="adj" fmla="val 0"/>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pt-BR" sz="1400" noProof="1">
                <a:solidFill>
                  <a:schemeClr val="accent2"/>
                </a:solidFill>
              </a:rPr>
              <a:t>BrandSpace</a:t>
            </a:r>
          </a:p>
        </p:txBody>
      </p:sp>
    </p:spTree>
    <p:extLst>
      <p:ext uri="{BB962C8B-B14F-4D97-AF65-F5344CB8AC3E}">
        <p14:creationId xmlns:p14="http://schemas.microsoft.com/office/powerpoint/2010/main" val="366786420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3BA7207-F4D2-A5BE-D7D7-741C3CF208B3}"/>
              </a:ext>
            </a:extLst>
          </p:cNvPr>
          <p:cNvGraphicFramePr>
            <a:graphicFrameLocks noChangeAspect="1"/>
          </p:cNvGraphicFramePr>
          <p:nvPr>
            <p:custDataLst>
              <p:tags r:id="rId1"/>
            </p:custDataLst>
            <p:extLst>
              <p:ext uri="{D42A27DB-BD31-4B8C-83A1-F6EECF244321}">
                <p14:modId xmlns:p14="http://schemas.microsoft.com/office/powerpoint/2010/main" val="1374273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3" name="think-cell data - do not delete" hidden="1">
                        <a:extLst>
                          <a:ext uri="{FF2B5EF4-FFF2-40B4-BE49-F238E27FC236}">
                            <a16:creationId xmlns:a16="http://schemas.microsoft.com/office/drawing/2014/main" id="{F3BA7207-F4D2-A5BE-D7D7-741C3CF208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5">
            <a:extLst>
              <a:ext uri="{FF2B5EF4-FFF2-40B4-BE49-F238E27FC236}">
                <a16:creationId xmlns:a16="http://schemas.microsoft.com/office/drawing/2014/main" id="{A2AD61CE-9FDB-4F62-9AD2-A7DEB3E14762}"/>
              </a:ext>
            </a:extLst>
          </p:cNvPr>
          <p:cNvSpPr>
            <a:spLocks noGrp="1"/>
          </p:cNvSpPr>
          <p:nvPr>
            <p:ph type="title"/>
          </p:nvPr>
        </p:nvSpPr>
        <p:spPr>
          <a:xfrm>
            <a:off x="556467" y="572600"/>
            <a:ext cx="6757704" cy="787908"/>
          </a:xfrm>
        </p:spPr>
        <p:txBody>
          <a:bodyPr vert="horz"/>
          <a:lstStyle/>
          <a:p>
            <a:r>
              <a:rPr lang="pt-BR" noProof="1"/>
              <a:t>Getting started with </a:t>
            </a:r>
            <a:br>
              <a:rPr lang="pt-BR" noProof="1"/>
            </a:br>
            <a:r>
              <a:rPr lang="pt-BR" noProof="1"/>
              <a:t>this template</a:t>
            </a:r>
          </a:p>
        </p:txBody>
      </p:sp>
      <p:sp>
        <p:nvSpPr>
          <p:cNvPr id="32" name="Text Placeholder 31">
            <a:extLst>
              <a:ext uri="{FF2B5EF4-FFF2-40B4-BE49-F238E27FC236}">
                <a16:creationId xmlns:a16="http://schemas.microsoft.com/office/drawing/2014/main" id="{D1EC052C-8743-7681-BA55-AA7762CE6ACD}"/>
              </a:ext>
            </a:extLst>
          </p:cNvPr>
          <p:cNvSpPr>
            <a:spLocks noGrp="1"/>
          </p:cNvSpPr>
          <p:nvPr>
            <p:ph type="body" idx="29"/>
          </p:nvPr>
        </p:nvSpPr>
        <p:spPr>
          <a:xfrm>
            <a:off x="556468" y="1887912"/>
            <a:ext cx="3148429" cy="256198"/>
          </a:xfrm>
        </p:spPr>
        <p:txBody>
          <a:bodyPr/>
          <a:lstStyle/>
          <a:p>
            <a:r>
              <a:rPr lang="pt-BR" noProof="1"/>
              <a:t>Live presentation vs. document</a:t>
            </a:r>
          </a:p>
        </p:txBody>
      </p:sp>
      <p:sp>
        <p:nvSpPr>
          <p:cNvPr id="31" name="Text Placeholder 30">
            <a:extLst>
              <a:ext uri="{FF2B5EF4-FFF2-40B4-BE49-F238E27FC236}">
                <a16:creationId xmlns:a16="http://schemas.microsoft.com/office/drawing/2014/main" id="{C4E78329-F004-4358-31B8-CED430E8B8B1}"/>
              </a:ext>
            </a:extLst>
          </p:cNvPr>
          <p:cNvSpPr>
            <a:spLocks noGrp="1"/>
          </p:cNvSpPr>
          <p:nvPr>
            <p:ph type="body" sz="quarter" idx="28"/>
          </p:nvPr>
        </p:nvSpPr>
        <p:spPr>
          <a:xfrm>
            <a:off x="556468" y="2330533"/>
            <a:ext cx="3148429" cy="734935"/>
          </a:xfrm>
        </p:spPr>
        <p:txBody>
          <a:bodyPr/>
          <a:lstStyle/>
          <a:p>
            <a:r>
              <a:rPr lang="pt-BR" noProof="1"/>
              <a:t>Avoid longform content on a Presentation deck; include headlines and key points, NOT your presentation script. Add extra information in the Notes section if needed.</a:t>
            </a:r>
          </a:p>
        </p:txBody>
      </p:sp>
      <p:sp>
        <p:nvSpPr>
          <p:cNvPr id="34" name="Text Placeholder 33">
            <a:extLst>
              <a:ext uri="{FF2B5EF4-FFF2-40B4-BE49-F238E27FC236}">
                <a16:creationId xmlns:a16="http://schemas.microsoft.com/office/drawing/2014/main" id="{E8E751CF-E19C-2C02-AFE4-1B79C006CC97}"/>
              </a:ext>
            </a:extLst>
          </p:cNvPr>
          <p:cNvSpPr>
            <a:spLocks noGrp="1"/>
          </p:cNvSpPr>
          <p:nvPr>
            <p:ph type="body" idx="31"/>
          </p:nvPr>
        </p:nvSpPr>
        <p:spPr>
          <a:xfrm>
            <a:off x="4135240" y="1887912"/>
            <a:ext cx="3148429" cy="256198"/>
          </a:xfrm>
        </p:spPr>
        <p:txBody>
          <a:bodyPr/>
          <a:lstStyle/>
          <a:p>
            <a:r>
              <a:rPr lang="pt-BR" noProof="1"/>
              <a:t>Use of photography</a:t>
            </a:r>
          </a:p>
        </p:txBody>
      </p:sp>
      <p:sp>
        <p:nvSpPr>
          <p:cNvPr id="33" name="Text Placeholder 32">
            <a:extLst>
              <a:ext uri="{FF2B5EF4-FFF2-40B4-BE49-F238E27FC236}">
                <a16:creationId xmlns:a16="http://schemas.microsoft.com/office/drawing/2014/main" id="{81EB27E6-9FE8-4995-8FD6-877E81C8651D}"/>
              </a:ext>
            </a:extLst>
          </p:cNvPr>
          <p:cNvSpPr>
            <a:spLocks noGrp="1"/>
          </p:cNvSpPr>
          <p:nvPr>
            <p:ph type="body" sz="quarter" idx="30"/>
          </p:nvPr>
        </p:nvSpPr>
        <p:spPr>
          <a:xfrm>
            <a:off x="4135240" y="2330533"/>
            <a:ext cx="3148429" cy="734935"/>
          </a:xfrm>
        </p:spPr>
        <p:txBody>
          <a:bodyPr/>
          <a:lstStyle/>
          <a:p>
            <a:r>
              <a:rPr lang="pt-BR" noProof="1"/>
              <a:t>Select background photographs from the approved photos in the image library. Choose photos based on relevance to the content being presented.</a:t>
            </a:r>
          </a:p>
        </p:txBody>
      </p:sp>
      <p:sp>
        <p:nvSpPr>
          <p:cNvPr id="9" name="TextBox 8">
            <a:extLst>
              <a:ext uri="{FF2B5EF4-FFF2-40B4-BE49-F238E27FC236}">
                <a16:creationId xmlns:a16="http://schemas.microsoft.com/office/drawing/2014/main" id="{96D459D2-7E21-F26F-5ABC-7F2E5D3B79FD}"/>
              </a:ext>
            </a:extLst>
          </p:cNvPr>
          <p:cNvSpPr txBox="1"/>
          <p:nvPr/>
        </p:nvSpPr>
        <p:spPr>
          <a:xfrm>
            <a:off x="556468" y="3663171"/>
            <a:ext cx="2923332" cy="221599"/>
          </a:xfrm>
          <a:prstGeom prst="rect">
            <a:avLst/>
          </a:prstGeom>
          <a:noFill/>
        </p:spPr>
        <p:txBody>
          <a:bodyPr wrap="square" lIns="0" tIns="0" rIns="0" bIns="0">
            <a:spAutoFit/>
          </a:bodyPr>
          <a:lstStyle/>
          <a:p>
            <a:pPr defTabSz="228594">
              <a:lnSpc>
                <a:spcPct val="90000"/>
              </a:lnSpc>
            </a:pPr>
            <a:r>
              <a:rPr lang="pt-BR" sz="1600" noProof="1">
                <a:solidFill>
                  <a:schemeClr val="bg2"/>
                </a:solidFill>
              </a:rPr>
              <a:t>Accessibility</a:t>
            </a:r>
          </a:p>
        </p:txBody>
      </p:sp>
      <p:sp>
        <p:nvSpPr>
          <p:cNvPr id="11" name="TextBox 10">
            <a:extLst>
              <a:ext uri="{FF2B5EF4-FFF2-40B4-BE49-F238E27FC236}">
                <a16:creationId xmlns:a16="http://schemas.microsoft.com/office/drawing/2014/main" id="{617B6A9C-0A63-5AFD-D6E0-2BD4B2E29984}"/>
              </a:ext>
            </a:extLst>
          </p:cNvPr>
          <p:cNvSpPr txBox="1"/>
          <p:nvPr/>
        </p:nvSpPr>
        <p:spPr>
          <a:xfrm>
            <a:off x="556468" y="4022853"/>
            <a:ext cx="2923332" cy="1107996"/>
          </a:xfrm>
          <a:prstGeom prst="rect">
            <a:avLst/>
          </a:prstGeom>
          <a:noFill/>
        </p:spPr>
        <p:txBody>
          <a:bodyPr wrap="square" lIns="0" tIns="0" rIns="0" bIns="0">
            <a:spAutoFit/>
          </a:bodyPr>
          <a:lstStyle/>
          <a:p>
            <a:pPr defTabSz="228594">
              <a:spcAft>
                <a:spcPts val="1200"/>
              </a:spcAft>
            </a:pPr>
            <a:r>
              <a:rPr lang="pt-BR" sz="1200" noProof="1"/>
              <a:t>To support screen readers, every slide must have a unique title in the designated title box. Placeholder titles often include numbers—delete them and replace with clear, descriptive titles that reflect the content of the slide.</a:t>
            </a:r>
          </a:p>
        </p:txBody>
      </p:sp>
      <p:sp>
        <p:nvSpPr>
          <p:cNvPr id="5" name="TextBox 5">
            <a:extLst>
              <a:ext uri="{FF2B5EF4-FFF2-40B4-BE49-F238E27FC236}">
                <a16:creationId xmlns:a16="http://schemas.microsoft.com/office/drawing/2014/main" id="{4F986348-C97E-8887-4743-4F84090E50E3}"/>
              </a:ext>
            </a:extLst>
          </p:cNvPr>
          <p:cNvSpPr txBox="1"/>
          <p:nvPr/>
        </p:nvSpPr>
        <p:spPr>
          <a:xfrm>
            <a:off x="517991" y="5660382"/>
            <a:ext cx="3345691" cy="246221"/>
          </a:xfrm>
          <a:prstGeom prst="rect">
            <a:avLst/>
          </a:prstGeom>
          <a:noFill/>
        </p:spPr>
        <p:txBody>
          <a:bodyPr wrap="square" lIns="0" tIns="0" rIns="0" bIns="0" rtlCol="0">
            <a:spAutoFit/>
          </a:bodyPr>
          <a:lstStyle>
            <a:defPPr>
              <a:defRPr lang="en-US"/>
            </a:defPPr>
            <a:lvl1pPr defTabSz="171450">
              <a:spcAft>
                <a:spcPts val="900"/>
              </a:spcAft>
              <a:defRPr sz="1200">
                <a:solidFill>
                  <a:srgbClr val="000000"/>
                </a:solidFill>
                <a:latin typeface="Graphik" panose="020B0503030202060203" pitchFamily="34" charset="77"/>
              </a:defRPr>
            </a:lvl1pPr>
          </a:lstStyle>
          <a:p>
            <a:r>
              <a:rPr lang="pt-BR" sz="1600" noProof="1"/>
              <a:t>See the </a:t>
            </a:r>
            <a:r>
              <a:rPr lang="pt-BR" sz="1600" noProof="1">
                <a:hlinkClick r:id="rId6"/>
              </a:rPr>
              <a:t>Brand FAQ</a:t>
            </a:r>
            <a:r>
              <a:rPr lang="pt-BR" sz="1600" noProof="1"/>
              <a:t> for more info.</a:t>
            </a:r>
          </a:p>
        </p:txBody>
      </p:sp>
      <p:sp>
        <p:nvSpPr>
          <p:cNvPr id="15" name="TextBox 14">
            <a:extLst>
              <a:ext uri="{FF2B5EF4-FFF2-40B4-BE49-F238E27FC236}">
                <a16:creationId xmlns:a16="http://schemas.microsoft.com/office/drawing/2014/main" id="{2BA165CA-B56C-4E98-BE21-0C8D498535A4}"/>
              </a:ext>
            </a:extLst>
          </p:cNvPr>
          <p:cNvSpPr txBox="1"/>
          <p:nvPr/>
        </p:nvSpPr>
        <p:spPr>
          <a:xfrm>
            <a:off x="8527427" y="1814568"/>
            <a:ext cx="3107360" cy="3508653"/>
          </a:xfrm>
          <a:prstGeom prst="rect">
            <a:avLst/>
          </a:prstGeom>
          <a:noFill/>
        </p:spPr>
        <p:txBody>
          <a:bodyPr wrap="square" lIns="0" tIns="0" rIns="0" bIns="0" rtlCol="0">
            <a:spAutoFit/>
          </a:bodyPr>
          <a:lstStyle/>
          <a:p>
            <a:pPr defTabSz="228594">
              <a:spcAft>
                <a:spcPts val="1200"/>
              </a:spcAft>
              <a:defRPr/>
            </a:pPr>
            <a:r>
              <a:rPr lang="pt-BR" sz="1600" noProof="1">
                <a:solidFill>
                  <a:srgbClr val="FFFFFF"/>
                </a:solidFill>
                <a:latin typeface="Graphik Semibold" panose="020B0703030202060203" pitchFamily="34" charset="0"/>
              </a:rPr>
              <a:t>PPT tips</a:t>
            </a:r>
          </a:p>
          <a:p>
            <a:pPr defTabSz="228594">
              <a:spcAft>
                <a:spcPts val="1200"/>
              </a:spcAft>
              <a:defRPr/>
            </a:pPr>
            <a:r>
              <a:rPr lang="pt-BR" sz="1400" b="1" noProof="1">
                <a:solidFill>
                  <a:srgbClr val="FFFFFF"/>
                </a:solidFill>
                <a:latin typeface="Graphik Semibold" panose="020B0503030202060203" pitchFamily="34" charset="77"/>
              </a:rPr>
              <a:t>Guides and grids</a:t>
            </a:r>
          </a:p>
          <a:p>
            <a:pPr defTabSz="228594">
              <a:spcAft>
                <a:spcPts val="1200"/>
              </a:spcAft>
              <a:defRPr/>
            </a:pPr>
            <a:r>
              <a:rPr lang="pt-BR" sz="1400" noProof="1">
                <a:solidFill>
                  <a:srgbClr val="FFFFFF"/>
                </a:solidFill>
                <a:latin typeface="Graphik" panose="020B0503030202060203" pitchFamily="34" charset="77"/>
              </a:rPr>
              <a:t>Make use of Guides set within this template. </a:t>
            </a:r>
            <a:br>
              <a:rPr lang="pt-BR" sz="1400" noProof="1">
                <a:solidFill>
                  <a:srgbClr val="FFFFFF"/>
                </a:solidFill>
                <a:latin typeface="Graphik" panose="020B0503030202060203" pitchFamily="34" charset="77"/>
              </a:rPr>
            </a:br>
            <a:r>
              <a:rPr lang="pt-BR" sz="1400" noProof="1">
                <a:solidFill>
                  <a:srgbClr val="FFFFFF"/>
                </a:solidFill>
                <a:latin typeface="Graphik" panose="020B0503030202060203" pitchFamily="34" charset="77"/>
              </a:rPr>
              <a:t>View &gt; checkmark ‘Guides’.</a:t>
            </a:r>
          </a:p>
          <a:p>
            <a:pPr defTabSz="228594">
              <a:spcAft>
                <a:spcPts val="1200"/>
              </a:spcAft>
              <a:defRPr/>
            </a:pPr>
            <a:endParaRPr lang="pt-BR" sz="1400" noProof="1">
              <a:solidFill>
                <a:srgbClr val="FFFFFF"/>
              </a:solidFill>
              <a:latin typeface="Graphik" panose="020B0503030202060203" pitchFamily="34" charset="77"/>
            </a:endParaRPr>
          </a:p>
          <a:p>
            <a:pPr defTabSz="228594">
              <a:spcAft>
                <a:spcPts val="1200"/>
              </a:spcAft>
              <a:defRPr/>
            </a:pPr>
            <a:r>
              <a:rPr lang="pt-BR" sz="1400" b="1" noProof="1">
                <a:solidFill>
                  <a:srgbClr val="FFFFFF"/>
                </a:solidFill>
                <a:latin typeface="Graphik Semibold" panose="020B0503030202060203" pitchFamily="34" charset="77"/>
              </a:rPr>
              <a:t>Use indent</a:t>
            </a:r>
          </a:p>
          <a:p>
            <a:pPr defTabSz="228594">
              <a:spcAft>
                <a:spcPts val="1200"/>
              </a:spcAft>
              <a:defRPr/>
            </a:pPr>
            <a:r>
              <a:rPr lang="pt-BR" sz="1400" noProof="1">
                <a:solidFill>
                  <a:srgbClr val="FFFFFF"/>
                </a:solidFill>
                <a:latin typeface="Graphik" panose="020B0503030202060203" pitchFamily="34" charset="77"/>
              </a:rPr>
              <a:t>Use the indent buttons to increase or decrease text formatting levels. </a:t>
            </a:r>
          </a:p>
          <a:p>
            <a:pPr defTabSz="228594">
              <a:spcAft>
                <a:spcPts val="1200"/>
              </a:spcAft>
              <a:defRPr/>
            </a:pPr>
            <a:r>
              <a:rPr lang="pt-BR" sz="1400" noProof="1">
                <a:solidFill>
                  <a:srgbClr val="FFFFFF"/>
                </a:solidFill>
                <a:latin typeface="Graphik" panose="020B0503030202060203" pitchFamily="34" charset="77"/>
              </a:rPr>
              <a:t>Shortcut: Alt + Shift + </a:t>
            </a:r>
            <a:br>
              <a:rPr lang="pt-BR" sz="1400" noProof="1">
                <a:solidFill>
                  <a:srgbClr val="FFFFFF"/>
                </a:solidFill>
                <a:latin typeface="Graphik" panose="020B0503030202060203" pitchFamily="34" charset="77"/>
              </a:rPr>
            </a:br>
            <a:r>
              <a:rPr lang="pt-BR" sz="1400" noProof="1">
                <a:solidFill>
                  <a:srgbClr val="FFFFFF"/>
                </a:solidFill>
                <a:latin typeface="Graphik" panose="020B0503030202060203" pitchFamily="34" charset="77"/>
              </a:rPr>
              <a:t>(Arrow Right to increase or Arrow Left to decrease).</a:t>
            </a:r>
          </a:p>
        </p:txBody>
      </p:sp>
      <p:grpSp>
        <p:nvGrpSpPr>
          <p:cNvPr id="25" name="Group 24">
            <a:extLst>
              <a:ext uri="{FF2B5EF4-FFF2-40B4-BE49-F238E27FC236}">
                <a16:creationId xmlns:a16="http://schemas.microsoft.com/office/drawing/2014/main" id="{1DE6AB80-515E-9C9C-33ED-B30686D68C7A}"/>
              </a:ext>
              <a:ext uri="{C183D7F6-B498-43B3-948B-1728B52AA6E4}">
                <adec:decorative xmlns:adec="http://schemas.microsoft.com/office/drawing/2017/decorative" val="1"/>
              </a:ext>
            </a:extLst>
          </p:cNvPr>
          <p:cNvGrpSpPr/>
          <p:nvPr/>
        </p:nvGrpSpPr>
        <p:grpSpPr>
          <a:xfrm>
            <a:off x="9597848" y="3742445"/>
            <a:ext cx="586569" cy="226650"/>
            <a:chOff x="7568530" y="2901302"/>
            <a:chExt cx="439926" cy="169980"/>
          </a:xfrm>
        </p:grpSpPr>
        <p:grpSp>
          <p:nvGrpSpPr>
            <p:cNvPr id="18" name="Group 17">
              <a:extLst>
                <a:ext uri="{FF2B5EF4-FFF2-40B4-BE49-F238E27FC236}">
                  <a16:creationId xmlns:a16="http://schemas.microsoft.com/office/drawing/2014/main" id="{A63771E4-2ED0-5F15-6E10-76C094EFCE4F}"/>
                </a:ext>
              </a:extLst>
            </p:cNvPr>
            <p:cNvGrpSpPr/>
            <p:nvPr/>
          </p:nvGrpSpPr>
          <p:grpSpPr>
            <a:xfrm>
              <a:off x="7816037" y="2901316"/>
              <a:ext cx="192419" cy="169966"/>
              <a:chOff x="4271451" y="3883548"/>
              <a:chExt cx="343463" cy="303387"/>
            </a:xfrm>
            <a:solidFill>
              <a:srgbClr val="FFFFFF"/>
            </a:solidFill>
          </p:grpSpPr>
          <p:sp>
            <p:nvSpPr>
              <p:cNvPr id="4" name="Right Arrow 3">
                <a:extLst>
                  <a:ext uri="{FF2B5EF4-FFF2-40B4-BE49-F238E27FC236}">
                    <a16:creationId xmlns:a16="http://schemas.microsoft.com/office/drawing/2014/main" id="{5F127760-08D9-DE91-1F54-E00E647766C4}"/>
                  </a:ext>
                </a:extLst>
              </p:cNvPr>
              <p:cNvSpPr/>
              <p:nvPr/>
            </p:nvSpPr>
            <p:spPr>
              <a:xfrm>
                <a:off x="4271451" y="3964392"/>
                <a:ext cx="154422" cy="150565"/>
              </a:xfrm>
              <a:prstGeom prst="rightArrow">
                <a:avLst>
                  <a:gd name="adj1" fmla="val 28075"/>
                  <a:gd name="adj2"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tIns="121920" bIns="121920" rtlCol="0" anchor="ctr"/>
              <a:lstStyle/>
              <a:p>
                <a:pPr algn="ctr"/>
                <a:endParaRPr lang="pt-BR" sz="2400" noProof="1"/>
              </a:p>
            </p:txBody>
          </p:sp>
          <p:sp>
            <p:nvSpPr>
              <p:cNvPr id="7" name="Rectangle 6">
                <a:extLst>
                  <a:ext uri="{FF2B5EF4-FFF2-40B4-BE49-F238E27FC236}">
                    <a16:creationId xmlns:a16="http://schemas.microsoft.com/office/drawing/2014/main" id="{D7D7C568-6D5E-89D1-1165-64E2BF5966F1}"/>
                  </a:ext>
                </a:extLst>
              </p:cNvPr>
              <p:cNvSpPr/>
              <p:nvPr/>
            </p:nvSpPr>
            <p:spPr>
              <a:xfrm>
                <a:off x="4271451" y="3883548"/>
                <a:ext cx="343463" cy="3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tIns="121920" bIns="121920" rtlCol="0" anchor="ctr"/>
              <a:lstStyle/>
              <a:p>
                <a:pPr algn="ctr"/>
                <a:endParaRPr lang="pt-BR" sz="2400" noProof="1"/>
              </a:p>
            </p:txBody>
          </p:sp>
          <p:sp>
            <p:nvSpPr>
              <p:cNvPr id="8" name="Rectangle 7">
                <a:extLst>
                  <a:ext uri="{FF2B5EF4-FFF2-40B4-BE49-F238E27FC236}">
                    <a16:creationId xmlns:a16="http://schemas.microsoft.com/office/drawing/2014/main" id="{16FF2704-2F36-2251-562F-A47148E1058D}"/>
                  </a:ext>
                </a:extLst>
              </p:cNvPr>
              <p:cNvSpPr/>
              <p:nvPr/>
            </p:nvSpPr>
            <p:spPr>
              <a:xfrm>
                <a:off x="4434914" y="3972677"/>
                <a:ext cx="180000" cy="3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tIns="121920" bIns="121920" rtlCol="0" anchor="ctr"/>
              <a:lstStyle/>
              <a:p>
                <a:pPr algn="ctr"/>
                <a:endParaRPr lang="pt-BR" sz="2400" noProof="1"/>
              </a:p>
            </p:txBody>
          </p:sp>
          <p:sp>
            <p:nvSpPr>
              <p:cNvPr id="12" name="Rectangle 11">
                <a:extLst>
                  <a:ext uri="{FF2B5EF4-FFF2-40B4-BE49-F238E27FC236}">
                    <a16:creationId xmlns:a16="http://schemas.microsoft.com/office/drawing/2014/main" id="{672BAB6E-3809-C7A7-CF19-05F82071A6B3}"/>
                  </a:ext>
                </a:extLst>
              </p:cNvPr>
              <p:cNvSpPr/>
              <p:nvPr/>
            </p:nvSpPr>
            <p:spPr>
              <a:xfrm>
                <a:off x="4434914" y="4061806"/>
                <a:ext cx="180000" cy="3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tIns="121920" bIns="121920" rtlCol="0" anchor="ctr"/>
              <a:lstStyle/>
              <a:p>
                <a:pPr algn="ctr"/>
                <a:endParaRPr lang="pt-BR" sz="2400" noProof="1"/>
              </a:p>
            </p:txBody>
          </p:sp>
          <p:sp>
            <p:nvSpPr>
              <p:cNvPr id="13" name="Rectangle 12">
                <a:extLst>
                  <a:ext uri="{FF2B5EF4-FFF2-40B4-BE49-F238E27FC236}">
                    <a16:creationId xmlns:a16="http://schemas.microsoft.com/office/drawing/2014/main" id="{89E78306-9DAC-ED5F-88DC-4923522DB2E5}"/>
                  </a:ext>
                </a:extLst>
              </p:cNvPr>
              <p:cNvSpPr/>
              <p:nvPr/>
            </p:nvSpPr>
            <p:spPr>
              <a:xfrm>
                <a:off x="4271451" y="4150935"/>
                <a:ext cx="343463" cy="3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tIns="121920" bIns="121920" rtlCol="0" anchor="ctr"/>
              <a:lstStyle/>
              <a:p>
                <a:pPr algn="ctr"/>
                <a:endParaRPr lang="pt-BR" sz="2400" noProof="1"/>
              </a:p>
            </p:txBody>
          </p:sp>
        </p:grpSp>
        <p:grpSp>
          <p:nvGrpSpPr>
            <p:cNvPr id="19" name="Group 18">
              <a:extLst>
                <a:ext uri="{FF2B5EF4-FFF2-40B4-BE49-F238E27FC236}">
                  <a16:creationId xmlns:a16="http://schemas.microsoft.com/office/drawing/2014/main" id="{3605349D-B745-0D0F-6ADE-82591805BD10}"/>
                </a:ext>
              </a:extLst>
            </p:cNvPr>
            <p:cNvGrpSpPr/>
            <p:nvPr/>
          </p:nvGrpSpPr>
          <p:grpSpPr>
            <a:xfrm>
              <a:off x="7568530" y="2901302"/>
              <a:ext cx="192419" cy="169967"/>
              <a:chOff x="4271451" y="3883548"/>
              <a:chExt cx="343463" cy="303387"/>
            </a:xfrm>
            <a:solidFill>
              <a:srgbClr val="FFFFFF"/>
            </a:solidFill>
          </p:grpSpPr>
          <p:sp>
            <p:nvSpPr>
              <p:cNvPr id="20" name="Right Arrow 19">
                <a:extLst>
                  <a:ext uri="{FF2B5EF4-FFF2-40B4-BE49-F238E27FC236}">
                    <a16:creationId xmlns:a16="http://schemas.microsoft.com/office/drawing/2014/main" id="{427D78C8-81C2-5468-957D-AAF712C8CEBD}"/>
                  </a:ext>
                </a:extLst>
              </p:cNvPr>
              <p:cNvSpPr/>
              <p:nvPr/>
            </p:nvSpPr>
            <p:spPr>
              <a:xfrm flipH="1">
                <a:off x="4271451" y="3964391"/>
                <a:ext cx="154422" cy="150565"/>
              </a:xfrm>
              <a:prstGeom prst="rightArrow">
                <a:avLst>
                  <a:gd name="adj1" fmla="val 28075"/>
                  <a:gd name="adj2"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tIns="121920" bIns="121920" rtlCol="0" anchor="ctr"/>
              <a:lstStyle/>
              <a:p>
                <a:pPr algn="ctr"/>
                <a:endParaRPr lang="pt-BR" sz="2400" noProof="1"/>
              </a:p>
            </p:txBody>
          </p:sp>
          <p:sp>
            <p:nvSpPr>
              <p:cNvPr id="21" name="Rectangle 20">
                <a:extLst>
                  <a:ext uri="{FF2B5EF4-FFF2-40B4-BE49-F238E27FC236}">
                    <a16:creationId xmlns:a16="http://schemas.microsoft.com/office/drawing/2014/main" id="{1FC3FC09-12C5-717B-3811-B990BD32EA15}"/>
                  </a:ext>
                </a:extLst>
              </p:cNvPr>
              <p:cNvSpPr/>
              <p:nvPr/>
            </p:nvSpPr>
            <p:spPr>
              <a:xfrm>
                <a:off x="4271451" y="3883548"/>
                <a:ext cx="343463" cy="3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tIns="121920" bIns="121920" rtlCol="0" anchor="ctr"/>
              <a:lstStyle/>
              <a:p>
                <a:pPr algn="ctr"/>
                <a:endParaRPr lang="pt-BR" sz="2400" noProof="1"/>
              </a:p>
            </p:txBody>
          </p:sp>
          <p:sp>
            <p:nvSpPr>
              <p:cNvPr id="22" name="Rectangle 21">
                <a:extLst>
                  <a:ext uri="{FF2B5EF4-FFF2-40B4-BE49-F238E27FC236}">
                    <a16:creationId xmlns:a16="http://schemas.microsoft.com/office/drawing/2014/main" id="{A5C95C49-13D0-6F5E-802D-69B9981934C0}"/>
                  </a:ext>
                </a:extLst>
              </p:cNvPr>
              <p:cNvSpPr/>
              <p:nvPr/>
            </p:nvSpPr>
            <p:spPr>
              <a:xfrm>
                <a:off x="4434914" y="3972677"/>
                <a:ext cx="180000" cy="3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tIns="121920" bIns="121920" rtlCol="0" anchor="ctr"/>
              <a:lstStyle/>
              <a:p>
                <a:pPr algn="ctr"/>
                <a:endParaRPr lang="pt-BR" sz="2400" noProof="1"/>
              </a:p>
            </p:txBody>
          </p:sp>
          <p:sp>
            <p:nvSpPr>
              <p:cNvPr id="23" name="Rectangle 22">
                <a:extLst>
                  <a:ext uri="{FF2B5EF4-FFF2-40B4-BE49-F238E27FC236}">
                    <a16:creationId xmlns:a16="http://schemas.microsoft.com/office/drawing/2014/main" id="{16ACBD1D-D164-C0C7-3183-934B0A34D79F}"/>
                  </a:ext>
                </a:extLst>
              </p:cNvPr>
              <p:cNvSpPr/>
              <p:nvPr/>
            </p:nvSpPr>
            <p:spPr>
              <a:xfrm>
                <a:off x="4434914" y="4061806"/>
                <a:ext cx="180000" cy="3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tIns="121920" bIns="121920" rtlCol="0" anchor="ctr"/>
              <a:lstStyle/>
              <a:p>
                <a:pPr algn="ctr"/>
                <a:endParaRPr lang="pt-BR" sz="2400" noProof="1"/>
              </a:p>
            </p:txBody>
          </p:sp>
          <p:sp>
            <p:nvSpPr>
              <p:cNvPr id="24" name="Rectangle 23">
                <a:extLst>
                  <a:ext uri="{FF2B5EF4-FFF2-40B4-BE49-F238E27FC236}">
                    <a16:creationId xmlns:a16="http://schemas.microsoft.com/office/drawing/2014/main" id="{14813B7C-45CB-DD52-82DF-8994DFBC9F2A}"/>
                  </a:ext>
                </a:extLst>
              </p:cNvPr>
              <p:cNvSpPr/>
              <p:nvPr/>
            </p:nvSpPr>
            <p:spPr>
              <a:xfrm>
                <a:off x="4271451" y="4150935"/>
                <a:ext cx="343463" cy="3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tIns="121920" bIns="121920" rtlCol="0" anchor="ctr"/>
              <a:lstStyle/>
              <a:p>
                <a:pPr algn="ctr"/>
                <a:endParaRPr lang="pt-BR" sz="2400" noProof="1"/>
              </a:p>
            </p:txBody>
          </p:sp>
        </p:grpSp>
      </p:grpSp>
    </p:spTree>
    <p:extLst>
      <p:ext uri="{BB962C8B-B14F-4D97-AF65-F5344CB8AC3E}">
        <p14:creationId xmlns:p14="http://schemas.microsoft.com/office/powerpoint/2010/main" val="28010218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40F08E3F-DCDC-CDF0-A875-1C0CB7C913F3}"/>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BC565CA-42B9-5EE0-D180-4DDFF1F74772}"/>
              </a:ext>
            </a:extLst>
          </p:cNvPr>
          <p:cNvGraphicFramePr>
            <a:graphicFrameLocks noChangeAspect="1"/>
          </p:cNvGraphicFramePr>
          <p:nvPr>
            <p:custDataLst>
              <p:tags r:id="rId1"/>
            </p:custDataLst>
            <p:extLst>
              <p:ext uri="{D42A27DB-BD31-4B8C-83A1-F6EECF244321}">
                <p14:modId xmlns:p14="http://schemas.microsoft.com/office/powerpoint/2010/main" val="16006944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4" name="think-cell data - do not delete" hidden="1">
                        <a:extLst>
                          <a:ext uri="{FF2B5EF4-FFF2-40B4-BE49-F238E27FC236}">
                            <a16:creationId xmlns:a16="http://schemas.microsoft.com/office/drawing/2014/main" id="{DBC565CA-42B9-5EE0-D180-4DDFF1F747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E976EB8-A36D-1E41-2806-993B95FBF0F3}"/>
              </a:ext>
            </a:extLst>
          </p:cNvPr>
          <p:cNvSpPr>
            <a:spLocks noGrp="1"/>
          </p:cNvSpPr>
          <p:nvPr>
            <p:ph type="title"/>
          </p:nvPr>
        </p:nvSpPr>
        <p:spPr>
          <a:xfrm>
            <a:off x="556467" y="572600"/>
            <a:ext cx="11084672" cy="393954"/>
          </a:xfrm>
        </p:spPr>
        <p:txBody>
          <a:bodyPr vert="horz"/>
          <a:lstStyle/>
          <a:p>
            <a:r>
              <a:rPr lang="pt-BR" noProof="1"/>
              <a:t>How to make your story impactful</a:t>
            </a:r>
          </a:p>
        </p:txBody>
      </p:sp>
      <p:sp>
        <p:nvSpPr>
          <p:cNvPr id="46" name="Text Placeholder 45">
            <a:extLst>
              <a:ext uri="{FF2B5EF4-FFF2-40B4-BE49-F238E27FC236}">
                <a16:creationId xmlns:a16="http://schemas.microsoft.com/office/drawing/2014/main" id="{C3C8E47C-F7C6-A16F-FD21-37F33F754A81}"/>
              </a:ext>
            </a:extLst>
          </p:cNvPr>
          <p:cNvSpPr>
            <a:spLocks noGrp="1"/>
          </p:cNvSpPr>
          <p:nvPr>
            <p:ph type="body" sz="quarter" idx="32"/>
          </p:nvPr>
        </p:nvSpPr>
        <p:spPr>
          <a:xfrm>
            <a:off x="557213" y="1866900"/>
            <a:ext cx="1411287" cy="393700"/>
          </a:xfrm>
        </p:spPr>
        <p:txBody>
          <a:bodyPr/>
          <a:lstStyle/>
          <a:p>
            <a:r>
              <a:rPr lang="pt-BR" b="0" noProof="1">
                <a:latin typeface="Graphik Semibold" panose="020B0703030202060203" pitchFamily="34" charset="0"/>
              </a:rPr>
              <a:t>Get to</a:t>
            </a:r>
            <a:br>
              <a:rPr lang="pt-BR" b="0" noProof="1">
                <a:latin typeface="Graphik Semibold" panose="020B0703030202060203" pitchFamily="34" charset="0"/>
              </a:rPr>
            </a:br>
            <a:r>
              <a:rPr lang="pt-BR" b="0" noProof="1">
                <a:latin typeface="Graphik Semibold" panose="020B0703030202060203" pitchFamily="34" charset="0"/>
              </a:rPr>
              <a:t>the point</a:t>
            </a:r>
          </a:p>
        </p:txBody>
      </p:sp>
      <p:sp>
        <p:nvSpPr>
          <p:cNvPr id="45" name="Text Placeholder 44">
            <a:extLst>
              <a:ext uri="{FF2B5EF4-FFF2-40B4-BE49-F238E27FC236}">
                <a16:creationId xmlns:a16="http://schemas.microsoft.com/office/drawing/2014/main" id="{8E0E4D0B-D464-4686-C70B-3A3CA7341223}"/>
              </a:ext>
            </a:extLst>
          </p:cNvPr>
          <p:cNvSpPr>
            <a:spLocks noGrp="1"/>
          </p:cNvSpPr>
          <p:nvPr>
            <p:ph type="body" sz="quarter" idx="16"/>
          </p:nvPr>
        </p:nvSpPr>
        <p:spPr>
          <a:xfrm>
            <a:off x="1968842" y="1866147"/>
            <a:ext cx="3226642" cy="485340"/>
          </a:xfrm>
        </p:spPr>
        <p:txBody>
          <a:bodyPr/>
          <a:lstStyle/>
          <a:p>
            <a:r>
              <a:rPr lang="pt-BR" noProof="1"/>
              <a:t>Put benefits front and center with a minimum of distraction.</a:t>
            </a:r>
          </a:p>
          <a:p>
            <a:endParaRPr lang="pt-BR" noProof="1"/>
          </a:p>
        </p:txBody>
      </p:sp>
      <p:sp>
        <p:nvSpPr>
          <p:cNvPr id="50" name="Text Placeholder 49">
            <a:extLst>
              <a:ext uri="{FF2B5EF4-FFF2-40B4-BE49-F238E27FC236}">
                <a16:creationId xmlns:a16="http://schemas.microsoft.com/office/drawing/2014/main" id="{2CFEF925-EDAF-8225-1B84-4575AD133B20}"/>
              </a:ext>
            </a:extLst>
          </p:cNvPr>
          <p:cNvSpPr>
            <a:spLocks noGrp="1"/>
          </p:cNvSpPr>
          <p:nvPr>
            <p:ph type="body" sz="quarter" idx="36"/>
          </p:nvPr>
        </p:nvSpPr>
        <p:spPr>
          <a:xfrm>
            <a:off x="557214" y="2916238"/>
            <a:ext cx="1242558" cy="395287"/>
          </a:xfrm>
        </p:spPr>
        <p:txBody>
          <a:bodyPr/>
          <a:lstStyle/>
          <a:p>
            <a:r>
              <a:rPr lang="pt-BR" b="0" noProof="1">
                <a:latin typeface="Graphik Semibold" panose="020B0703030202060203" pitchFamily="34" charset="0"/>
              </a:rPr>
              <a:t>Make it visual</a:t>
            </a:r>
          </a:p>
        </p:txBody>
      </p:sp>
      <p:sp>
        <p:nvSpPr>
          <p:cNvPr id="49" name="Text Placeholder 48">
            <a:extLst>
              <a:ext uri="{FF2B5EF4-FFF2-40B4-BE49-F238E27FC236}">
                <a16:creationId xmlns:a16="http://schemas.microsoft.com/office/drawing/2014/main" id="{0A828962-83A2-1872-EAEA-A81BCE8AE2F3}"/>
              </a:ext>
            </a:extLst>
          </p:cNvPr>
          <p:cNvSpPr>
            <a:spLocks noGrp="1"/>
          </p:cNvSpPr>
          <p:nvPr>
            <p:ph type="body" sz="quarter" idx="35"/>
          </p:nvPr>
        </p:nvSpPr>
        <p:spPr>
          <a:xfrm>
            <a:off x="1968842" y="2917024"/>
            <a:ext cx="3226642" cy="485340"/>
          </a:xfrm>
        </p:spPr>
        <p:txBody>
          <a:bodyPr/>
          <a:lstStyle/>
          <a:p>
            <a:r>
              <a:rPr lang="pt-BR" noProof="1"/>
              <a:t>The majority of your slides’ content (at least 60%) should be visual. </a:t>
            </a:r>
          </a:p>
        </p:txBody>
      </p:sp>
      <p:sp>
        <p:nvSpPr>
          <p:cNvPr id="54" name="Text Placeholder 53">
            <a:extLst>
              <a:ext uri="{FF2B5EF4-FFF2-40B4-BE49-F238E27FC236}">
                <a16:creationId xmlns:a16="http://schemas.microsoft.com/office/drawing/2014/main" id="{A896D554-10A7-991E-0C27-FA7DA6B857E2}"/>
              </a:ext>
            </a:extLst>
          </p:cNvPr>
          <p:cNvSpPr>
            <a:spLocks noGrp="1"/>
          </p:cNvSpPr>
          <p:nvPr>
            <p:ph type="body" sz="quarter" idx="44"/>
          </p:nvPr>
        </p:nvSpPr>
        <p:spPr>
          <a:xfrm>
            <a:off x="557213" y="3967163"/>
            <a:ext cx="1411287" cy="395287"/>
          </a:xfrm>
        </p:spPr>
        <p:txBody>
          <a:bodyPr/>
          <a:lstStyle/>
          <a:p>
            <a:r>
              <a:rPr lang="pt-BR" b="0" noProof="1">
                <a:latin typeface="Graphik Semibold" panose="020B0703030202060203" pitchFamily="34" charset="0"/>
              </a:rPr>
              <a:t>Don’t bury the lede</a:t>
            </a:r>
          </a:p>
        </p:txBody>
      </p:sp>
      <p:sp>
        <p:nvSpPr>
          <p:cNvPr id="53" name="Text Placeholder 52">
            <a:extLst>
              <a:ext uri="{FF2B5EF4-FFF2-40B4-BE49-F238E27FC236}">
                <a16:creationId xmlns:a16="http://schemas.microsoft.com/office/drawing/2014/main" id="{D004268C-1B25-3850-3B22-F4F2ED7E6A8A}"/>
              </a:ext>
            </a:extLst>
          </p:cNvPr>
          <p:cNvSpPr>
            <a:spLocks noGrp="1"/>
          </p:cNvSpPr>
          <p:nvPr>
            <p:ph type="body" sz="quarter" idx="43"/>
          </p:nvPr>
        </p:nvSpPr>
        <p:spPr>
          <a:xfrm>
            <a:off x="1968842" y="3967901"/>
            <a:ext cx="3226642" cy="485340"/>
          </a:xfrm>
        </p:spPr>
        <p:txBody>
          <a:bodyPr/>
          <a:lstStyle/>
          <a:p>
            <a:r>
              <a:rPr lang="pt-BR" noProof="1"/>
              <a:t>It’s a golden rule of journalism and for presentations.</a:t>
            </a:r>
          </a:p>
          <a:p>
            <a:endParaRPr lang="pt-BR" noProof="1"/>
          </a:p>
        </p:txBody>
      </p:sp>
      <p:sp>
        <p:nvSpPr>
          <p:cNvPr id="58" name="Text Placeholder 57">
            <a:extLst>
              <a:ext uri="{FF2B5EF4-FFF2-40B4-BE49-F238E27FC236}">
                <a16:creationId xmlns:a16="http://schemas.microsoft.com/office/drawing/2014/main" id="{17DF2E82-09D0-86F3-BA24-760A1C4E7F45}"/>
              </a:ext>
            </a:extLst>
          </p:cNvPr>
          <p:cNvSpPr>
            <a:spLocks noGrp="1"/>
          </p:cNvSpPr>
          <p:nvPr>
            <p:ph type="body" sz="quarter" idx="52"/>
          </p:nvPr>
        </p:nvSpPr>
        <p:spPr>
          <a:xfrm>
            <a:off x="557213" y="5021263"/>
            <a:ext cx="1411287" cy="393700"/>
          </a:xfrm>
        </p:spPr>
        <p:txBody>
          <a:bodyPr/>
          <a:lstStyle/>
          <a:p>
            <a:r>
              <a:rPr lang="pt-BR" b="0" noProof="1">
                <a:latin typeface="Graphik Semibold" panose="020B0703030202060203" pitchFamily="34" charset="0"/>
              </a:rPr>
              <a:t>Be concise</a:t>
            </a:r>
          </a:p>
        </p:txBody>
      </p:sp>
      <p:sp>
        <p:nvSpPr>
          <p:cNvPr id="57" name="Text Placeholder 56">
            <a:extLst>
              <a:ext uri="{FF2B5EF4-FFF2-40B4-BE49-F238E27FC236}">
                <a16:creationId xmlns:a16="http://schemas.microsoft.com/office/drawing/2014/main" id="{5387BA8D-0C3E-4A92-BFA1-B75538A3E5BB}"/>
              </a:ext>
            </a:extLst>
          </p:cNvPr>
          <p:cNvSpPr>
            <a:spLocks noGrp="1"/>
          </p:cNvSpPr>
          <p:nvPr>
            <p:ph type="body" sz="quarter" idx="51"/>
          </p:nvPr>
        </p:nvSpPr>
        <p:spPr>
          <a:xfrm>
            <a:off x="1968842" y="5021786"/>
            <a:ext cx="3226642" cy="485340"/>
          </a:xfrm>
        </p:spPr>
        <p:txBody>
          <a:bodyPr/>
          <a:lstStyle/>
          <a:p>
            <a:r>
              <a:rPr lang="pt-BR" noProof="1"/>
              <a:t>Minimum text; maximum impact.</a:t>
            </a:r>
            <a:br>
              <a:rPr lang="pt-BR" noProof="1"/>
            </a:br>
            <a:r>
              <a:rPr lang="pt-BR" noProof="1"/>
              <a:t>Use 20 words or less.</a:t>
            </a:r>
          </a:p>
          <a:p>
            <a:endParaRPr lang="pt-BR" noProof="1"/>
          </a:p>
        </p:txBody>
      </p:sp>
      <p:sp>
        <p:nvSpPr>
          <p:cNvPr id="48" name="Text Placeholder 47">
            <a:extLst>
              <a:ext uri="{FF2B5EF4-FFF2-40B4-BE49-F238E27FC236}">
                <a16:creationId xmlns:a16="http://schemas.microsoft.com/office/drawing/2014/main" id="{F84E9E28-67BC-25D3-5761-0E4D3FD731BE}"/>
              </a:ext>
            </a:extLst>
          </p:cNvPr>
          <p:cNvSpPr>
            <a:spLocks noGrp="1"/>
          </p:cNvSpPr>
          <p:nvPr>
            <p:ph type="body" sz="quarter" idx="34"/>
          </p:nvPr>
        </p:nvSpPr>
        <p:spPr>
          <a:xfrm>
            <a:off x="6353175" y="1866900"/>
            <a:ext cx="1411288" cy="393700"/>
          </a:xfrm>
        </p:spPr>
        <p:txBody>
          <a:bodyPr/>
          <a:lstStyle/>
          <a:p>
            <a:r>
              <a:rPr lang="pt-BR" b="0" noProof="1">
                <a:latin typeface="Graphik Semibold" panose="020B0703030202060203" pitchFamily="34" charset="0"/>
              </a:rPr>
              <a:t>Speak</a:t>
            </a:r>
            <a:br>
              <a:rPr lang="pt-BR" b="0" noProof="1">
                <a:latin typeface="Graphik Semibold" panose="020B0703030202060203" pitchFamily="34" charset="0"/>
              </a:rPr>
            </a:br>
            <a:r>
              <a:rPr lang="pt-BR" b="0" noProof="1">
                <a:latin typeface="Graphik Semibold" panose="020B0703030202060203" pitchFamily="34" charset="0"/>
              </a:rPr>
              <a:t>human</a:t>
            </a:r>
          </a:p>
        </p:txBody>
      </p:sp>
      <p:sp>
        <p:nvSpPr>
          <p:cNvPr id="47" name="Text Placeholder 46">
            <a:extLst>
              <a:ext uri="{FF2B5EF4-FFF2-40B4-BE49-F238E27FC236}">
                <a16:creationId xmlns:a16="http://schemas.microsoft.com/office/drawing/2014/main" id="{CB78240F-C1C2-E7A4-E84A-DBC467DB46CB}"/>
              </a:ext>
            </a:extLst>
          </p:cNvPr>
          <p:cNvSpPr>
            <a:spLocks noGrp="1"/>
          </p:cNvSpPr>
          <p:nvPr>
            <p:ph type="body" sz="quarter" idx="33"/>
          </p:nvPr>
        </p:nvSpPr>
        <p:spPr>
          <a:xfrm>
            <a:off x="7765208" y="1866147"/>
            <a:ext cx="3226642" cy="485340"/>
          </a:xfrm>
        </p:spPr>
        <p:txBody>
          <a:bodyPr/>
          <a:lstStyle/>
          <a:p>
            <a:r>
              <a:rPr lang="pt-BR" noProof="1"/>
              <a:t>People are what matter most to us. Emotions are powerful things. Use them.</a:t>
            </a:r>
          </a:p>
        </p:txBody>
      </p:sp>
      <p:sp>
        <p:nvSpPr>
          <p:cNvPr id="52" name="Text Placeholder 51">
            <a:extLst>
              <a:ext uri="{FF2B5EF4-FFF2-40B4-BE49-F238E27FC236}">
                <a16:creationId xmlns:a16="http://schemas.microsoft.com/office/drawing/2014/main" id="{769CC254-7554-FB2F-5D24-2051D0380336}"/>
              </a:ext>
            </a:extLst>
          </p:cNvPr>
          <p:cNvSpPr>
            <a:spLocks noGrp="1"/>
          </p:cNvSpPr>
          <p:nvPr>
            <p:ph type="body" sz="quarter" idx="38"/>
          </p:nvPr>
        </p:nvSpPr>
        <p:spPr>
          <a:xfrm>
            <a:off x="6353175" y="2916238"/>
            <a:ext cx="1411288" cy="395287"/>
          </a:xfrm>
        </p:spPr>
        <p:txBody>
          <a:bodyPr/>
          <a:lstStyle/>
          <a:p>
            <a:r>
              <a:rPr lang="pt-BR" b="0" noProof="1">
                <a:latin typeface="Graphik Semibold" panose="020B0703030202060203" pitchFamily="34" charset="0"/>
              </a:rPr>
              <a:t>Kill your darlings</a:t>
            </a:r>
          </a:p>
        </p:txBody>
      </p:sp>
      <p:sp>
        <p:nvSpPr>
          <p:cNvPr id="51" name="Text Placeholder 50">
            <a:extLst>
              <a:ext uri="{FF2B5EF4-FFF2-40B4-BE49-F238E27FC236}">
                <a16:creationId xmlns:a16="http://schemas.microsoft.com/office/drawing/2014/main" id="{10B83BF7-0FA8-2771-0722-24AFEAEF5516}"/>
              </a:ext>
            </a:extLst>
          </p:cNvPr>
          <p:cNvSpPr>
            <a:spLocks noGrp="1"/>
          </p:cNvSpPr>
          <p:nvPr>
            <p:ph type="body" sz="quarter" idx="37"/>
          </p:nvPr>
        </p:nvSpPr>
        <p:spPr>
          <a:xfrm>
            <a:off x="7765208" y="2917024"/>
            <a:ext cx="3226642" cy="485340"/>
          </a:xfrm>
        </p:spPr>
        <p:txBody>
          <a:bodyPr/>
          <a:lstStyle/>
          <a:p>
            <a:r>
              <a:rPr lang="pt-BR" noProof="1"/>
              <a:t>If that slide doesn’t offer important new information, lose it.</a:t>
            </a:r>
          </a:p>
        </p:txBody>
      </p:sp>
      <p:sp>
        <p:nvSpPr>
          <p:cNvPr id="56" name="Text Placeholder 55">
            <a:extLst>
              <a:ext uri="{FF2B5EF4-FFF2-40B4-BE49-F238E27FC236}">
                <a16:creationId xmlns:a16="http://schemas.microsoft.com/office/drawing/2014/main" id="{E64FA6C2-1BC9-6F05-3F57-A33108820871}"/>
              </a:ext>
            </a:extLst>
          </p:cNvPr>
          <p:cNvSpPr>
            <a:spLocks noGrp="1"/>
          </p:cNvSpPr>
          <p:nvPr>
            <p:ph type="body" sz="quarter" idx="46"/>
          </p:nvPr>
        </p:nvSpPr>
        <p:spPr>
          <a:xfrm>
            <a:off x="6353175" y="3967163"/>
            <a:ext cx="1411288" cy="395287"/>
          </a:xfrm>
        </p:spPr>
        <p:txBody>
          <a:bodyPr/>
          <a:lstStyle/>
          <a:p>
            <a:r>
              <a:rPr lang="pt-BR" b="0" noProof="1">
                <a:latin typeface="Graphik Semibold" panose="020B0703030202060203" pitchFamily="34" charset="0"/>
              </a:rPr>
              <a:t>Be provocative</a:t>
            </a:r>
          </a:p>
        </p:txBody>
      </p:sp>
      <p:sp>
        <p:nvSpPr>
          <p:cNvPr id="55" name="Text Placeholder 54">
            <a:extLst>
              <a:ext uri="{FF2B5EF4-FFF2-40B4-BE49-F238E27FC236}">
                <a16:creationId xmlns:a16="http://schemas.microsoft.com/office/drawing/2014/main" id="{A98AA780-3442-7560-93B5-A2572D38DF1F}"/>
              </a:ext>
            </a:extLst>
          </p:cNvPr>
          <p:cNvSpPr>
            <a:spLocks noGrp="1"/>
          </p:cNvSpPr>
          <p:nvPr>
            <p:ph type="body" sz="quarter" idx="45"/>
          </p:nvPr>
        </p:nvSpPr>
        <p:spPr>
          <a:xfrm>
            <a:off x="7765208" y="3967901"/>
            <a:ext cx="3226642" cy="485340"/>
          </a:xfrm>
        </p:spPr>
        <p:txBody>
          <a:bodyPr/>
          <a:lstStyle/>
          <a:p>
            <a:r>
              <a:rPr lang="pt-BR" noProof="1"/>
              <a:t>Don’t be afraid to explore emotions and thoughts in the service of your idea.</a:t>
            </a:r>
          </a:p>
        </p:txBody>
      </p:sp>
      <p:sp>
        <p:nvSpPr>
          <p:cNvPr id="60" name="Text Placeholder 59">
            <a:extLst>
              <a:ext uri="{FF2B5EF4-FFF2-40B4-BE49-F238E27FC236}">
                <a16:creationId xmlns:a16="http://schemas.microsoft.com/office/drawing/2014/main" id="{DC1B471D-1BDD-E624-5106-421835BC0F62}"/>
              </a:ext>
            </a:extLst>
          </p:cNvPr>
          <p:cNvSpPr>
            <a:spLocks noGrp="1"/>
          </p:cNvSpPr>
          <p:nvPr>
            <p:ph type="body" sz="quarter" idx="54"/>
          </p:nvPr>
        </p:nvSpPr>
        <p:spPr>
          <a:xfrm>
            <a:off x="6353175" y="5021263"/>
            <a:ext cx="1411288" cy="393700"/>
          </a:xfrm>
        </p:spPr>
        <p:txBody>
          <a:bodyPr/>
          <a:lstStyle/>
          <a:p>
            <a:r>
              <a:rPr lang="pt-BR" b="0" noProof="1">
                <a:latin typeface="Graphik Semibold" panose="020B0703030202060203" pitchFamily="34" charset="0"/>
              </a:rPr>
              <a:t>Go easy on the eyes</a:t>
            </a:r>
          </a:p>
        </p:txBody>
      </p:sp>
      <p:sp>
        <p:nvSpPr>
          <p:cNvPr id="59" name="Text Placeholder 58">
            <a:extLst>
              <a:ext uri="{FF2B5EF4-FFF2-40B4-BE49-F238E27FC236}">
                <a16:creationId xmlns:a16="http://schemas.microsoft.com/office/drawing/2014/main" id="{2679FA6A-6FDB-D019-6A11-E8DFC80A234A}"/>
              </a:ext>
            </a:extLst>
          </p:cNvPr>
          <p:cNvSpPr>
            <a:spLocks noGrp="1"/>
          </p:cNvSpPr>
          <p:nvPr>
            <p:ph type="body" sz="quarter" idx="53"/>
          </p:nvPr>
        </p:nvSpPr>
        <p:spPr>
          <a:xfrm>
            <a:off x="7765208" y="5021786"/>
            <a:ext cx="3226642" cy="485340"/>
          </a:xfrm>
        </p:spPr>
        <p:txBody>
          <a:bodyPr/>
          <a:lstStyle/>
          <a:p>
            <a:r>
              <a:rPr lang="pt-BR" noProof="1"/>
              <a:t>Make your text 16-point or larger. Text won’t fit? So, 'kill your darlings'.</a:t>
            </a:r>
          </a:p>
        </p:txBody>
      </p:sp>
    </p:spTree>
    <p:extLst>
      <p:ext uri="{BB962C8B-B14F-4D97-AF65-F5344CB8AC3E}">
        <p14:creationId xmlns:p14="http://schemas.microsoft.com/office/powerpoint/2010/main" val="133759124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D8A14661-98C6-1D4D-E2CD-4B65F8FC29D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59DFC73-BC82-C1C6-0215-852016FF5071}"/>
              </a:ext>
            </a:extLst>
          </p:cNvPr>
          <p:cNvGraphicFramePr>
            <a:graphicFrameLocks noChangeAspect="1"/>
          </p:cNvGraphicFramePr>
          <p:nvPr>
            <p:custDataLst>
              <p:tags r:id="rId1"/>
            </p:custDataLst>
            <p:extLst>
              <p:ext uri="{D42A27DB-BD31-4B8C-83A1-F6EECF244321}">
                <p14:modId xmlns:p14="http://schemas.microsoft.com/office/powerpoint/2010/main" val="2826718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4" name="think-cell data - do not delete" hidden="1">
                        <a:extLst>
                          <a:ext uri="{FF2B5EF4-FFF2-40B4-BE49-F238E27FC236}">
                            <a16:creationId xmlns:a16="http://schemas.microsoft.com/office/drawing/2014/main" id="{D59DFC73-BC82-C1C6-0215-852016FF507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3BBDE1F-88E0-26C4-9931-5CBE6A4A3DF1}"/>
              </a:ext>
            </a:extLst>
          </p:cNvPr>
          <p:cNvSpPr>
            <a:spLocks noGrp="1"/>
          </p:cNvSpPr>
          <p:nvPr>
            <p:ph type="title"/>
          </p:nvPr>
        </p:nvSpPr>
        <p:spPr/>
        <p:txBody>
          <a:bodyPr vert="horz"/>
          <a:lstStyle/>
          <a:p>
            <a:r>
              <a:rPr lang="pt-BR" noProof="1"/>
              <a:t>How to structure a great story</a:t>
            </a:r>
          </a:p>
        </p:txBody>
      </p:sp>
      <p:sp>
        <p:nvSpPr>
          <p:cNvPr id="34" name="Text Placeholder 33">
            <a:extLst>
              <a:ext uri="{FF2B5EF4-FFF2-40B4-BE49-F238E27FC236}">
                <a16:creationId xmlns:a16="http://schemas.microsoft.com/office/drawing/2014/main" id="{7F1B95AB-4AB3-FBA6-C5CC-C3F83B9585AD}"/>
              </a:ext>
            </a:extLst>
          </p:cNvPr>
          <p:cNvSpPr>
            <a:spLocks noGrp="1"/>
          </p:cNvSpPr>
          <p:nvPr>
            <p:ph type="body" sz="quarter" idx="32"/>
          </p:nvPr>
        </p:nvSpPr>
        <p:spPr/>
        <p:txBody>
          <a:bodyPr/>
          <a:lstStyle/>
          <a:p>
            <a:r>
              <a:rPr lang="pt-BR" noProof="1"/>
              <a:t>The hook</a:t>
            </a:r>
          </a:p>
        </p:txBody>
      </p:sp>
      <p:sp>
        <p:nvSpPr>
          <p:cNvPr id="33" name="Text Placeholder 32">
            <a:extLst>
              <a:ext uri="{FF2B5EF4-FFF2-40B4-BE49-F238E27FC236}">
                <a16:creationId xmlns:a16="http://schemas.microsoft.com/office/drawing/2014/main" id="{8BCBA90F-FB2C-4DC4-2C7B-5DC40D4D1C0F}"/>
              </a:ext>
            </a:extLst>
          </p:cNvPr>
          <p:cNvSpPr>
            <a:spLocks noGrp="1"/>
          </p:cNvSpPr>
          <p:nvPr>
            <p:ph type="body" sz="quarter" idx="16"/>
          </p:nvPr>
        </p:nvSpPr>
        <p:spPr/>
        <p:txBody>
          <a:bodyPr/>
          <a:lstStyle/>
          <a:p>
            <a:r>
              <a:rPr lang="pt-BR" noProof="1"/>
              <a:t>Tell a personal story, or introduce a “what if” scenario that sparks imagination.</a:t>
            </a:r>
          </a:p>
        </p:txBody>
      </p:sp>
      <p:sp>
        <p:nvSpPr>
          <p:cNvPr id="38" name="Text Placeholder 37">
            <a:extLst>
              <a:ext uri="{FF2B5EF4-FFF2-40B4-BE49-F238E27FC236}">
                <a16:creationId xmlns:a16="http://schemas.microsoft.com/office/drawing/2014/main" id="{A9CCDC95-1BAD-716B-18C9-ED664862EECA}"/>
              </a:ext>
            </a:extLst>
          </p:cNvPr>
          <p:cNvSpPr>
            <a:spLocks noGrp="1"/>
          </p:cNvSpPr>
          <p:nvPr>
            <p:ph type="body" sz="quarter" idx="36"/>
          </p:nvPr>
        </p:nvSpPr>
        <p:spPr>
          <a:xfrm>
            <a:off x="557213" y="2916238"/>
            <a:ext cx="1271587" cy="395287"/>
          </a:xfrm>
        </p:spPr>
        <p:txBody>
          <a:bodyPr/>
          <a:lstStyle/>
          <a:p>
            <a:r>
              <a:rPr lang="pt-BR" noProof="1"/>
              <a:t>New “super powers”</a:t>
            </a:r>
          </a:p>
        </p:txBody>
      </p:sp>
      <p:sp>
        <p:nvSpPr>
          <p:cNvPr id="37" name="Text Placeholder 36">
            <a:extLst>
              <a:ext uri="{FF2B5EF4-FFF2-40B4-BE49-F238E27FC236}">
                <a16:creationId xmlns:a16="http://schemas.microsoft.com/office/drawing/2014/main" id="{9E25CBE1-5683-DF7F-E55A-DFF5FCFC1296}"/>
              </a:ext>
            </a:extLst>
          </p:cNvPr>
          <p:cNvSpPr>
            <a:spLocks noGrp="1"/>
          </p:cNvSpPr>
          <p:nvPr>
            <p:ph type="body" sz="quarter" idx="35"/>
          </p:nvPr>
        </p:nvSpPr>
        <p:spPr/>
        <p:txBody>
          <a:bodyPr/>
          <a:lstStyle/>
          <a:p>
            <a:r>
              <a:rPr lang="pt-BR" noProof="1"/>
              <a:t>Share the 3-4 capabilities or solutions that will help your audience defeat the monster and reach their destination.</a:t>
            </a:r>
          </a:p>
        </p:txBody>
      </p:sp>
      <p:sp>
        <p:nvSpPr>
          <p:cNvPr id="42" name="Text Placeholder 41">
            <a:extLst>
              <a:ext uri="{FF2B5EF4-FFF2-40B4-BE49-F238E27FC236}">
                <a16:creationId xmlns:a16="http://schemas.microsoft.com/office/drawing/2014/main" id="{65C813E2-4F76-169E-F8B5-1DE2BBB15D44}"/>
              </a:ext>
            </a:extLst>
          </p:cNvPr>
          <p:cNvSpPr>
            <a:spLocks noGrp="1"/>
          </p:cNvSpPr>
          <p:nvPr>
            <p:ph type="body" sz="quarter" idx="44"/>
          </p:nvPr>
        </p:nvSpPr>
        <p:spPr/>
        <p:txBody>
          <a:bodyPr/>
          <a:lstStyle/>
          <a:p>
            <a:r>
              <a:rPr lang="pt-BR" noProof="1"/>
              <a:t>A climax or outcome</a:t>
            </a:r>
          </a:p>
        </p:txBody>
      </p:sp>
      <p:sp>
        <p:nvSpPr>
          <p:cNvPr id="41" name="Text Placeholder 40">
            <a:extLst>
              <a:ext uri="{FF2B5EF4-FFF2-40B4-BE49-F238E27FC236}">
                <a16:creationId xmlns:a16="http://schemas.microsoft.com/office/drawing/2014/main" id="{99E4435F-D262-07C6-2401-980967977FC2}"/>
              </a:ext>
            </a:extLst>
          </p:cNvPr>
          <p:cNvSpPr>
            <a:spLocks noGrp="1"/>
          </p:cNvSpPr>
          <p:nvPr>
            <p:ph type="body" sz="quarter" idx="43"/>
          </p:nvPr>
        </p:nvSpPr>
        <p:spPr/>
        <p:txBody>
          <a:bodyPr/>
          <a:lstStyle/>
          <a:p>
            <a:r>
              <a:rPr lang="pt-BR" noProof="1"/>
              <a:t>Reveal the ultimate outcome when the monster is defeated and the destination is reached.</a:t>
            </a:r>
          </a:p>
          <a:p>
            <a:endParaRPr lang="pt-BR" noProof="1"/>
          </a:p>
        </p:txBody>
      </p:sp>
      <p:sp>
        <p:nvSpPr>
          <p:cNvPr id="48" name="Text Placeholder 47">
            <a:extLst>
              <a:ext uri="{FF2B5EF4-FFF2-40B4-BE49-F238E27FC236}">
                <a16:creationId xmlns:a16="http://schemas.microsoft.com/office/drawing/2014/main" id="{57E9805E-DDBA-83E4-695B-AA6B83792BAE}"/>
              </a:ext>
            </a:extLst>
          </p:cNvPr>
          <p:cNvSpPr>
            <a:spLocks noGrp="1"/>
          </p:cNvSpPr>
          <p:nvPr>
            <p:ph type="body" sz="quarter" idx="52"/>
          </p:nvPr>
        </p:nvSpPr>
        <p:spPr/>
        <p:txBody>
          <a:bodyPr/>
          <a:lstStyle/>
          <a:p>
            <a:r>
              <a:rPr lang="pt-BR" noProof="1"/>
              <a:t>A new life with new action</a:t>
            </a:r>
          </a:p>
        </p:txBody>
      </p:sp>
      <p:sp>
        <p:nvSpPr>
          <p:cNvPr id="47" name="Text Placeholder 46">
            <a:extLst>
              <a:ext uri="{FF2B5EF4-FFF2-40B4-BE49-F238E27FC236}">
                <a16:creationId xmlns:a16="http://schemas.microsoft.com/office/drawing/2014/main" id="{BB82F67E-FFE3-3CE1-B870-AA931A14EC77}"/>
              </a:ext>
            </a:extLst>
          </p:cNvPr>
          <p:cNvSpPr>
            <a:spLocks noGrp="1"/>
          </p:cNvSpPr>
          <p:nvPr>
            <p:ph type="body" sz="quarter" idx="51"/>
          </p:nvPr>
        </p:nvSpPr>
        <p:spPr/>
        <p:txBody>
          <a:bodyPr/>
          <a:lstStyle/>
          <a:p>
            <a:r>
              <a:rPr lang="pt-BR" noProof="1"/>
              <a:t>Tell your audience about the first step on their journey – the action you want them to take.</a:t>
            </a:r>
          </a:p>
        </p:txBody>
      </p:sp>
      <p:sp>
        <p:nvSpPr>
          <p:cNvPr id="36" name="Text Placeholder 35">
            <a:extLst>
              <a:ext uri="{FF2B5EF4-FFF2-40B4-BE49-F238E27FC236}">
                <a16:creationId xmlns:a16="http://schemas.microsoft.com/office/drawing/2014/main" id="{38C6A06A-D1B4-2366-A39A-26B8F5C51D58}"/>
              </a:ext>
            </a:extLst>
          </p:cNvPr>
          <p:cNvSpPr>
            <a:spLocks noGrp="1"/>
          </p:cNvSpPr>
          <p:nvPr>
            <p:ph type="body" sz="quarter" idx="34"/>
          </p:nvPr>
        </p:nvSpPr>
        <p:spPr/>
        <p:txBody>
          <a:bodyPr/>
          <a:lstStyle/>
          <a:p>
            <a:r>
              <a:rPr lang="pt-BR" noProof="1"/>
              <a:t>Characters and context</a:t>
            </a:r>
          </a:p>
          <a:p>
            <a:endParaRPr lang="pt-BR" noProof="1"/>
          </a:p>
        </p:txBody>
      </p:sp>
      <p:sp>
        <p:nvSpPr>
          <p:cNvPr id="35" name="Text Placeholder 34">
            <a:extLst>
              <a:ext uri="{FF2B5EF4-FFF2-40B4-BE49-F238E27FC236}">
                <a16:creationId xmlns:a16="http://schemas.microsoft.com/office/drawing/2014/main" id="{AD41CEDD-31ED-AD32-5F70-CDD42C231DE6}"/>
              </a:ext>
            </a:extLst>
          </p:cNvPr>
          <p:cNvSpPr>
            <a:spLocks noGrp="1"/>
          </p:cNvSpPr>
          <p:nvPr>
            <p:ph type="body" sz="quarter" idx="33"/>
          </p:nvPr>
        </p:nvSpPr>
        <p:spPr/>
        <p:txBody>
          <a:bodyPr/>
          <a:lstStyle/>
          <a:p>
            <a:r>
              <a:rPr lang="pt-BR" noProof="1"/>
              <a:t>Your audience is always the hero. Set the stage that have led to this moment. </a:t>
            </a:r>
          </a:p>
        </p:txBody>
      </p:sp>
      <p:sp>
        <p:nvSpPr>
          <p:cNvPr id="40" name="Text Placeholder 39">
            <a:extLst>
              <a:ext uri="{FF2B5EF4-FFF2-40B4-BE49-F238E27FC236}">
                <a16:creationId xmlns:a16="http://schemas.microsoft.com/office/drawing/2014/main" id="{8EF780F2-FA53-EF12-41FF-B6D99C567DCF}"/>
              </a:ext>
            </a:extLst>
          </p:cNvPr>
          <p:cNvSpPr>
            <a:spLocks noGrp="1"/>
          </p:cNvSpPr>
          <p:nvPr>
            <p:ph type="body" sz="quarter" idx="38"/>
          </p:nvPr>
        </p:nvSpPr>
        <p:spPr/>
        <p:txBody>
          <a:bodyPr/>
          <a:lstStyle/>
          <a:p>
            <a:r>
              <a:rPr lang="pt-BR" noProof="1"/>
              <a:t>A mission and destination</a:t>
            </a:r>
          </a:p>
        </p:txBody>
      </p:sp>
      <p:sp>
        <p:nvSpPr>
          <p:cNvPr id="39" name="Text Placeholder 38">
            <a:extLst>
              <a:ext uri="{FF2B5EF4-FFF2-40B4-BE49-F238E27FC236}">
                <a16:creationId xmlns:a16="http://schemas.microsoft.com/office/drawing/2014/main" id="{C35196EA-E362-0745-FC68-4D6B95690AB7}"/>
              </a:ext>
            </a:extLst>
          </p:cNvPr>
          <p:cNvSpPr>
            <a:spLocks noGrp="1"/>
          </p:cNvSpPr>
          <p:nvPr>
            <p:ph type="body" sz="quarter" idx="37"/>
          </p:nvPr>
        </p:nvSpPr>
        <p:spPr/>
        <p:txBody>
          <a:bodyPr/>
          <a:lstStyle/>
          <a:p>
            <a:r>
              <a:rPr lang="pt-BR" noProof="1"/>
              <a:t>Paint a picture of what your audience wants to achieve and what they’re setting out to do.</a:t>
            </a:r>
          </a:p>
        </p:txBody>
      </p:sp>
      <p:sp>
        <p:nvSpPr>
          <p:cNvPr id="44" name="Text Placeholder 43">
            <a:extLst>
              <a:ext uri="{FF2B5EF4-FFF2-40B4-BE49-F238E27FC236}">
                <a16:creationId xmlns:a16="http://schemas.microsoft.com/office/drawing/2014/main" id="{96EBE930-C19C-641C-31F5-5466E4810E4C}"/>
              </a:ext>
            </a:extLst>
          </p:cNvPr>
          <p:cNvSpPr>
            <a:spLocks noGrp="1"/>
          </p:cNvSpPr>
          <p:nvPr>
            <p:ph type="body" sz="quarter" idx="46"/>
          </p:nvPr>
        </p:nvSpPr>
        <p:spPr>
          <a:xfrm>
            <a:off x="6353174" y="3967163"/>
            <a:ext cx="1411289" cy="395287"/>
          </a:xfrm>
        </p:spPr>
        <p:txBody>
          <a:bodyPr/>
          <a:lstStyle/>
          <a:p>
            <a:r>
              <a:rPr lang="pt-BR" noProof="1"/>
              <a:t>A “monster” or big challenge</a:t>
            </a:r>
          </a:p>
        </p:txBody>
      </p:sp>
      <p:sp>
        <p:nvSpPr>
          <p:cNvPr id="43" name="Text Placeholder 42">
            <a:extLst>
              <a:ext uri="{FF2B5EF4-FFF2-40B4-BE49-F238E27FC236}">
                <a16:creationId xmlns:a16="http://schemas.microsoft.com/office/drawing/2014/main" id="{11A6EDEE-AB76-3DC0-F208-86902FC957D5}"/>
              </a:ext>
            </a:extLst>
          </p:cNvPr>
          <p:cNvSpPr>
            <a:spLocks noGrp="1"/>
          </p:cNvSpPr>
          <p:nvPr>
            <p:ph type="body" sz="quarter" idx="45"/>
          </p:nvPr>
        </p:nvSpPr>
        <p:spPr/>
        <p:txBody>
          <a:bodyPr/>
          <a:lstStyle/>
          <a:p>
            <a:r>
              <a:rPr lang="pt-BR" noProof="1"/>
              <a:t>Describe what’s in their way and what they will need to overcome to be successful.</a:t>
            </a:r>
          </a:p>
          <a:p>
            <a:endParaRPr lang="pt-BR" noProof="1"/>
          </a:p>
        </p:txBody>
      </p:sp>
    </p:spTree>
    <p:extLst>
      <p:ext uri="{BB962C8B-B14F-4D97-AF65-F5344CB8AC3E}">
        <p14:creationId xmlns:p14="http://schemas.microsoft.com/office/powerpoint/2010/main" val="90259349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10A5DA5-53F0-62E7-CA36-5D9FADA66AD9}"/>
              </a:ext>
            </a:extLst>
          </p:cNvPr>
          <p:cNvGraphicFramePr>
            <a:graphicFrameLocks noChangeAspect="1"/>
          </p:cNvGraphicFramePr>
          <p:nvPr>
            <p:custDataLst>
              <p:tags r:id="rId1"/>
            </p:custDataLst>
            <p:extLst>
              <p:ext uri="{D42A27DB-BD31-4B8C-83A1-F6EECF244321}">
                <p14:modId xmlns:p14="http://schemas.microsoft.com/office/powerpoint/2010/main" val="3345236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7" name="think-cell data - do not delete" hidden="1">
                        <a:extLst>
                          <a:ext uri="{FF2B5EF4-FFF2-40B4-BE49-F238E27FC236}">
                            <a16:creationId xmlns:a16="http://schemas.microsoft.com/office/drawing/2014/main" id="{310A5DA5-53F0-62E7-CA36-5D9FADA66A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6FBE84C-E5B6-452D-A67C-6435F4B76A12}"/>
              </a:ext>
            </a:extLst>
          </p:cNvPr>
          <p:cNvSpPr>
            <a:spLocks noGrp="1"/>
          </p:cNvSpPr>
          <p:nvPr>
            <p:ph type="title"/>
          </p:nvPr>
        </p:nvSpPr>
        <p:spPr>
          <a:xfrm>
            <a:off x="556467" y="572600"/>
            <a:ext cx="4619967" cy="393954"/>
          </a:xfrm>
        </p:spPr>
        <p:txBody>
          <a:bodyPr vert="horz"/>
          <a:lstStyle/>
          <a:p>
            <a:r>
              <a:rPr lang="pt-BR" noProof="1"/>
              <a:t>Colors</a:t>
            </a:r>
          </a:p>
        </p:txBody>
      </p:sp>
      <p:sp>
        <p:nvSpPr>
          <p:cNvPr id="43" name="Text Placeholder 42">
            <a:extLst>
              <a:ext uri="{FF2B5EF4-FFF2-40B4-BE49-F238E27FC236}">
                <a16:creationId xmlns:a16="http://schemas.microsoft.com/office/drawing/2014/main" id="{C3EB088F-E947-3F1E-DB6D-80E7A7EFC968}"/>
              </a:ext>
            </a:extLst>
          </p:cNvPr>
          <p:cNvSpPr>
            <a:spLocks noGrp="1"/>
          </p:cNvSpPr>
          <p:nvPr>
            <p:ph type="body" sz="quarter" idx="28"/>
          </p:nvPr>
        </p:nvSpPr>
        <p:spPr>
          <a:xfrm>
            <a:off x="556468" y="1880238"/>
            <a:ext cx="3148429" cy="734935"/>
          </a:xfrm>
        </p:spPr>
        <p:txBody>
          <a:bodyPr/>
          <a:lstStyle/>
          <a:p>
            <a:r>
              <a:rPr lang="pt-BR" sz="1200" noProof="1">
                <a:latin typeface="Graphik" panose="020B0503030202060203" pitchFamily="34" charset="77"/>
              </a:rPr>
              <a:t>Our primary palette is based on the Theme colors, with a few approved secondary colors used for emphasis. Use secondary colors sparingly.</a:t>
            </a:r>
          </a:p>
        </p:txBody>
      </p:sp>
      <p:sp>
        <p:nvSpPr>
          <p:cNvPr id="4" name="Rounded Rectangle 3" descr="Accenture colors hyperlink">
            <a:extLst>
              <a:ext uri="{FF2B5EF4-FFF2-40B4-BE49-F238E27FC236}">
                <a16:creationId xmlns:a16="http://schemas.microsoft.com/office/drawing/2014/main" id="{3B2002AE-0C6E-D3CE-ABBA-60DDC9730496}"/>
              </a:ext>
            </a:extLst>
          </p:cNvPr>
          <p:cNvSpPr/>
          <p:nvPr/>
        </p:nvSpPr>
        <p:spPr>
          <a:xfrm>
            <a:off x="554565" y="4763834"/>
            <a:ext cx="1875126" cy="393954"/>
          </a:xfrm>
          <a:prstGeom prst="roundRect">
            <a:avLst>
              <a:gd name="adj" fmla="val 0"/>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pt-BR" sz="1400" noProof="1">
                <a:solidFill>
                  <a:schemeClr val="accent2"/>
                </a:solidFill>
              </a:rPr>
              <a:t>Accenture colors</a:t>
            </a:r>
          </a:p>
        </p:txBody>
      </p:sp>
      <p:sp>
        <p:nvSpPr>
          <p:cNvPr id="6" name="TextBox 5">
            <a:extLst>
              <a:ext uri="{FF2B5EF4-FFF2-40B4-BE49-F238E27FC236}">
                <a16:creationId xmlns:a16="http://schemas.microsoft.com/office/drawing/2014/main" id="{F5607FD9-FE82-8A7E-6FAD-890F280D67DD}"/>
              </a:ext>
            </a:extLst>
          </p:cNvPr>
          <p:cNvSpPr txBox="1"/>
          <p:nvPr/>
        </p:nvSpPr>
        <p:spPr>
          <a:xfrm>
            <a:off x="5351076" y="1442075"/>
            <a:ext cx="741319" cy="430887"/>
          </a:xfrm>
          <a:prstGeom prst="rect">
            <a:avLst/>
          </a:prstGeom>
          <a:noFill/>
        </p:spPr>
        <p:txBody>
          <a:bodyPr wrap="square" lIns="0" tIns="0" rIns="0" bIns="0" rtlCol="0">
            <a:spAutoFit/>
          </a:bodyPr>
          <a:lstStyle/>
          <a:p>
            <a:pPr defTabSz="228594">
              <a:spcAft>
                <a:spcPts val="1200"/>
              </a:spcAft>
            </a:pPr>
            <a:r>
              <a:rPr lang="pt-BR" sz="1400" noProof="1">
                <a:latin typeface="Graphik" panose="020B0503030202060203" pitchFamily="34" charset="77"/>
              </a:rPr>
              <a:t>Theme colors</a:t>
            </a:r>
          </a:p>
        </p:txBody>
      </p:sp>
      <p:pic>
        <p:nvPicPr>
          <p:cNvPr id="3" name="Picture 2" descr="A screenshot of a color chart">
            <a:extLst>
              <a:ext uri="{FF2B5EF4-FFF2-40B4-BE49-F238E27FC236}">
                <a16:creationId xmlns:a16="http://schemas.microsoft.com/office/drawing/2014/main" id="{9A815F80-858E-DF0D-93A3-2EC6FC6A173C}"/>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5344124" y="1923923"/>
            <a:ext cx="2410265" cy="1431472"/>
          </a:xfrm>
          <a:prstGeom prst="rect">
            <a:avLst/>
          </a:prstGeom>
        </p:spPr>
      </p:pic>
      <p:sp>
        <p:nvSpPr>
          <p:cNvPr id="5" name="TextBox 4">
            <a:extLst>
              <a:ext uri="{FF2B5EF4-FFF2-40B4-BE49-F238E27FC236}">
                <a16:creationId xmlns:a16="http://schemas.microsoft.com/office/drawing/2014/main" id="{AE1231CD-985C-544A-A6D3-B9A3FF5FF9F3}"/>
              </a:ext>
            </a:extLst>
          </p:cNvPr>
          <p:cNvSpPr txBox="1"/>
          <p:nvPr/>
        </p:nvSpPr>
        <p:spPr>
          <a:xfrm>
            <a:off x="5351076" y="3980559"/>
            <a:ext cx="741319" cy="215444"/>
          </a:xfrm>
          <a:prstGeom prst="rect">
            <a:avLst/>
          </a:prstGeom>
          <a:noFill/>
        </p:spPr>
        <p:txBody>
          <a:bodyPr wrap="square" lIns="0" tIns="0" rIns="0" bIns="0" rtlCol="0">
            <a:spAutoFit/>
          </a:bodyPr>
          <a:lstStyle/>
          <a:p>
            <a:pPr defTabSz="228594">
              <a:spcAft>
                <a:spcPts val="1200"/>
              </a:spcAft>
            </a:pPr>
            <a:r>
              <a:rPr lang="pt-BR" sz="1400" noProof="1">
                <a:latin typeface="Graphik" panose="020B0503030202060203" pitchFamily="34" charset="77"/>
              </a:rPr>
              <a:t>Neutrals</a:t>
            </a:r>
          </a:p>
        </p:txBody>
      </p:sp>
      <p:pic>
        <p:nvPicPr>
          <p:cNvPr id="18" name="Picture 17" descr="A screenshot of a color chart">
            <a:extLst>
              <a:ext uri="{FF2B5EF4-FFF2-40B4-BE49-F238E27FC236}">
                <a16:creationId xmlns:a16="http://schemas.microsoft.com/office/drawing/2014/main" id="{E907636A-7055-7FB9-FC26-FE972FF419F9}"/>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5392313" y="4445118"/>
            <a:ext cx="453224" cy="1335819"/>
          </a:xfrm>
          <a:prstGeom prst="rect">
            <a:avLst/>
          </a:prstGeom>
        </p:spPr>
      </p:pic>
      <p:sp>
        <p:nvSpPr>
          <p:cNvPr id="23" name="TextBox 22">
            <a:extLst>
              <a:ext uri="{FF2B5EF4-FFF2-40B4-BE49-F238E27FC236}">
                <a16:creationId xmlns:a16="http://schemas.microsoft.com/office/drawing/2014/main" id="{56A0931C-A991-1F4D-B4A8-1CB27F785A0C}"/>
              </a:ext>
            </a:extLst>
          </p:cNvPr>
          <p:cNvSpPr txBox="1"/>
          <p:nvPr/>
        </p:nvSpPr>
        <p:spPr>
          <a:xfrm>
            <a:off x="6777916" y="3980559"/>
            <a:ext cx="1145552" cy="430887"/>
          </a:xfrm>
          <a:prstGeom prst="rect">
            <a:avLst/>
          </a:prstGeom>
          <a:noFill/>
        </p:spPr>
        <p:txBody>
          <a:bodyPr wrap="square" lIns="0" tIns="0" rIns="0" bIns="0" rtlCol="0" anchor="ctr">
            <a:spAutoFit/>
          </a:bodyPr>
          <a:lstStyle/>
          <a:p>
            <a:r>
              <a:rPr lang="pt-BR" sz="1400" noProof="1">
                <a:latin typeface="Graphik" panose="020B0503030202060203" pitchFamily="34" charset="77"/>
              </a:rPr>
              <a:t>Accenture Purples</a:t>
            </a:r>
          </a:p>
        </p:txBody>
      </p:sp>
      <p:pic>
        <p:nvPicPr>
          <p:cNvPr id="21" name="Picture 20" descr="A screenshot of a color chart">
            <a:extLst>
              <a:ext uri="{FF2B5EF4-FFF2-40B4-BE49-F238E27FC236}">
                <a16:creationId xmlns:a16="http://schemas.microsoft.com/office/drawing/2014/main" id="{CC37DA0D-5765-FD9C-A0D2-DA388A4F2A35}"/>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6777916" y="4445118"/>
            <a:ext cx="1145552" cy="1335819"/>
          </a:xfrm>
          <a:prstGeom prst="rect">
            <a:avLst/>
          </a:prstGeom>
        </p:spPr>
      </p:pic>
      <p:sp>
        <p:nvSpPr>
          <p:cNvPr id="47" name="TextBox 24">
            <a:extLst>
              <a:ext uri="{FF2B5EF4-FFF2-40B4-BE49-F238E27FC236}">
                <a16:creationId xmlns:a16="http://schemas.microsoft.com/office/drawing/2014/main" id="{9F14741A-C3E5-1EA9-FD09-85F4AEC0E2BF}"/>
              </a:ext>
            </a:extLst>
          </p:cNvPr>
          <p:cNvSpPr txBox="1"/>
          <p:nvPr/>
        </p:nvSpPr>
        <p:spPr>
          <a:xfrm>
            <a:off x="8500617" y="3980559"/>
            <a:ext cx="1382939" cy="430887"/>
          </a:xfrm>
          <a:prstGeom prst="rect">
            <a:avLst/>
          </a:prstGeom>
          <a:noFill/>
        </p:spPr>
        <p:txBody>
          <a:bodyPr wrap="square" lIns="0" tIns="0" rIns="0" bIns="0" rtlCol="0">
            <a:spAutoFit/>
          </a:bodyPr>
          <a:lstStyle/>
          <a:p>
            <a:r>
              <a:rPr lang="pt-BR" sz="1400" noProof="1">
                <a:latin typeface="Graphik" panose="020B0503030202060203" pitchFamily="34" charset="77"/>
              </a:rPr>
              <a:t>Accenture Secondaries</a:t>
            </a:r>
          </a:p>
        </p:txBody>
      </p:sp>
      <p:pic>
        <p:nvPicPr>
          <p:cNvPr id="19" name="Picture 18" descr="A screenshot of a color chart">
            <a:extLst>
              <a:ext uri="{FF2B5EF4-FFF2-40B4-BE49-F238E27FC236}">
                <a16:creationId xmlns:a16="http://schemas.microsoft.com/office/drawing/2014/main" id="{3194DF37-D314-5B5E-2296-B1D5630BC589}"/>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a:xfrm>
            <a:off x="8500617" y="4445117"/>
            <a:ext cx="697346" cy="1335819"/>
          </a:xfrm>
          <a:prstGeom prst="rect">
            <a:avLst/>
          </a:prstGeom>
        </p:spPr>
      </p:pic>
    </p:spTree>
    <p:extLst>
      <p:ext uri="{BB962C8B-B14F-4D97-AF65-F5344CB8AC3E}">
        <p14:creationId xmlns:p14="http://schemas.microsoft.com/office/powerpoint/2010/main" val="10195830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37CC3D-FF79-6013-BE37-B2E9BA00CA8F}"/>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E8E40FB-03C4-0AF0-2B5C-287436FFFF86}"/>
              </a:ext>
            </a:extLst>
          </p:cNvPr>
          <p:cNvGraphicFramePr>
            <a:graphicFrameLocks noChangeAspect="1"/>
          </p:cNvGraphicFramePr>
          <p:nvPr>
            <p:custDataLst>
              <p:tags r:id="rId1"/>
            </p:custDataLst>
            <p:extLst>
              <p:ext uri="{D42A27DB-BD31-4B8C-83A1-F6EECF244321}">
                <p14:modId xmlns:p14="http://schemas.microsoft.com/office/powerpoint/2010/main" val="459246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2" name="think-cell data - do not delete" hidden="1">
                        <a:extLst>
                          <a:ext uri="{FF2B5EF4-FFF2-40B4-BE49-F238E27FC236}">
                            <a16:creationId xmlns:a16="http://schemas.microsoft.com/office/drawing/2014/main" id="{5E8E40FB-03C4-0AF0-2B5C-287436FFFF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18FF0BF1-EE42-5CD4-4C18-AC237C2698F8}"/>
              </a:ext>
            </a:extLst>
          </p:cNvPr>
          <p:cNvSpPr>
            <a:spLocks noGrp="1"/>
          </p:cNvSpPr>
          <p:nvPr>
            <p:ph type="title"/>
          </p:nvPr>
        </p:nvSpPr>
        <p:spPr>
          <a:xfrm>
            <a:off x="574352" y="4020089"/>
            <a:ext cx="4205323" cy="787908"/>
          </a:xfrm>
        </p:spPr>
        <p:txBody>
          <a:bodyPr vert="horz"/>
          <a:lstStyle/>
          <a:p>
            <a:r>
              <a:rPr lang="pt-BR" noProof="1"/>
              <a:t>Contextualização do trabalho</a:t>
            </a:r>
          </a:p>
        </p:txBody>
      </p:sp>
      <p:sp>
        <p:nvSpPr>
          <p:cNvPr id="3" name="Text Placeholder 2">
            <a:extLst>
              <a:ext uri="{FF2B5EF4-FFF2-40B4-BE49-F238E27FC236}">
                <a16:creationId xmlns:a16="http://schemas.microsoft.com/office/drawing/2014/main" id="{47544B18-30AB-3074-00E5-8E844B139E90}"/>
              </a:ext>
            </a:extLst>
          </p:cNvPr>
          <p:cNvSpPr>
            <a:spLocks noGrp="1"/>
          </p:cNvSpPr>
          <p:nvPr>
            <p:ph type="body" sz="quarter" idx="11"/>
          </p:nvPr>
        </p:nvSpPr>
        <p:spPr>
          <a:xfrm>
            <a:off x="574352" y="2576447"/>
            <a:ext cx="1199046" cy="1231106"/>
          </a:xfrm>
        </p:spPr>
        <p:txBody>
          <a:bodyPr/>
          <a:lstStyle/>
          <a:p>
            <a:r>
              <a:rPr lang="pt-BR" noProof="1"/>
              <a:t>01</a:t>
            </a:r>
          </a:p>
        </p:txBody>
      </p:sp>
      <p:sp>
        <p:nvSpPr>
          <p:cNvPr id="4" name="Marcador de texto 3">
            <a:extLst>
              <a:ext uri="{FF2B5EF4-FFF2-40B4-BE49-F238E27FC236}">
                <a16:creationId xmlns:a16="http://schemas.microsoft.com/office/drawing/2014/main" id="{7DFDC0EA-D523-5F19-9C52-B7AC0EF887E1}"/>
              </a:ext>
            </a:extLst>
          </p:cNvPr>
          <p:cNvSpPr>
            <a:spLocks noGrp="1"/>
          </p:cNvSpPr>
          <p:nvPr>
            <p:ph type="body" sz="quarter" idx="19"/>
          </p:nvPr>
        </p:nvSpPr>
        <p:spPr>
          <a:xfrm>
            <a:off x="574352" y="5080829"/>
            <a:ext cx="4205324" cy="787909"/>
          </a:xfrm>
        </p:spPr>
        <p:txBody>
          <a:bodyPr/>
          <a:lstStyle/>
          <a:p>
            <a:r>
              <a:rPr lang="pt-BR" noProof="1"/>
              <a:t>Motivações, objetivos e contribuições</a:t>
            </a:r>
          </a:p>
        </p:txBody>
      </p:sp>
      <p:pic>
        <p:nvPicPr>
          <p:cNvPr id="13" name="Picture Placeholder 12">
            <a:extLst>
              <a:ext uri="{FF2B5EF4-FFF2-40B4-BE49-F238E27FC236}">
                <a16:creationId xmlns:a16="http://schemas.microsoft.com/office/drawing/2014/main" id="{BC903CDB-C378-3DB6-1955-E280D5A02C89}"/>
              </a:ext>
              <a:ext uri="{C183D7F6-B498-43B3-948B-1728B52AA6E4}">
                <adec:decorative xmlns:adec="http://schemas.microsoft.com/office/drawing/2017/decorative" val="1"/>
              </a:ext>
            </a:extLst>
          </p:cNvPr>
          <p:cNvPicPr>
            <a:picLocks noGrp="1" noChangeAspect="1"/>
          </p:cNvPicPr>
          <p:nvPr>
            <p:ph type="pic" sz="quarter" idx="13"/>
          </p:nvPr>
        </p:nvPicPr>
        <p:blipFill>
          <a:blip r:embed="rId6" cstate="screen">
            <a:extLst>
              <a:ext uri="{28A0092B-C50C-407E-A947-70E740481C1C}">
                <a14:useLocalDpi xmlns:a14="http://schemas.microsoft.com/office/drawing/2010/main"/>
              </a:ext>
            </a:extLst>
          </a:blip>
          <a:srcRect l="40" r="40"/>
          <a:stretch/>
        </p:blipFill>
        <p:spPr>
          <a:xfrm>
            <a:off x="5362807" y="549275"/>
            <a:ext cx="6278331" cy="5759449"/>
          </a:xfrm>
        </p:spPr>
      </p:pic>
    </p:spTree>
    <p:extLst>
      <p:ext uri="{BB962C8B-B14F-4D97-AF65-F5344CB8AC3E}">
        <p14:creationId xmlns:p14="http://schemas.microsoft.com/office/powerpoint/2010/main" val="298976867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2A7DC63E-C812-F826-89EE-AF061B5C5EDF}"/>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3315E84-0927-9828-005E-85AC152BCF90}"/>
              </a:ext>
            </a:extLst>
          </p:cNvPr>
          <p:cNvGraphicFramePr>
            <a:graphicFrameLocks noChangeAspect="1"/>
          </p:cNvGraphicFramePr>
          <p:nvPr>
            <p:custDataLst>
              <p:tags r:id="rId1"/>
            </p:custDataLst>
            <p:extLst>
              <p:ext uri="{D42A27DB-BD31-4B8C-83A1-F6EECF244321}">
                <p14:modId xmlns:p14="http://schemas.microsoft.com/office/powerpoint/2010/main" val="37816443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3" name="think-cell data - do not delete" hidden="1">
                        <a:extLst>
                          <a:ext uri="{FF2B5EF4-FFF2-40B4-BE49-F238E27FC236}">
                            <a16:creationId xmlns:a16="http://schemas.microsoft.com/office/drawing/2014/main" id="{23315E84-0927-9828-005E-85AC152BCF9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2E719-EB82-0C93-8D6B-17E1FE958190}"/>
              </a:ext>
            </a:extLst>
          </p:cNvPr>
          <p:cNvSpPr>
            <a:spLocks noGrp="1"/>
          </p:cNvSpPr>
          <p:nvPr>
            <p:ph type="title"/>
          </p:nvPr>
        </p:nvSpPr>
        <p:spPr>
          <a:xfrm>
            <a:off x="556468" y="572600"/>
            <a:ext cx="3984536" cy="393954"/>
          </a:xfrm>
        </p:spPr>
        <p:txBody>
          <a:bodyPr vert="horz"/>
          <a:lstStyle/>
          <a:p>
            <a:r>
              <a:rPr lang="pt-BR" noProof="1"/>
              <a:t>Fonts</a:t>
            </a:r>
          </a:p>
        </p:txBody>
      </p:sp>
      <p:sp>
        <p:nvSpPr>
          <p:cNvPr id="38" name="Text Placeholder 37">
            <a:extLst>
              <a:ext uri="{FF2B5EF4-FFF2-40B4-BE49-F238E27FC236}">
                <a16:creationId xmlns:a16="http://schemas.microsoft.com/office/drawing/2014/main" id="{17E65016-2A9C-C672-30C3-4A5B40D138AF}"/>
              </a:ext>
            </a:extLst>
          </p:cNvPr>
          <p:cNvSpPr>
            <a:spLocks noGrp="1"/>
          </p:cNvSpPr>
          <p:nvPr>
            <p:ph type="body" idx="29"/>
          </p:nvPr>
        </p:nvSpPr>
        <p:spPr>
          <a:xfrm>
            <a:off x="556468" y="1887912"/>
            <a:ext cx="3148429" cy="550488"/>
          </a:xfrm>
        </p:spPr>
        <p:txBody>
          <a:bodyPr/>
          <a:lstStyle/>
          <a:p>
            <a:r>
              <a:rPr lang="pt-BR" noProof="1"/>
              <a:t>Whenever possible, we use short headlines at large sizes.</a:t>
            </a:r>
          </a:p>
        </p:txBody>
      </p:sp>
      <p:sp>
        <p:nvSpPr>
          <p:cNvPr id="41" name="Text Placeholder 40">
            <a:extLst>
              <a:ext uri="{FF2B5EF4-FFF2-40B4-BE49-F238E27FC236}">
                <a16:creationId xmlns:a16="http://schemas.microsoft.com/office/drawing/2014/main" id="{92755061-B346-2CFD-390F-0DDABD6BE013}"/>
              </a:ext>
            </a:extLst>
          </p:cNvPr>
          <p:cNvSpPr>
            <a:spLocks noGrp="1"/>
          </p:cNvSpPr>
          <p:nvPr>
            <p:ph type="body" sz="quarter" idx="28"/>
          </p:nvPr>
        </p:nvSpPr>
        <p:spPr>
          <a:xfrm>
            <a:off x="556468" y="2598336"/>
            <a:ext cx="3148429" cy="734935"/>
          </a:xfrm>
        </p:spPr>
        <p:txBody>
          <a:bodyPr/>
          <a:lstStyle/>
          <a:p>
            <a:r>
              <a:rPr lang="pt-BR" noProof="1"/>
              <a:t>We use Graphik as our core brand typography.</a:t>
            </a:r>
          </a:p>
          <a:p>
            <a:r>
              <a:rPr lang="pt-BR" noProof="1"/>
              <a:t>If these fonts are not available or you can only use system fonts, please use the Arial template.</a:t>
            </a:r>
          </a:p>
        </p:txBody>
      </p:sp>
      <p:sp>
        <p:nvSpPr>
          <p:cNvPr id="5" name="hyperlink" descr="Graphik font hyperlink">
            <a:hlinkClick r:id="rId6"/>
            <a:extLst>
              <a:ext uri="{FF2B5EF4-FFF2-40B4-BE49-F238E27FC236}">
                <a16:creationId xmlns:a16="http://schemas.microsoft.com/office/drawing/2014/main" id="{055C60C2-C044-557D-B728-C0C90D09BBEC}"/>
              </a:ext>
            </a:extLst>
          </p:cNvPr>
          <p:cNvSpPr/>
          <p:nvPr/>
        </p:nvSpPr>
        <p:spPr>
          <a:xfrm>
            <a:off x="554565" y="4763834"/>
            <a:ext cx="1875126" cy="393954"/>
          </a:xfrm>
          <a:prstGeom prst="rect">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pt-BR" sz="1400" noProof="1">
                <a:solidFill>
                  <a:schemeClr val="accent2"/>
                </a:solidFill>
              </a:rPr>
              <a:t>Graphik font</a:t>
            </a:r>
          </a:p>
        </p:txBody>
      </p:sp>
      <p:graphicFrame>
        <p:nvGraphicFramePr>
          <p:cNvPr id="33" name="Table 32" descr="Example of how both font family looks like in different weight.">
            <a:extLst>
              <a:ext uri="{FF2B5EF4-FFF2-40B4-BE49-F238E27FC236}">
                <a16:creationId xmlns:a16="http://schemas.microsoft.com/office/drawing/2014/main" id="{3FACFD2B-5742-2B4F-BB5E-608A77A08E95}"/>
              </a:ext>
            </a:extLst>
          </p:cNvPr>
          <p:cNvGraphicFramePr>
            <a:graphicFrameLocks noGrp="1"/>
          </p:cNvGraphicFramePr>
          <p:nvPr>
            <p:extLst>
              <p:ext uri="{D42A27DB-BD31-4B8C-83A1-F6EECF244321}">
                <p14:modId xmlns:p14="http://schemas.microsoft.com/office/powerpoint/2010/main" val="1009638323"/>
              </p:ext>
            </p:extLst>
          </p:nvPr>
        </p:nvGraphicFramePr>
        <p:xfrm>
          <a:off x="5063303" y="636615"/>
          <a:ext cx="6805462" cy="5510281"/>
        </p:xfrm>
        <a:graphic>
          <a:graphicData uri="http://schemas.openxmlformats.org/drawingml/2006/table">
            <a:tbl>
              <a:tblPr firstRow="1" bandRow="1">
                <a:tableStyleId>{5C22544A-7EE6-4342-B048-85BDC9FD1C3A}</a:tableStyleId>
              </a:tblPr>
              <a:tblGrid>
                <a:gridCol w="2476982">
                  <a:extLst>
                    <a:ext uri="{9D8B030D-6E8A-4147-A177-3AD203B41FA5}">
                      <a16:colId xmlns:a16="http://schemas.microsoft.com/office/drawing/2014/main" val="2745929035"/>
                    </a:ext>
                  </a:extLst>
                </a:gridCol>
                <a:gridCol w="2164240">
                  <a:extLst>
                    <a:ext uri="{9D8B030D-6E8A-4147-A177-3AD203B41FA5}">
                      <a16:colId xmlns:a16="http://schemas.microsoft.com/office/drawing/2014/main" val="2119908670"/>
                    </a:ext>
                  </a:extLst>
                </a:gridCol>
                <a:gridCol w="2164240">
                  <a:extLst>
                    <a:ext uri="{9D8B030D-6E8A-4147-A177-3AD203B41FA5}">
                      <a16:colId xmlns:a16="http://schemas.microsoft.com/office/drawing/2014/main" val="2736309725"/>
                    </a:ext>
                  </a:extLst>
                </a:gridCol>
              </a:tblGrid>
              <a:tr h="367200">
                <a:tc>
                  <a:txBody>
                    <a:bodyPr/>
                    <a:lstStyle/>
                    <a:p>
                      <a:pPr marL="0" marR="0" lvl="0" indent="0" algn="l" defTabSz="228594" rtl="0" eaLnBrk="1" fontAlgn="auto" latinLnBrk="0" hangingPunct="1">
                        <a:lnSpc>
                          <a:spcPct val="100000"/>
                        </a:lnSpc>
                        <a:spcBef>
                          <a:spcPts val="0"/>
                        </a:spcBef>
                        <a:spcAft>
                          <a:spcPts val="1200"/>
                        </a:spcAft>
                        <a:buClrTx/>
                        <a:buSzTx/>
                        <a:buFontTx/>
                        <a:buNone/>
                        <a:tabLst/>
                        <a:defRPr/>
                      </a:pPr>
                      <a:r>
                        <a:rPr kumimoji="0" lang="pt-BR" sz="1400" b="0" i="0" u="none" strike="noStrike" kern="1200" cap="none" spc="0" normalizeH="0" baseline="0" noProof="1">
                          <a:ln>
                            <a:noFill/>
                          </a:ln>
                          <a:solidFill>
                            <a:srgbClr val="000000"/>
                          </a:solidFill>
                          <a:effectLst/>
                          <a:uLnTx/>
                          <a:uFillTx/>
                          <a:latin typeface="Graphik" panose="020B0503030202060203" pitchFamily="34" charset="77"/>
                          <a:ea typeface="+mn-ea"/>
                          <a:cs typeface="+mn-cs"/>
                        </a:rPr>
                        <a:t>Primary typeface</a:t>
                      </a:r>
                    </a:p>
                  </a:txBody>
                  <a:tcP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pt-BR" sz="1333" b="0" i="0" u="none" strike="noStrike" kern="1200" cap="none" spc="0" normalizeH="0" baseline="0" noProof="1">
                          <a:ln>
                            <a:noFill/>
                          </a:ln>
                          <a:solidFill>
                            <a:srgbClr val="000000"/>
                          </a:solidFill>
                          <a:effectLst/>
                          <a:uLnTx/>
                          <a:uFillTx/>
                          <a:latin typeface="+mn-lt"/>
                          <a:ea typeface="+mn-ea"/>
                          <a:cs typeface="+mn-cs"/>
                        </a:rPr>
                        <a:t>Weigh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kumimoji="0" lang="pt-BR" sz="1400" b="0" i="0" u="none" strike="noStrike" kern="1200" cap="none" spc="0" normalizeH="0" baseline="0" noProof="1">
                          <a:ln>
                            <a:noFill/>
                          </a:ln>
                          <a:solidFill>
                            <a:srgbClr val="000000"/>
                          </a:solidFill>
                          <a:effectLst/>
                          <a:uLnTx/>
                          <a:uFillTx/>
                          <a:latin typeface="Graphik" panose="020B0503030202060203" pitchFamily="34" charset="77"/>
                          <a:ea typeface="+mn-ea"/>
                          <a:cs typeface="+mn-cs"/>
                        </a:rPr>
                        <a:t>Use it for</a:t>
                      </a:r>
                    </a:p>
                  </a:txBody>
                  <a:tcPr>
                    <a:lnL w="12700" cap="flat" cmpd="sng" algn="ctr">
                      <a:noFill/>
                      <a:prstDash val="solid"/>
                      <a:round/>
                      <a:headEnd type="none" w="med" len="med"/>
                      <a:tailEnd type="none" w="med" len="med"/>
                    </a:lnL>
                    <a:lnR w="12700" cmpd="sng">
                      <a:noFill/>
                    </a:lnR>
                    <a:lnT w="127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2511277"/>
                  </a:ext>
                </a:extLst>
              </a:tr>
              <a:tr h="1506220">
                <a:tc>
                  <a:txBody>
                    <a:bodyPr/>
                    <a:lstStyle/>
                    <a:p>
                      <a:pPr marL="0" marR="0" lvl="0" indent="0" algn="l" defTabSz="228594" rtl="0" eaLnBrk="1" fontAlgn="auto" latinLnBrk="0" hangingPunct="1">
                        <a:lnSpc>
                          <a:spcPct val="100000"/>
                        </a:lnSpc>
                        <a:spcBef>
                          <a:spcPts val="0"/>
                        </a:spcBef>
                        <a:spcAft>
                          <a:spcPts val="1200"/>
                        </a:spcAft>
                        <a:buClrTx/>
                        <a:buSzTx/>
                        <a:buFontTx/>
                        <a:buNone/>
                        <a:tabLst/>
                        <a:defRPr/>
                      </a:pPr>
                      <a:r>
                        <a:rPr kumimoji="0" lang="pt-BR" sz="4267" b="1" i="0" u="none" strike="noStrike" kern="1200" cap="none" spc="0" normalizeH="0" baseline="0" noProof="1">
                          <a:ln>
                            <a:noFill/>
                          </a:ln>
                          <a:solidFill>
                            <a:srgbClr val="000000"/>
                          </a:solidFill>
                          <a:effectLst/>
                          <a:uLnTx/>
                          <a:uFillTx/>
                          <a:latin typeface="Graphik Semibold" panose="020B0503030202060203" pitchFamily="34" charset="77"/>
                          <a:ea typeface="+mn-ea"/>
                          <a:cs typeface="+mn-cs"/>
                        </a:rPr>
                        <a:t>Graphik</a:t>
                      </a:r>
                    </a:p>
                  </a:txBody>
                  <a:tcP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pt-BR" sz="1800" b="1" noProof="1">
                          <a:latin typeface="Graphik Semibold" panose="020B0503030202060203" pitchFamily="34" charset="77"/>
                        </a:rPr>
                        <a:t>Semibold</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defTabSz="228594" rtl="0">
                        <a:spcAft>
                          <a:spcPts val="533"/>
                        </a:spcAft>
                      </a:pPr>
                      <a:r>
                        <a:rPr lang="pt-BR" sz="1200" b="1" noProof="1">
                          <a:latin typeface="Graphik Semibold" panose="020B0503030202060203" pitchFamily="34" charset="77"/>
                        </a:rPr>
                        <a:t>Headlines Sub-heading</a:t>
                      </a:r>
                    </a:p>
                    <a:p>
                      <a:pPr defTabSz="228594" rtl="0">
                        <a:spcAft>
                          <a:spcPts val="533"/>
                        </a:spcAft>
                      </a:pPr>
                      <a:r>
                        <a:rPr lang="pt-BR" sz="1200" b="1" noProof="1">
                          <a:latin typeface="Graphik Semibold" panose="020B0503030202060203" pitchFamily="34" charset="77"/>
                        </a:rPr>
                        <a:t>Section headings</a:t>
                      </a:r>
                    </a:p>
                    <a:p>
                      <a:pPr defTabSz="228594" rtl="0">
                        <a:spcAft>
                          <a:spcPts val="533"/>
                        </a:spcAft>
                      </a:pPr>
                      <a:r>
                        <a:rPr lang="pt-BR" sz="1200" b="1" noProof="1">
                          <a:latin typeface="Graphik Semibold" panose="020B0503030202060203" pitchFamily="34" charset="77"/>
                        </a:rPr>
                        <a:t>Paragraph headings</a:t>
                      </a:r>
                    </a:p>
                    <a:p>
                      <a:pPr defTabSz="228594" rtl="0">
                        <a:spcAft>
                          <a:spcPts val="533"/>
                        </a:spcAft>
                      </a:pPr>
                      <a:r>
                        <a:rPr lang="pt-BR" sz="1200" b="1" noProof="1">
                          <a:latin typeface="Graphik Semibold" panose="020B0503030202060203" pitchFamily="34" charset="77"/>
                        </a:rPr>
                        <a:t>Highlighted text</a:t>
                      </a:r>
                    </a:p>
                  </a:txBody>
                  <a:tcPr>
                    <a:lnL w="12700" cap="flat" cmpd="sng" algn="ctr">
                      <a:no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7088367"/>
                  </a:ext>
                </a:extLst>
              </a:tr>
              <a:tr h="1506220">
                <a:tc>
                  <a:txBody>
                    <a:bodyPr/>
                    <a:lstStyle/>
                    <a:p>
                      <a:pPr rtl="0"/>
                      <a:endParaRPr lang="pt-BR" noProof="1"/>
                    </a:p>
                  </a:txBody>
                  <a:tcP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pt-BR" sz="1800" noProof="1">
                          <a:latin typeface="Graphik" panose="020B0503030202060203" pitchFamily="34" charset="77"/>
                        </a:rPr>
                        <a:t>Regular</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defTabSz="228594" rtl="0">
                        <a:spcAft>
                          <a:spcPts val="533"/>
                        </a:spcAft>
                      </a:pPr>
                      <a:r>
                        <a:rPr lang="pt-BR" sz="1200" noProof="1">
                          <a:latin typeface="Graphik" panose="020B0503030202060203" pitchFamily="34" charset="77"/>
                        </a:rPr>
                        <a:t>Sub-heading</a:t>
                      </a:r>
                    </a:p>
                    <a:p>
                      <a:pPr defTabSz="228594" rtl="0">
                        <a:spcAft>
                          <a:spcPts val="533"/>
                        </a:spcAft>
                      </a:pPr>
                      <a:r>
                        <a:rPr lang="pt-BR" sz="1200" noProof="1">
                          <a:latin typeface="Graphik" panose="020B0503030202060203" pitchFamily="34" charset="77"/>
                        </a:rPr>
                        <a:t>Section headings</a:t>
                      </a:r>
                    </a:p>
                    <a:p>
                      <a:pPr defTabSz="228594" rtl="0">
                        <a:spcAft>
                          <a:spcPts val="533"/>
                        </a:spcAft>
                      </a:pPr>
                      <a:r>
                        <a:rPr lang="pt-BR" sz="1200" noProof="1">
                          <a:latin typeface="Graphik" panose="020B0503030202060203" pitchFamily="34" charset="77"/>
                        </a:rPr>
                        <a:t>Paragraph headings </a:t>
                      </a:r>
                    </a:p>
                    <a:p>
                      <a:pPr defTabSz="228594" rtl="0">
                        <a:spcAft>
                          <a:spcPts val="533"/>
                        </a:spcAft>
                      </a:pPr>
                      <a:r>
                        <a:rPr lang="pt-BR" sz="1200" noProof="1">
                          <a:latin typeface="Graphik" panose="020B0503030202060203" pitchFamily="34" charset="77"/>
                        </a:rPr>
                        <a:t>Body copy</a:t>
                      </a:r>
                    </a:p>
                    <a:p>
                      <a:pPr defTabSz="228594" rtl="0">
                        <a:spcAft>
                          <a:spcPts val="533"/>
                        </a:spcAft>
                      </a:pPr>
                      <a:r>
                        <a:rPr lang="pt-BR" sz="1200" noProof="1">
                          <a:latin typeface="Graphik" panose="020B0503030202060203" pitchFamily="34" charset="77"/>
                        </a:rPr>
                        <a:t>Captions</a:t>
                      </a:r>
                    </a:p>
                    <a:p>
                      <a:pPr defTabSz="228594" rtl="0">
                        <a:spcAft>
                          <a:spcPts val="533"/>
                        </a:spcAft>
                      </a:pPr>
                      <a:r>
                        <a:rPr lang="pt-BR" sz="1200" noProof="1">
                          <a:latin typeface="Graphik" panose="020B0503030202060203" pitchFamily="34" charset="77"/>
                        </a:rPr>
                        <a:t>Footnotes and small print</a:t>
                      </a:r>
                    </a:p>
                  </a:txBody>
                  <a:tcPr>
                    <a:lnL w="12700" cap="flat" cmpd="sng" algn="ctr">
                      <a:no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10096791"/>
                  </a:ext>
                </a:extLst>
              </a:tr>
              <a:tr h="367200">
                <a:tc>
                  <a:txBody>
                    <a:bodyPr/>
                    <a:lstStyle/>
                    <a:p>
                      <a:pPr rtl="0"/>
                      <a:r>
                        <a:rPr kumimoji="0" lang="pt-BR" sz="1400" b="0" i="0" u="none" strike="noStrike" kern="1200" cap="none" spc="0" normalizeH="0" baseline="0" noProof="1">
                          <a:ln>
                            <a:noFill/>
                          </a:ln>
                          <a:solidFill>
                            <a:srgbClr val="000000"/>
                          </a:solidFill>
                          <a:effectLst/>
                          <a:uLnTx/>
                          <a:uFillTx/>
                          <a:latin typeface="Graphik" panose="020B0503030202060203" pitchFamily="34" charset="77"/>
                          <a:ea typeface="+mn-ea"/>
                          <a:cs typeface="+mn-cs"/>
                        </a:rPr>
                        <a:t>Call-outs and quotes</a:t>
                      </a:r>
                    </a:p>
                  </a:txBody>
                  <a:tcP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kumimoji="0" lang="pt-BR" sz="1400" b="0" i="0" u="none" strike="noStrike" kern="1200" cap="none" spc="0" normalizeH="0" baseline="0" noProof="1">
                        <a:ln>
                          <a:noFill/>
                        </a:ln>
                        <a:solidFill>
                          <a:srgbClr val="000000"/>
                        </a:solidFill>
                        <a:effectLst/>
                        <a:uLnTx/>
                        <a:uFillTx/>
                        <a:latin typeface="Graphik" panose="020B0503030202060203" pitchFamily="34" charset="77"/>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kumimoji="0" lang="pt-BR" sz="1200" b="0" i="0" u="none" strike="noStrike" kern="1200" cap="none" spc="0" normalizeH="0" baseline="0" noProof="1">
                        <a:ln>
                          <a:noFill/>
                        </a:ln>
                        <a:solidFill>
                          <a:srgbClr val="000000"/>
                        </a:solidFill>
                        <a:effectLst/>
                        <a:uLnTx/>
                        <a:uFillTx/>
                        <a:latin typeface="Graphik" panose="020B0503030202060203" pitchFamily="34" charset="77"/>
                        <a:ea typeface="+mn-ea"/>
                        <a:cs typeface="+mn-cs"/>
                      </a:endParaRPr>
                    </a:p>
                  </a:txBody>
                  <a:tcPr>
                    <a:lnL w="12700" cap="flat" cmpd="sng" algn="ctr">
                      <a:noFill/>
                      <a:prstDash val="solid"/>
                      <a:round/>
                      <a:headEnd type="none" w="med" len="med"/>
                      <a:tailEnd type="none" w="med" len="med"/>
                    </a:lnL>
                    <a:lnR w="12700" cmpd="sng">
                      <a:noFill/>
                    </a:lnR>
                    <a:lnT w="3175"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9064419"/>
                  </a:ext>
                </a:extLst>
              </a:tr>
              <a:tr h="1115441">
                <a:tc>
                  <a:txBody>
                    <a:bodyPr/>
                    <a:lstStyle/>
                    <a:p>
                      <a:pPr marL="0" marR="0" lvl="0" indent="0" algn="l" defTabSz="228594" rtl="0" eaLnBrk="1" fontAlgn="auto" latinLnBrk="0" hangingPunct="1">
                        <a:lnSpc>
                          <a:spcPct val="90000"/>
                        </a:lnSpc>
                        <a:spcBef>
                          <a:spcPts val="0"/>
                        </a:spcBef>
                        <a:spcAft>
                          <a:spcPts val="1200"/>
                        </a:spcAft>
                        <a:buClrTx/>
                        <a:buSzTx/>
                        <a:buFontTx/>
                        <a:buNone/>
                        <a:tabLst/>
                        <a:defRPr/>
                      </a:pPr>
                      <a:r>
                        <a:rPr kumimoji="0" lang="pt-BR" sz="3733" b="0" i="0" u="none" strike="noStrike" kern="1200" cap="none" spc="0" normalizeH="0" baseline="0" noProof="1">
                          <a:ln>
                            <a:noFill/>
                          </a:ln>
                          <a:solidFill>
                            <a:srgbClr val="000000"/>
                          </a:solidFill>
                          <a:effectLst/>
                          <a:uLnTx/>
                          <a:uFillTx/>
                          <a:latin typeface="GT Sectra Fine Rg" pitchFamily="2" charset="77"/>
                          <a:ea typeface="+mn-ea"/>
                          <a:cs typeface="+mn-cs"/>
                        </a:rPr>
                        <a:t>GT Sectra</a:t>
                      </a:r>
                      <a:br>
                        <a:rPr kumimoji="0" lang="pt-BR" sz="3733" b="0" i="0" u="none" strike="noStrike" kern="1200" cap="none" spc="0" normalizeH="0" baseline="0" noProof="1">
                          <a:ln>
                            <a:noFill/>
                          </a:ln>
                          <a:solidFill>
                            <a:srgbClr val="000000"/>
                          </a:solidFill>
                          <a:effectLst/>
                          <a:uLnTx/>
                          <a:uFillTx/>
                          <a:latin typeface="GT Sectra Fine Rg" pitchFamily="2" charset="77"/>
                          <a:ea typeface="+mn-ea"/>
                          <a:cs typeface="+mn-cs"/>
                        </a:rPr>
                      </a:br>
                      <a:r>
                        <a:rPr kumimoji="0" lang="pt-BR" sz="3733" b="0" i="0" u="none" strike="noStrike" kern="1200" cap="none" spc="0" normalizeH="0" baseline="0" noProof="1">
                          <a:ln>
                            <a:noFill/>
                          </a:ln>
                          <a:solidFill>
                            <a:srgbClr val="000000"/>
                          </a:solidFill>
                          <a:effectLst/>
                          <a:uLnTx/>
                          <a:uFillTx/>
                          <a:latin typeface="GT Sectra Fine Rg" pitchFamily="2" charset="77"/>
                          <a:ea typeface="+mn-ea"/>
                          <a:cs typeface="+mn-cs"/>
                        </a:rPr>
                        <a:t>Fine</a:t>
                      </a:r>
                    </a:p>
                  </a:txBody>
                  <a:tcP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pt-BR" sz="1800" b="1" noProof="1">
                          <a:latin typeface="GT Sectra Fine Rg" pitchFamily="2" charset="77"/>
                        </a:rPr>
                        <a:t>Bold</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defTabSz="228594" rtl="0">
                        <a:spcAft>
                          <a:spcPts val="533"/>
                        </a:spcAft>
                      </a:pPr>
                      <a:r>
                        <a:rPr lang="pt-BR" sz="1200" b="1" noProof="1">
                          <a:latin typeface="Graphik Semibold" panose="020B0503030202060203" pitchFamily="34" charset="77"/>
                        </a:rPr>
                        <a:t>Call-out text</a:t>
                      </a:r>
                    </a:p>
                    <a:p>
                      <a:pPr defTabSz="228594" rtl="0">
                        <a:spcAft>
                          <a:spcPts val="533"/>
                        </a:spcAft>
                      </a:pPr>
                      <a:r>
                        <a:rPr lang="pt-BR" sz="1200" b="1" noProof="1">
                          <a:latin typeface="Graphik Semibold" panose="020B0503030202060203" pitchFamily="34" charset="77"/>
                        </a:rPr>
                        <a:t>Quotes</a:t>
                      </a:r>
                    </a:p>
                  </a:txBody>
                  <a:tcPr>
                    <a:lnL w="12700" cap="flat" cmpd="sng" algn="ctr">
                      <a:no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3816762"/>
                  </a:ext>
                </a:extLst>
              </a:tr>
              <a:tr h="648000">
                <a:tc>
                  <a:txBody>
                    <a:bodyPr/>
                    <a:lstStyle/>
                    <a:p>
                      <a:pPr rtl="0"/>
                      <a:endParaRPr lang="pt-BR" noProof="1"/>
                    </a:p>
                  </a:txBody>
                  <a:tcP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pt-BR" sz="1800" noProof="1">
                          <a:latin typeface="GT Sectra Fine Rg" pitchFamily="2" charset="77"/>
                        </a:rPr>
                        <a:t>Regular</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defTabSz="228594" rtl="0">
                        <a:spcAft>
                          <a:spcPts val="533"/>
                        </a:spcAft>
                      </a:pPr>
                      <a:r>
                        <a:rPr lang="pt-BR" sz="1200" noProof="1">
                          <a:latin typeface="Graphik" panose="020B0503030202060203" pitchFamily="34" charset="77"/>
                        </a:rPr>
                        <a:t>Call-out text</a:t>
                      </a:r>
                    </a:p>
                    <a:p>
                      <a:pPr defTabSz="228594" rtl="0">
                        <a:spcAft>
                          <a:spcPts val="533"/>
                        </a:spcAft>
                      </a:pPr>
                      <a:r>
                        <a:rPr lang="pt-BR" sz="1200" noProof="1">
                          <a:latin typeface="Graphik" panose="020B0503030202060203" pitchFamily="34" charset="77"/>
                        </a:rPr>
                        <a:t>Quotes</a:t>
                      </a:r>
                    </a:p>
                  </a:txBody>
                  <a:tcPr>
                    <a:lnL w="12700" cap="flat" cmpd="sng" algn="ctr">
                      <a:no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42996650"/>
                  </a:ext>
                </a:extLst>
              </a:tr>
            </a:tbl>
          </a:graphicData>
        </a:graphic>
      </p:graphicFrame>
    </p:spTree>
    <p:extLst>
      <p:ext uri="{BB962C8B-B14F-4D97-AF65-F5344CB8AC3E}">
        <p14:creationId xmlns:p14="http://schemas.microsoft.com/office/powerpoint/2010/main" val="423543655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D09AB59-3912-18B4-5F61-5ACE95309A7B}"/>
              </a:ext>
            </a:extLst>
          </p:cNvPr>
          <p:cNvGraphicFramePr>
            <a:graphicFrameLocks noChangeAspect="1"/>
          </p:cNvGraphicFramePr>
          <p:nvPr>
            <p:custDataLst>
              <p:tags r:id="rId1"/>
            </p:custDataLst>
            <p:extLst>
              <p:ext uri="{D42A27DB-BD31-4B8C-83A1-F6EECF244321}">
                <p14:modId xmlns:p14="http://schemas.microsoft.com/office/powerpoint/2010/main" val="1993174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6" name="think-cell data - do not delete" hidden="1">
                        <a:extLst>
                          <a:ext uri="{FF2B5EF4-FFF2-40B4-BE49-F238E27FC236}">
                            <a16:creationId xmlns:a16="http://schemas.microsoft.com/office/drawing/2014/main" id="{7D09AB59-3912-18B4-5F61-5ACE95309A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A99541E-6987-F18F-BBB2-A05F26200A51}"/>
              </a:ext>
            </a:extLst>
          </p:cNvPr>
          <p:cNvSpPr>
            <a:spLocks noGrp="1"/>
          </p:cNvSpPr>
          <p:nvPr>
            <p:ph type="ctrTitle"/>
          </p:nvPr>
        </p:nvSpPr>
        <p:spPr>
          <a:xfrm>
            <a:off x="1182796" y="3776810"/>
            <a:ext cx="5715000" cy="1329595"/>
          </a:xfrm>
        </p:spPr>
        <p:txBody>
          <a:bodyPr vert="horz"/>
          <a:lstStyle/>
          <a:p>
            <a:r>
              <a:rPr lang="pt-BR" noProof="1"/>
              <a:t>Place section title here #1</a:t>
            </a:r>
          </a:p>
        </p:txBody>
      </p:sp>
      <p:sp>
        <p:nvSpPr>
          <p:cNvPr id="3" name="Subtitle 2">
            <a:extLst>
              <a:ext uri="{FF2B5EF4-FFF2-40B4-BE49-F238E27FC236}">
                <a16:creationId xmlns:a16="http://schemas.microsoft.com/office/drawing/2014/main" id="{87D4B622-5694-1422-2455-2432CD4608FF}"/>
              </a:ext>
            </a:extLst>
          </p:cNvPr>
          <p:cNvSpPr>
            <a:spLocks noGrp="1"/>
          </p:cNvSpPr>
          <p:nvPr>
            <p:ph type="subTitle" idx="1"/>
          </p:nvPr>
        </p:nvSpPr>
        <p:spPr/>
        <p:txBody>
          <a:bodyPr/>
          <a:lstStyle/>
          <a:p>
            <a:r>
              <a:rPr lang="pt-BR" noProof="1"/>
              <a:t>Place subtitle here</a:t>
            </a:r>
          </a:p>
        </p:txBody>
      </p:sp>
      <p:sp>
        <p:nvSpPr>
          <p:cNvPr id="4" name="Text Placeholder 3">
            <a:extLst>
              <a:ext uri="{FF2B5EF4-FFF2-40B4-BE49-F238E27FC236}">
                <a16:creationId xmlns:a16="http://schemas.microsoft.com/office/drawing/2014/main" id="{37776235-5A23-49F6-061B-D275B6C1947D}"/>
              </a:ext>
            </a:extLst>
          </p:cNvPr>
          <p:cNvSpPr>
            <a:spLocks noGrp="1"/>
          </p:cNvSpPr>
          <p:nvPr>
            <p:ph type="body" sz="quarter" idx="11"/>
          </p:nvPr>
        </p:nvSpPr>
        <p:spPr>
          <a:xfrm>
            <a:off x="1189497" y="2433053"/>
            <a:ext cx="1150956" cy="1231106"/>
          </a:xfrm>
        </p:spPr>
        <p:txBody>
          <a:bodyPr/>
          <a:lstStyle/>
          <a:p>
            <a:r>
              <a:rPr lang="pt-BR" noProof="1"/>
              <a:t>##</a:t>
            </a:r>
          </a:p>
        </p:txBody>
      </p:sp>
    </p:spTree>
    <p:extLst>
      <p:ext uri="{BB962C8B-B14F-4D97-AF65-F5344CB8AC3E}">
        <p14:creationId xmlns:p14="http://schemas.microsoft.com/office/powerpoint/2010/main" val="26525585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B1FF588-9867-7BA4-F23B-3862DCB8042D}"/>
              </a:ext>
            </a:extLst>
          </p:cNvPr>
          <p:cNvGraphicFramePr>
            <a:graphicFrameLocks noChangeAspect="1"/>
          </p:cNvGraphicFramePr>
          <p:nvPr>
            <p:custDataLst>
              <p:tags r:id="rId1"/>
            </p:custDataLst>
            <p:extLst>
              <p:ext uri="{D42A27DB-BD31-4B8C-83A1-F6EECF244321}">
                <p14:modId xmlns:p14="http://schemas.microsoft.com/office/powerpoint/2010/main" val="3453641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6" name="think-cell data - do not delete" hidden="1">
                        <a:extLst>
                          <a:ext uri="{FF2B5EF4-FFF2-40B4-BE49-F238E27FC236}">
                            <a16:creationId xmlns:a16="http://schemas.microsoft.com/office/drawing/2014/main" id="{DB1FF588-9867-7BA4-F23B-3862DCB804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EA5FDC21-4039-E14B-94E7-EE782149CEEB}"/>
              </a:ext>
            </a:extLst>
          </p:cNvPr>
          <p:cNvSpPr>
            <a:spLocks noGrp="1"/>
          </p:cNvSpPr>
          <p:nvPr>
            <p:ph type="title"/>
          </p:nvPr>
        </p:nvSpPr>
        <p:spPr/>
        <p:txBody>
          <a:bodyPr vert="horz"/>
          <a:lstStyle/>
          <a:p>
            <a:r>
              <a:rPr lang="pt-BR" noProof="1"/>
              <a:t>Place section </a:t>
            </a:r>
            <a:br>
              <a:rPr lang="pt-BR" noProof="1"/>
            </a:br>
            <a:r>
              <a:rPr lang="pt-BR" noProof="1"/>
              <a:t>title here #2</a:t>
            </a:r>
          </a:p>
        </p:txBody>
      </p:sp>
      <p:pic>
        <p:nvPicPr>
          <p:cNvPr id="9" name="Picture Placeholder 8">
            <a:extLst>
              <a:ext uri="{FF2B5EF4-FFF2-40B4-BE49-F238E27FC236}">
                <a16:creationId xmlns:a16="http://schemas.microsoft.com/office/drawing/2014/main" id="{845DDC5A-05C0-BCB0-5508-D34CE43EF54B}"/>
              </a:ext>
              <a:ext uri="{C183D7F6-B498-43B3-948B-1728B52AA6E4}">
                <adec:decorative xmlns:adec="http://schemas.microsoft.com/office/drawing/2017/decorative" val="1"/>
              </a:ext>
            </a:extLst>
          </p:cNvPr>
          <p:cNvPicPr>
            <a:picLocks noGrp="1" noChangeAspect="1"/>
          </p:cNvPicPr>
          <p:nvPr>
            <p:ph type="pic" sz="quarter" idx="13"/>
          </p:nvPr>
        </p:nvPicPr>
        <p:blipFill>
          <a:blip r:embed="rId6" cstate="screen">
            <a:extLst>
              <a:ext uri="{28A0092B-C50C-407E-A947-70E740481C1C}">
                <a14:useLocalDpi xmlns:a14="http://schemas.microsoft.com/office/drawing/2010/main"/>
              </a:ext>
            </a:extLst>
          </a:blip>
          <a:srcRect/>
          <a:stretch/>
        </p:blipFill>
        <p:spPr/>
      </p:pic>
      <p:sp>
        <p:nvSpPr>
          <p:cNvPr id="4" name="Marcador de texto 3">
            <a:extLst>
              <a:ext uri="{FF2B5EF4-FFF2-40B4-BE49-F238E27FC236}">
                <a16:creationId xmlns:a16="http://schemas.microsoft.com/office/drawing/2014/main" id="{1C1C577A-10D4-2733-7468-58F2702B3893}"/>
              </a:ext>
            </a:extLst>
          </p:cNvPr>
          <p:cNvSpPr>
            <a:spLocks noGrp="1"/>
          </p:cNvSpPr>
          <p:nvPr>
            <p:ph type="body" sz="quarter" idx="19"/>
          </p:nvPr>
        </p:nvSpPr>
        <p:spPr/>
        <p:txBody>
          <a:bodyPr/>
          <a:lstStyle/>
          <a:p>
            <a:r>
              <a:rPr lang="pt-BR" noProof="1"/>
              <a:t>Place subtitle here</a:t>
            </a:r>
          </a:p>
          <a:p>
            <a:endParaRPr lang="pt-BR" noProof="1"/>
          </a:p>
        </p:txBody>
      </p:sp>
      <p:sp>
        <p:nvSpPr>
          <p:cNvPr id="3" name="Text Placeholder 2">
            <a:extLst>
              <a:ext uri="{FF2B5EF4-FFF2-40B4-BE49-F238E27FC236}">
                <a16:creationId xmlns:a16="http://schemas.microsoft.com/office/drawing/2014/main" id="{A9CE90DD-8B7E-13AF-6548-318D5C7190E1}"/>
              </a:ext>
            </a:extLst>
          </p:cNvPr>
          <p:cNvSpPr>
            <a:spLocks noGrp="1"/>
          </p:cNvSpPr>
          <p:nvPr>
            <p:ph type="body" sz="quarter" idx="11"/>
          </p:nvPr>
        </p:nvSpPr>
        <p:spPr>
          <a:xfrm>
            <a:off x="574352" y="2576447"/>
            <a:ext cx="1150956" cy="1231106"/>
          </a:xfrm>
        </p:spPr>
        <p:txBody>
          <a:bodyPr/>
          <a:lstStyle/>
          <a:p>
            <a:r>
              <a:rPr lang="pt-BR" noProof="1"/>
              <a:t>##</a:t>
            </a:r>
          </a:p>
        </p:txBody>
      </p:sp>
    </p:spTree>
    <p:extLst>
      <p:ext uri="{BB962C8B-B14F-4D97-AF65-F5344CB8AC3E}">
        <p14:creationId xmlns:p14="http://schemas.microsoft.com/office/powerpoint/2010/main" val="194928516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860D4CE8-BF97-07FF-B38E-1D44F709CA56}"/>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AA8963F-DE4F-D51D-48CC-257595D826E2}"/>
              </a:ext>
            </a:extLst>
          </p:cNvPr>
          <p:cNvGraphicFramePr>
            <a:graphicFrameLocks noChangeAspect="1"/>
          </p:cNvGraphicFramePr>
          <p:nvPr>
            <p:custDataLst>
              <p:tags r:id="rId1"/>
            </p:custDataLst>
            <p:extLst>
              <p:ext uri="{D42A27DB-BD31-4B8C-83A1-F6EECF244321}">
                <p14:modId xmlns:p14="http://schemas.microsoft.com/office/powerpoint/2010/main" val="504509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5" name="think-cell data - do not delete" hidden="1">
                        <a:extLst>
                          <a:ext uri="{FF2B5EF4-FFF2-40B4-BE49-F238E27FC236}">
                            <a16:creationId xmlns:a16="http://schemas.microsoft.com/office/drawing/2014/main" id="{3AA8963F-DE4F-D51D-48CC-257595D826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76668550-21E4-60C8-180E-8DB7B0505307}"/>
              </a:ext>
            </a:extLst>
          </p:cNvPr>
          <p:cNvSpPr>
            <a:spLocks noGrp="1"/>
          </p:cNvSpPr>
          <p:nvPr>
            <p:ph type="title"/>
          </p:nvPr>
        </p:nvSpPr>
        <p:spPr>
          <a:xfrm>
            <a:off x="574352" y="4020089"/>
            <a:ext cx="4205323" cy="787908"/>
          </a:xfrm>
        </p:spPr>
        <p:txBody>
          <a:bodyPr vert="horz"/>
          <a:lstStyle/>
          <a:p>
            <a:r>
              <a:rPr lang="pt-BR" noProof="1"/>
              <a:t>Place section </a:t>
            </a:r>
            <a:br>
              <a:rPr lang="pt-BR" noProof="1"/>
            </a:br>
            <a:r>
              <a:rPr lang="pt-BR" noProof="1"/>
              <a:t>title here #3</a:t>
            </a:r>
          </a:p>
        </p:txBody>
      </p:sp>
      <p:sp>
        <p:nvSpPr>
          <p:cNvPr id="3" name="Text Placeholder 2">
            <a:extLst>
              <a:ext uri="{FF2B5EF4-FFF2-40B4-BE49-F238E27FC236}">
                <a16:creationId xmlns:a16="http://schemas.microsoft.com/office/drawing/2014/main" id="{843414A3-A864-3792-99F0-813A86435E8E}"/>
              </a:ext>
            </a:extLst>
          </p:cNvPr>
          <p:cNvSpPr>
            <a:spLocks noGrp="1"/>
          </p:cNvSpPr>
          <p:nvPr>
            <p:ph type="body" sz="quarter" idx="11"/>
          </p:nvPr>
        </p:nvSpPr>
        <p:spPr>
          <a:xfrm>
            <a:off x="574352" y="2576447"/>
            <a:ext cx="1150956" cy="1231106"/>
          </a:xfrm>
        </p:spPr>
        <p:txBody>
          <a:bodyPr/>
          <a:lstStyle/>
          <a:p>
            <a:r>
              <a:rPr lang="pt-BR" noProof="1"/>
              <a:t>##</a:t>
            </a:r>
          </a:p>
        </p:txBody>
      </p:sp>
      <p:sp>
        <p:nvSpPr>
          <p:cNvPr id="4" name="Marcador de texto 3">
            <a:extLst>
              <a:ext uri="{FF2B5EF4-FFF2-40B4-BE49-F238E27FC236}">
                <a16:creationId xmlns:a16="http://schemas.microsoft.com/office/drawing/2014/main" id="{74A78484-416F-7C6B-6A06-7F33030ED782}"/>
              </a:ext>
            </a:extLst>
          </p:cNvPr>
          <p:cNvSpPr>
            <a:spLocks noGrp="1"/>
          </p:cNvSpPr>
          <p:nvPr>
            <p:ph type="body" sz="quarter" idx="19"/>
          </p:nvPr>
        </p:nvSpPr>
        <p:spPr>
          <a:xfrm>
            <a:off x="574352" y="5080829"/>
            <a:ext cx="4205324" cy="787909"/>
          </a:xfrm>
        </p:spPr>
        <p:txBody>
          <a:bodyPr/>
          <a:lstStyle/>
          <a:p>
            <a:r>
              <a:rPr lang="pt-BR" noProof="1"/>
              <a:t>Place subtitle here</a:t>
            </a:r>
          </a:p>
          <a:p>
            <a:endParaRPr lang="pt-BR" noProof="1"/>
          </a:p>
        </p:txBody>
      </p:sp>
      <p:pic>
        <p:nvPicPr>
          <p:cNvPr id="13" name="Picture Placeholder 12">
            <a:extLst>
              <a:ext uri="{FF2B5EF4-FFF2-40B4-BE49-F238E27FC236}">
                <a16:creationId xmlns:a16="http://schemas.microsoft.com/office/drawing/2014/main" id="{93F16E05-6383-9B38-4EF6-63A313D516B9}"/>
              </a:ext>
              <a:ext uri="{C183D7F6-B498-43B3-948B-1728B52AA6E4}">
                <adec:decorative xmlns:adec="http://schemas.microsoft.com/office/drawing/2017/decorative" val="1"/>
              </a:ext>
            </a:extLst>
          </p:cNvPr>
          <p:cNvPicPr>
            <a:picLocks noGrp="1" noChangeAspect="1"/>
          </p:cNvPicPr>
          <p:nvPr>
            <p:ph type="pic" sz="quarter" idx="13"/>
          </p:nvPr>
        </p:nvPicPr>
        <p:blipFill>
          <a:blip r:embed="rId6" cstate="screen">
            <a:extLst>
              <a:ext uri="{28A0092B-C50C-407E-A947-70E740481C1C}">
                <a14:useLocalDpi xmlns:a14="http://schemas.microsoft.com/office/drawing/2010/main"/>
              </a:ext>
            </a:extLst>
          </a:blip>
          <a:srcRect l="40" r="40"/>
          <a:stretch/>
        </p:blipFill>
        <p:spPr>
          <a:xfrm>
            <a:off x="5362807" y="549275"/>
            <a:ext cx="6278331" cy="5759449"/>
          </a:xfrm>
        </p:spPr>
      </p:pic>
    </p:spTree>
    <p:extLst>
      <p:ext uri="{BB962C8B-B14F-4D97-AF65-F5344CB8AC3E}">
        <p14:creationId xmlns:p14="http://schemas.microsoft.com/office/powerpoint/2010/main" val="54842877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DA13F18-6294-5D27-C5D8-5A2B2E191869}"/>
              </a:ext>
            </a:extLst>
          </p:cNvPr>
          <p:cNvGraphicFramePr>
            <a:graphicFrameLocks noChangeAspect="1"/>
          </p:cNvGraphicFramePr>
          <p:nvPr>
            <p:custDataLst>
              <p:tags r:id="rId1"/>
            </p:custDataLst>
            <p:extLst>
              <p:ext uri="{D42A27DB-BD31-4B8C-83A1-F6EECF244321}">
                <p14:modId xmlns:p14="http://schemas.microsoft.com/office/powerpoint/2010/main" val="3259815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3" name="think-cell data - do not delete" hidden="1">
                        <a:extLst>
                          <a:ext uri="{FF2B5EF4-FFF2-40B4-BE49-F238E27FC236}">
                            <a16:creationId xmlns:a16="http://schemas.microsoft.com/office/drawing/2014/main" id="{9DA13F18-6294-5D27-C5D8-5A2B2E1918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14">
            <a:extLst>
              <a:ext uri="{FF2B5EF4-FFF2-40B4-BE49-F238E27FC236}">
                <a16:creationId xmlns:a16="http://schemas.microsoft.com/office/drawing/2014/main" id="{ACB760FA-1F83-ECF8-3399-296536C15596}"/>
              </a:ext>
            </a:extLst>
          </p:cNvPr>
          <p:cNvSpPr>
            <a:spLocks noGrp="1"/>
          </p:cNvSpPr>
          <p:nvPr>
            <p:ph type="title"/>
          </p:nvPr>
        </p:nvSpPr>
        <p:spPr>
          <a:xfrm>
            <a:off x="565460" y="558086"/>
            <a:ext cx="11357865" cy="393954"/>
          </a:xfrm>
        </p:spPr>
        <p:txBody>
          <a:bodyPr vert="horz"/>
          <a:lstStyle/>
          <a:p>
            <a:r>
              <a:rPr kumimoji="0" lang="pt-BR" sz="3200" b="1" i="0" u="none" strike="noStrike" kern="1200" cap="none" spc="0" normalizeH="0" baseline="0" noProof="1">
                <a:ln>
                  <a:noFill/>
                </a:ln>
                <a:solidFill>
                  <a:schemeClr val="tx1"/>
                </a:solidFill>
                <a:effectLst/>
                <a:uLnTx/>
                <a:uFillTx/>
                <a:latin typeface="Graphik Semibold" panose="020B0503030202060203" pitchFamily="34" charset="77"/>
                <a:ea typeface="+mj-ea"/>
                <a:cs typeface="+mj-cs"/>
              </a:rPr>
              <a:t>Place headline in Graphik semibold #3</a:t>
            </a:r>
            <a:endParaRPr lang="pt-BR" noProof="1"/>
          </a:p>
        </p:txBody>
      </p:sp>
      <p:sp>
        <p:nvSpPr>
          <p:cNvPr id="22" name="Text Placeholder 21">
            <a:extLst>
              <a:ext uri="{FF2B5EF4-FFF2-40B4-BE49-F238E27FC236}">
                <a16:creationId xmlns:a16="http://schemas.microsoft.com/office/drawing/2014/main" id="{E976FD87-43C9-6DAD-BE46-0010614A722F}"/>
              </a:ext>
            </a:extLst>
          </p:cNvPr>
          <p:cNvSpPr>
            <a:spLocks noGrp="1"/>
          </p:cNvSpPr>
          <p:nvPr>
            <p:ph type="body" sz="quarter" idx="26"/>
          </p:nvPr>
        </p:nvSpPr>
        <p:spPr>
          <a:xfrm>
            <a:off x="563411" y="1609787"/>
            <a:ext cx="4958430" cy="384048"/>
          </a:xfrm>
        </p:spPr>
        <p:txBody>
          <a:bodyPr/>
          <a:lstStyle/>
          <a:p>
            <a:r>
              <a:rPr lang="pt-BR" noProof="1"/>
              <a:t>Place subtitle here in Graphik regular</a:t>
            </a:r>
          </a:p>
        </p:txBody>
      </p:sp>
      <p:sp>
        <p:nvSpPr>
          <p:cNvPr id="21" name="Text Placeholder 20">
            <a:extLst>
              <a:ext uri="{FF2B5EF4-FFF2-40B4-BE49-F238E27FC236}">
                <a16:creationId xmlns:a16="http://schemas.microsoft.com/office/drawing/2014/main" id="{88DB19BE-0707-388E-1BD9-8493DA0D3114}"/>
              </a:ext>
            </a:extLst>
          </p:cNvPr>
          <p:cNvSpPr>
            <a:spLocks noGrp="1"/>
          </p:cNvSpPr>
          <p:nvPr>
            <p:ph type="body" idx="22"/>
          </p:nvPr>
        </p:nvSpPr>
        <p:spPr>
          <a:xfrm>
            <a:off x="563411" y="2527859"/>
            <a:ext cx="2510646" cy="732360"/>
          </a:xfrm>
        </p:spPr>
        <p:txBody>
          <a:bodyPr/>
          <a:lstStyle/>
          <a:p>
            <a:r>
              <a:rPr lang="pt-BR" noProof="1"/>
              <a:t>Title here</a:t>
            </a:r>
          </a:p>
        </p:txBody>
      </p:sp>
      <p:sp>
        <p:nvSpPr>
          <p:cNvPr id="23" name="Text Placeholder 22">
            <a:extLst>
              <a:ext uri="{FF2B5EF4-FFF2-40B4-BE49-F238E27FC236}">
                <a16:creationId xmlns:a16="http://schemas.microsoft.com/office/drawing/2014/main" id="{548C5BAC-CDC7-20CC-D7FD-F976B8C0CC5C}"/>
              </a:ext>
            </a:extLst>
          </p:cNvPr>
          <p:cNvSpPr>
            <a:spLocks noGrp="1"/>
          </p:cNvSpPr>
          <p:nvPr>
            <p:ph type="body" sz="quarter" idx="28"/>
          </p:nvPr>
        </p:nvSpPr>
        <p:spPr>
          <a:xfrm>
            <a:off x="4743153" y="2525284"/>
            <a:ext cx="3535873" cy="734935"/>
          </a:xfrm>
        </p:spPr>
        <p:txBody>
          <a:bodyPr/>
          <a:lstStyle/>
          <a:p>
            <a:r>
              <a:rPr lang="pt-BR" noProof="1"/>
              <a:t>Click to edit Master text styles. Lorem ipsum dolor sit amet, consectetur adipiscing elit.</a:t>
            </a:r>
          </a:p>
        </p:txBody>
      </p:sp>
      <p:sp>
        <p:nvSpPr>
          <p:cNvPr id="24" name="Text Placeholder 23">
            <a:extLst>
              <a:ext uri="{FF2B5EF4-FFF2-40B4-BE49-F238E27FC236}">
                <a16:creationId xmlns:a16="http://schemas.microsoft.com/office/drawing/2014/main" id="{1ACA093B-69B9-89F5-0834-2780FB614164}"/>
              </a:ext>
            </a:extLst>
          </p:cNvPr>
          <p:cNvSpPr>
            <a:spLocks noGrp="1"/>
          </p:cNvSpPr>
          <p:nvPr>
            <p:ph type="body" idx="29"/>
          </p:nvPr>
        </p:nvSpPr>
        <p:spPr>
          <a:xfrm>
            <a:off x="9948122" y="2527859"/>
            <a:ext cx="1680467" cy="732360"/>
          </a:xfrm>
        </p:spPr>
        <p:txBody>
          <a:bodyPr/>
          <a:lstStyle/>
          <a:p>
            <a:r>
              <a:rPr lang="pt-BR" noProof="1"/>
              <a:t>Highlight here</a:t>
            </a:r>
          </a:p>
        </p:txBody>
      </p:sp>
      <p:sp>
        <p:nvSpPr>
          <p:cNvPr id="25" name="Text Placeholder 24">
            <a:extLst>
              <a:ext uri="{FF2B5EF4-FFF2-40B4-BE49-F238E27FC236}">
                <a16:creationId xmlns:a16="http://schemas.microsoft.com/office/drawing/2014/main" id="{E519703D-28A6-0E79-FCB9-947FAD4EB1B8}"/>
              </a:ext>
            </a:extLst>
          </p:cNvPr>
          <p:cNvSpPr>
            <a:spLocks noGrp="1"/>
          </p:cNvSpPr>
          <p:nvPr>
            <p:ph type="body" idx="30"/>
          </p:nvPr>
        </p:nvSpPr>
        <p:spPr>
          <a:xfrm>
            <a:off x="575960" y="3541109"/>
            <a:ext cx="2510646" cy="732360"/>
          </a:xfrm>
        </p:spPr>
        <p:txBody>
          <a:bodyPr/>
          <a:lstStyle/>
          <a:p>
            <a:r>
              <a:rPr lang="pt-BR" noProof="1"/>
              <a:t>Title here</a:t>
            </a:r>
          </a:p>
        </p:txBody>
      </p:sp>
      <p:sp>
        <p:nvSpPr>
          <p:cNvPr id="26" name="Text Placeholder 25">
            <a:extLst>
              <a:ext uri="{FF2B5EF4-FFF2-40B4-BE49-F238E27FC236}">
                <a16:creationId xmlns:a16="http://schemas.microsoft.com/office/drawing/2014/main" id="{DE8CD2FF-B907-5D01-63FA-4D87F7F25FD5}"/>
              </a:ext>
            </a:extLst>
          </p:cNvPr>
          <p:cNvSpPr>
            <a:spLocks noGrp="1"/>
          </p:cNvSpPr>
          <p:nvPr>
            <p:ph type="body" sz="quarter" idx="31"/>
          </p:nvPr>
        </p:nvSpPr>
        <p:spPr>
          <a:xfrm>
            <a:off x="4755702" y="3538534"/>
            <a:ext cx="3535873" cy="734935"/>
          </a:xfrm>
        </p:spPr>
        <p:txBody>
          <a:bodyPr/>
          <a:lstStyle/>
          <a:p>
            <a:r>
              <a:rPr lang="pt-BR" noProof="1"/>
              <a:t>Click to edit Master text styles. Lorem ipsum dolor sit amet, consectetur adipiscing elit.</a:t>
            </a:r>
          </a:p>
        </p:txBody>
      </p:sp>
      <p:sp>
        <p:nvSpPr>
          <p:cNvPr id="27" name="Text Placeholder 26">
            <a:extLst>
              <a:ext uri="{FF2B5EF4-FFF2-40B4-BE49-F238E27FC236}">
                <a16:creationId xmlns:a16="http://schemas.microsoft.com/office/drawing/2014/main" id="{B93119AE-66DB-787F-C171-5BD32F0D5AF8}"/>
              </a:ext>
            </a:extLst>
          </p:cNvPr>
          <p:cNvSpPr>
            <a:spLocks noGrp="1"/>
          </p:cNvSpPr>
          <p:nvPr>
            <p:ph type="body" idx="32"/>
          </p:nvPr>
        </p:nvSpPr>
        <p:spPr>
          <a:xfrm>
            <a:off x="9960671" y="3541109"/>
            <a:ext cx="1680467" cy="732360"/>
          </a:xfrm>
        </p:spPr>
        <p:txBody>
          <a:bodyPr/>
          <a:lstStyle/>
          <a:p>
            <a:r>
              <a:rPr lang="pt-BR" noProof="1"/>
              <a:t>Highlight here</a:t>
            </a:r>
          </a:p>
        </p:txBody>
      </p:sp>
      <p:sp>
        <p:nvSpPr>
          <p:cNvPr id="28" name="Text Placeholder 27">
            <a:extLst>
              <a:ext uri="{FF2B5EF4-FFF2-40B4-BE49-F238E27FC236}">
                <a16:creationId xmlns:a16="http://schemas.microsoft.com/office/drawing/2014/main" id="{F535CA94-BE4F-E31E-5B44-BEE2E3C8518A}"/>
              </a:ext>
            </a:extLst>
          </p:cNvPr>
          <p:cNvSpPr>
            <a:spLocks noGrp="1"/>
          </p:cNvSpPr>
          <p:nvPr>
            <p:ph type="body" idx="33"/>
          </p:nvPr>
        </p:nvSpPr>
        <p:spPr>
          <a:xfrm>
            <a:off x="575959" y="4543321"/>
            <a:ext cx="2510646" cy="732360"/>
          </a:xfrm>
        </p:spPr>
        <p:txBody>
          <a:bodyPr/>
          <a:lstStyle/>
          <a:p>
            <a:r>
              <a:rPr lang="pt-BR" noProof="1"/>
              <a:t>Title here</a:t>
            </a:r>
          </a:p>
        </p:txBody>
      </p:sp>
      <p:sp>
        <p:nvSpPr>
          <p:cNvPr id="29" name="Text Placeholder 28">
            <a:extLst>
              <a:ext uri="{FF2B5EF4-FFF2-40B4-BE49-F238E27FC236}">
                <a16:creationId xmlns:a16="http://schemas.microsoft.com/office/drawing/2014/main" id="{20E6A1B7-A3C8-26D6-B28E-390C7527BCF7}"/>
              </a:ext>
            </a:extLst>
          </p:cNvPr>
          <p:cNvSpPr>
            <a:spLocks noGrp="1"/>
          </p:cNvSpPr>
          <p:nvPr>
            <p:ph type="body" sz="quarter" idx="34"/>
          </p:nvPr>
        </p:nvSpPr>
        <p:spPr>
          <a:xfrm>
            <a:off x="4755701" y="4540746"/>
            <a:ext cx="3535873" cy="734935"/>
          </a:xfrm>
        </p:spPr>
        <p:txBody>
          <a:bodyPr/>
          <a:lstStyle/>
          <a:p>
            <a:r>
              <a:rPr lang="pt-BR" noProof="1"/>
              <a:t>Click to edit Master text styles. Lorem ipsum dolor sit amet, consectetur adipiscing elit.</a:t>
            </a:r>
          </a:p>
        </p:txBody>
      </p:sp>
      <p:sp>
        <p:nvSpPr>
          <p:cNvPr id="30" name="Text Placeholder 29">
            <a:extLst>
              <a:ext uri="{FF2B5EF4-FFF2-40B4-BE49-F238E27FC236}">
                <a16:creationId xmlns:a16="http://schemas.microsoft.com/office/drawing/2014/main" id="{B5FAC2A3-0EF0-D240-AB3B-63BBB7B9AA0F}"/>
              </a:ext>
            </a:extLst>
          </p:cNvPr>
          <p:cNvSpPr>
            <a:spLocks noGrp="1"/>
          </p:cNvSpPr>
          <p:nvPr>
            <p:ph type="body" idx="35"/>
          </p:nvPr>
        </p:nvSpPr>
        <p:spPr>
          <a:xfrm>
            <a:off x="9960670" y="4543321"/>
            <a:ext cx="1680467" cy="732360"/>
          </a:xfrm>
        </p:spPr>
        <p:txBody>
          <a:bodyPr/>
          <a:lstStyle/>
          <a:p>
            <a:r>
              <a:rPr lang="pt-BR" noProof="1"/>
              <a:t>Highlight here</a:t>
            </a:r>
          </a:p>
        </p:txBody>
      </p:sp>
      <p:sp>
        <p:nvSpPr>
          <p:cNvPr id="31" name="Text Placeholder 30">
            <a:extLst>
              <a:ext uri="{FF2B5EF4-FFF2-40B4-BE49-F238E27FC236}">
                <a16:creationId xmlns:a16="http://schemas.microsoft.com/office/drawing/2014/main" id="{3179240E-1225-8621-6FE1-1265D42FF6E1}"/>
              </a:ext>
            </a:extLst>
          </p:cNvPr>
          <p:cNvSpPr>
            <a:spLocks noGrp="1"/>
          </p:cNvSpPr>
          <p:nvPr>
            <p:ph type="body" idx="36"/>
          </p:nvPr>
        </p:nvSpPr>
        <p:spPr>
          <a:xfrm>
            <a:off x="588508" y="5556571"/>
            <a:ext cx="2510646" cy="732360"/>
          </a:xfrm>
        </p:spPr>
        <p:txBody>
          <a:bodyPr/>
          <a:lstStyle/>
          <a:p>
            <a:r>
              <a:rPr lang="pt-BR" noProof="1"/>
              <a:t>Title here</a:t>
            </a:r>
          </a:p>
        </p:txBody>
      </p:sp>
      <p:sp>
        <p:nvSpPr>
          <p:cNvPr id="32" name="Text Placeholder 31">
            <a:extLst>
              <a:ext uri="{FF2B5EF4-FFF2-40B4-BE49-F238E27FC236}">
                <a16:creationId xmlns:a16="http://schemas.microsoft.com/office/drawing/2014/main" id="{104063FB-BD29-1D44-5A83-0D45B04C8CF5}"/>
              </a:ext>
            </a:extLst>
          </p:cNvPr>
          <p:cNvSpPr>
            <a:spLocks noGrp="1"/>
          </p:cNvSpPr>
          <p:nvPr>
            <p:ph type="body" sz="quarter" idx="37"/>
          </p:nvPr>
        </p:nvSpPr>
        <p:spPr>
          <a:xfrm>
            <a:off x="4768250" y="5553996"/>
            <a:ext cx="3535873" cy="734935"/>
          </a:xfrm>
        </p:spPr>
        <p:txBody>
          <a:bodyPr/>
          <a:lstStyle/>
          <a:p>
            <a:r>
              <a:rPr lang="pt-BR" noProof="1"/>
              <a:t>Click to edit Master text styles. Lorem ipsum dolor sit amet, consectetur adipiscing elit.</a:t>
            </a:r>
          </a:p>
        </p:txBody>
      </p:sp>
      <p:sp>
        <p:nvSpPr>
          <p:cNvPr id="33" name="Text Placeholder 32">
            <a:extLst>
              <a:ext uri="{FF2B5EF4-FFF2-40B4-BE49-F238E27FC236}">
                <a16:creationId xmlns:a16="http://schemas.microsoft.com/office/drawing/2014/main" id="{274360F3-FDC4-6046-4032-F905F05B8EF4}"/>
              </a:ext>
            </a:extLst>
          </p:cNvPr>
          <p:cNvSpPr>
            <a:spLocks noGrp="1"/>
          </p:cNvSpPr>
          <p:nvPr>
            <p:ph type="body" idx="38"/>
          </p:nvPr>
        </p:nvSpPr>
        <p:spPr>
          <a:xfrm>
            <a:off x="9973219" y="5556571"/>
            <a:ext cx="1680467" cy="732360"/>
          </a:xfrm>
        </p:spPr>
        <p:txBody>
          <a:bodyPr/>
          <a:lstStyle/>
          <a:p>
            <a:r>
              <a:rPr lang="pt-BR" noProof="1"/>
              <a:t>Highlight here</a:t>
            </a:r>
          </a:p>
        </p:txBody>
      </p:sp>
    </p:spTree>
    <p:extLst>
      <p:ext uri="{BB962C8B-B14F-4D97-AF65-F5344CB8AC3E}">
        <p14:creationId xmlns:p14="http://schemas.microsoft.com/office/powerpoint/2010/main" val="272127649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6067610-6939-D211-7F1F-C1676F4777DB}"/>
              </a:ext>
            </a:extLst>
          </p:cNvPr>
          <p:cNvGraphicFramePr>
            <a:graphicFrameLocks noChangeAspect="1"/>
          </p:cNvGraphicFramePr>
          <p:nvPr>
            <p:custDataLst>
              <p:tags r:id="rId1"/>
            </p:custDataLst>
            <p:extLst>
              <p:ext uri="{D42A27DB-BD31-4B8C-83A1-F6EECF244321}">
                <p14:modId xmlns:p14="http://schemas.microsoft.com/office/powerpoint/2010/main" val="4109074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3" name="think-cell data - do not delete" hidden="1">
                        <a:extLst>
                          <a:ext uri="{FF2B5EF4-FFF2-40B4-BE49-F238E27FC236}">
                            <a16:creationId xmlns:a16="http://schemas.microsoft.com/office/drawing/2014/main" id="{86067610-6939-D211-7F1F-C1676F4777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itle 10">
            <a:extLst>
              <a:ext uri="{FF2B5EF4-FFF2-40B4-BE49-F238E27FC236}">
                <a16:creationId xmlns:a16="http://schemas.microsoft.com/office/drawing/2014/main" id="{59C43121-A658-CF8F-D3C1-02D35A65FB03}"/>
              </a:ext>
            </a:extLst>
          </p:cNvPr>
          <p:cNvSpPr>
            <a:spLocks noGrp="1"/>
          </p:cNvSpPr>
          <p:nvPr>
            <p:ph type="title"/>
          </p:nvPr>
        </p:nvSpPr>
        <p:spPr>
          <a:xfrm>
            <a:off x="554038" y="760476"/>
            <a:ext cx="4119562" cy="2363724"/>
          </a:xfrm>
        </p:spPr>
        <p:txBody>
          <a:bodyPr vert="horz"/>
          <a:lstStyle/>
          <a:p>
            <a:r>
              <a:rPr lang="pt-BR" noProof="1"/>
              <a:t>Place headline </a:t>
            </a:r>
            <a:br>
              <a:rPr lang="pt-BR" noProof="1"/>
            </a:br>
            <a:r>
              <a:rPr lang="pt-BR" noProof="1"/>
              <a:t>in Graphik semibold #4</a:t>
            </a:r>
          </a:p>
        </p:txBody>
      </p:sp>
      <p:pic>
        <p:nvPicPr>
          <p:cNvPr id="48" name="Picture Placeholder 47">
            <a:extLst>
              <a:ext uri="{FF2B5EF4-FFF2-40B4-BE49-F238E27FC236}">
                <a16:creationId xmlns:a16="http://schemas.microsoft.com/office/drawing/2014/main" id="{7CB79E27-BDF3-AB54-9936-A0A3EA4251FF}"/>
              </a:ext>
              <a:ext uri="{C183D7F6-B498-43B3-948B-1728B52AA6E4}">
                <adec:decorative xmlns:adec="http://schemas.microsoft.com/office/drawing/2017/decorative" val="1"/>
              </a:ext>
            </a:extLst>
          </p:cNvPr>
          <p:cNvPicPr>
            <a:picLocks noGrp="1" noChangeAspect="1"/>
          </p:cNvPicPr>
          <p:nvPr>
            <p:ph type="pic" sz="quarter" idx="36"/>
          </p:nvPr>
        </p:nvPicPr>
        <p:blipFill>
          <a:blip r:embed="rId6" cstate="screen">
            <a:extLst>
              <a:ext uri="{28A0092B-C50C-407E-A947-70E740481C1C}">
                <a14:useLocalDpi xmlns:a14="http://schemas.microsoft.com/office/drawing/2010/main"/>
              </a:ext>
            </a:extLst>
          </a:blip>
          <a:srcRect t="179" b="179"/>
          <a:stretch/>
        </p:blipFill>
        <p:spPr>
          <a:xfrm>
            <a:off x="5040827" y="554497"/>
            <a:ext cx="3110068" cy="1524000"/>
          </a:xfrm>
        </p:spPr>
      </p:pic>
      <p:sp>
        <p:nvSpPr>
          <p:cNvPr id="41" name="Text Placeholder 40">
            <a:extLst>
              <a:ext uri="{FF2B5EF4-FFF2-40B4-BE49-F238E27FC236}">
                <a16:creationId xmlns:a16="http://schemas.microsoft.com/office/drawing/2014/main" id="{E336E114-91C8-549C-AA45-B2FFC0408F9F}"/>
              </a:ext>
            </a:extLst>
          </p:cNvPr>
          <p:cNvSpPr>
            <a:spLocks noGrp="1"/>
          </p:cNvSpPr>
          <p:nvPr>
            <p:ph type="body" sz="quarter" idx="39"/>
          </p:nvPr>
        </p:nvSpPr>
        <p:spPr>
          <a:xfrm>
            <a:off x="5068197" y="2302697"/>
            <a:ext cx="3082698" cy="904614"/>
          </a:xfrm>
        </p:spPr>
        <p:txBody>
          <a:bodyPr/>
          <a:lstStyle/>
          <a:p>
            <a:r>
              <a:rPr lang="pt-BR" noProof="1"/>
              <a:t>Click to edit Master</a:t>
            </a:r>
          </a:p>
          <a:p>
            <a:r>
              <a:rPr lang="pt-BR" noProof="1"/>
              <a:t>Lorem ipsum dolor sit amet, consectetur adipiscing elit.</a:t>
            </a:r>
          </a:p>
        </p:txBody>
      </p:sp>
      <p:pic>
        <p:nvPicPr>
          <p:cNvPr id="50" name="Picture Placeholder 49">
            <a:extLst>
              <a:ext uri="{FF2B5EF4-FFF2-40B4-BE49-F238E27FC236}">
                <a16:creationId xmlns:a16="http://schemas.microsoft.com/office/drawing/2014/main" id="{BA19C97D-9008-F90E-9139-D544D3E1F6C3}"/>
              </a:ext>
              <a:ext uri="{C183D7F6-B498-43B3-948B-1728B52AA6E4}">
                <adec:decorative xmlns:adec="http://schemas.microsoft.com/office/drawing/2017/decorative" val="1"/>
              </a:ext>
            </a:extLst>
          </p:cNvPr>
          <p:cNvPicPr>
            <a:picLocks noGrp="1" noChangeAspect="1"/>
          </p:cNvPicPr>
          <p:nvPr>
            <p:ph type="pic" sz="quarter" idx="38"/>
          </p:nvPr>
        </p:nvPicPr>
        <p:blipFill>
          <a:blip r:embed="rId7" cstate="screen">
            <a:extLst>
              <a:ext uri="{28A0092B-C50C-407E-A947-70E740481C1C}">
                <a14:useLocalDpi xmlns:a14="http://schemas.microsoft.com/office/drawing/2010/main"/>
              </a:ext>
            </a:extLst>
          </a:blip>
          <a:srcRect t="179" b="179"/>
          <a:stretch/>
        </p:blipFill>
        <p:spPr>
          <a:xfrm>
            <a:off x="8516471" y="554497"/>
            <a:ext cx="3110068" cy="1524000"/>
          </a:xfrm>
        </p:spPr>
      </p:pic>
      <p:sp>
        <p:nvSpPr>
          <p:cNvPr id="56" name="Text Placeholder 55">
            <a:extLst>
              <a:ext uri="{FF2B5EF4-FFF2-40B4-BE49-F238E27FC236}">
                <a16:creationId xmlns:a16="http://schemas.microsoft.com/office/drawing/2014/main" id="{549452E2-1C9C-5E73-036D-F44EE9809F67}"/>
              </a:ext>
            </a:extLst>
          </p:cNvPr>
          <p:cNvSpPr>
            <a:spLocks noGrp="1"/>
          </p:cNvSpPr>
          <p:nvPr>
            <p:ph type="body" sz="quarter" idx="40"/>
          </p:nvPr>
        </p:nvSpPr>
        <p:spPr>
          <a:xfrm>
            <a:off x="8516471" y="2302697"/>
            <a:ext cx="3082698" cy="904614"/>
          </a:xfrm>
        </p:spPr>
        <p:txBody>
          <a:bodyPr/>
          <a:lstStyle/>
          <a:p>
            <a:r>
              <a:rPr lang="pt-BR" noProof="1"/>
              <a:t>Click to edit Master</a:t>
            </a:r>
          </a:p>
          <a:p>
            <a:r>
              <a:rPr lang="pt-BR" noProof="1"/>
              <a:t>Lorem ipsum dolor sit amet, consectetur adipiscing elit.</a:t>
            </a:r>
          </a:p>
        </p:txBody>
      </p:sp>
      <p:pic>
        <p:nvPicPr>
          <p:cNvPr id="52" name="Picture Placeholder 51">
            <a:extLst>
              <a:ext uri="{FF2B5EF4-FFF2-40B4-BE49-F238E27FC236}">
                <a16:creationId xmlns:a16="http://schemas.microsoft.com/office/drawing/2014/main" id="{B98C91FC-43ED-2F91-382F-2163FBDFA6C2}"/>
              </a:ext>
              <a:ext uri="{C183D7F6-B498-43B3-948B-1728B52AA6E4}">
                <adec:decorative xmlns:adec="http://schemas.microsoft.com/office/drawing/2017/decorative" val="1"/>
              </a:ext>
            </a:extLst>
          </p:cNvPr>
          <p:cNvPicPr>
            <a:picLocks noGrp="1" noChangeAspect="1"/>
          </p:cNvPicPr>
          <p:nvPr>
            <p:ph type="pic" sz="quarter" idx="13"/>
          </p:nvPr>
        </p:nvPicPr>
        <p:blipFill>
          <a:blip r:embed="rId8" cstate="screen">
            <a:extLst>
              <a:ext uri="{28A0092B-C50C-407E-A947-70E740481C1C}">
                <a14:useLocalDpi xmlns:a14="http://schemas.microsoft.com/office/drawing/2010/main"/>
              </a:ext>
            </a:extLst>
          </a:blip>
          <a:srcRect t="179" b="179"/>
          <a:stretch/>
        </p:blipFill>
        <p:spPr>
          <a:xfrm>
            <a:off x="5040827" y="3650689"/>
            <a:ext cx="3110068" cy="1524000"/>
          </a:xfrm>
        </p:spPr>
      </p:pic>
      <p:sp>
        <p:nvSpPr>
          <p:cNvPr id="45" name="Text Placeholder 44">
            <a:extLst>
              <a:ext uri="{FF2B5EF4-FFF2-40B4-BE49-F238E27FC236}">
                <a16:creationId xmlns:a16="http://schemas.microsoft.com/office/drawing/2014/main" id="{39212691-CE91-DDAC-0F88-00912EF49261}"/>
              </a:ext>
            </a:extLst>
          </p:cNvPr>
          <p:cNvSpPr>
            <a:spLocks noGrp="1"/>
          </p:cNvSpPr>
          <p:nvPr>
            <p:ph type="body" sz="quarter" idx="41"/>
          </p:nvPr>
        </p:nvSpPr>
        <p:spPr>
          <a:xfrm>
            <a:off x="5068197" y="5404111"/>
            <a:ext cx="3082698" cy="904614"/>
          </a:xfrm>
        </p:spPr>
        <p:txBody>
          <a:bodyPr/>
          <a:lstStyle/>
          <a:p>
            <a:r>
              <a:rPr lang="pt-BR" noProof="1"/>
              <a:t>Click to edit Master</a:t>
            </a:r>
          </a:p>
          <a:p>
            <a:r>
              <a:rPr lang="pt-BR" noProof="1"/>
              <a:t>Lorem ipsum dolor sit amet, consectetur adipiscing elit.</a:t>
            </a:r>
          </a:p>
        </p:txBody>
      </p:sp>
      <p:pic>
        <p:nvPicPr>
          <p:cNvPr id="54" name="Picture Placeholder 53">
            <a:extLst>
              <a:ext uri="{FF2B5EF4-FFF2-40B4-BE49-F238E27FC236}">
                <a16:creationId xmlns:a16="http://schemas.microsoft.com/office/drawing/2014/main" id="{A250B1B4-191E-EFBB-B806-958B1452C288}"/>
              </a:ext>
              <a:ext uri="{C183D7F6-B498-43B3-948B-1728B52AA6E4}">
                <adec:decorative xmlns:adec="http://schemas.microsoft.com/office/drawing/2017/decorative" val="1"/>
              </a:ext>
            </a:extLst>
          </p:cNvPr>
          <p:cNvPicPr>
            <a:picLocks noGrp="1" noChangeAspect="1"/>
          </p:cNvPicPr>
          <p:nvPr>
            <p:ph type="pic" sz="quarter" idx="34"/>
          </p:nvPr>
        </p:nvPicPr>
        <p:blipFill>
          <a:blip r:embed="rId9" cstate="screen">
            <a:extLst>
              <a:ext uri="{28A0092B-C50C-407E-A947-70E740481C1C}">
                <a14:useLocalDpi xmlns:a14="http://schemas.microsoft.com/office/drawing/2010/main"/>
              </a:ext>
            </a:extLst>
          </a:blip>
          <a:srcRect t="179" b="179"/>
          <a:stretch/>
        </p:blipFill>
        <p:spPr>
          <a:xfrm>
            <a:off x="8516471" y="3650689"/>
            <a:ext cx="3110068" cy="1524000"/>
          </a:xfrm>
        </p:spPr>
      </p:pic>
      <p:sp>
        <p:nvSpPr>
          <p:cNvPr id="57" name="Text Placeholder 56">
            <a:extLst>
              <a:ext uri="{FF2B5EF4-FFF2-40B4-BE49-F238E27FC236}">
                <a16:creationId xmlns:a16="http://schemas.microsoft.com/office/drawing/2014/main" id="{82079157-B749-2AC8-DE32-669D46D3F5C2}"/>
              </a:ext>
            </a:extLst>
          </p:cNvPr>
          <p:cNvSpPr>
            <a:spLocks noGrp="1"/>
          </p:cNvSpPr>
          <p:nvPr>
            <p:ph type="body" sz="quarter" idx="42"/>
          </p:nvPr>
        </p:nvSpPr>
        <p:spPr>
          <a:xfrm>
            <a:off x="8516471" y="5404111"/>
            <a:ext cx="3082698" cy="904614"/>
          </a:xfrm>
        </p:spPr>
        <p:txBody>
          <a:bodyPr/>
          <a:lstStyle/>
          <a:p>
            <a:r>
              <a:rPr lang="pt-BR" noProof="1"/>
              <a:t>Click to edit Master</a:t>
            </a:r>
          </a:p>
          <a:p>
            <a:r>
              <a:rPr lang="pt-BR" noProof="1"/>
              <a:t>Lorem ipsum dolor sit amet, consectetur adipiscing elit.</a:t>
            </a:r>
          </a:p>
        </p:txBody>
      </p:sp>
    </p:spTree>
    <p:extLst>
      <p:ext uri="{BB962C8B-B14F-4D97-AF65-F5344CB8AC3E}">
        <p14:creationId xmlns:p14="http://schemas.microsoft.com/office/powerpoint/2010/main" val="357346333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A83C0F10-37C4-AF6B-6AC3-37C1D036B455}"/>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0AE3CBB-DB86-9046-1458-82E50F2C3DD9}"/>
              </a:ext>
            </a:extLst>
          </p:cNvPr>
          <p:cNvGraphicFramePr>
            <a:graphicFrameLocks noChangeAspect="1"/>
          </p:cNvGraphicFramePr>
          <p:nvPr>
            <p:custDataLst>
              <p:tags r:id="rId1"/>
            </p:custDataLst>
            <p:extLst>
              <p:ext uri="{D42A27DB-BD31-4B8C-83A1-F6EECF244321}">
                <p14:modId xmlns:p14="http://schemas.microsoft.com/office/powerpoint/2010/main" val="2353197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4" name="think-cell data - do not delete" hidden="1">
                        <a:extLst>
                          <a:ext uri="{FF2B5EF4-FFF2-40B4-BE49-F238E27FC236}">
                            <a16:creationId xmlns:a16="http://schemas.microsoft.com/office/drawing/2014/main" id="{00AE3CBB-DB86-9046-1458-82E50F2C3D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B7ADFB-3397-DFAC-5E19-44E8072BE2EC}"/>
              </a:ext>
            </a:extLst>
          </p:cNvPr>
          <p:cNvSpPr>
            <a:spLocks noGrp="1"/>
          </p:cNvSpPr>
          <p:nvPr>
            <p:ph type="title"/>
          </p:nvPr>
        </p:nvSpPr>
        <p:spPr>
          <a:xfrm>
            <a:off x="1163638" y="2933576"/>
            <a:ext cx="7199312" cy="990849"/>
          </a:xfrm>
        </p:spPr>
        <p:txBody>
          <a:bodyPr vert="horz"/>
          <a:lstStyle/>
          <a:p>
            <a:r>
              <a:rPr lang="pt-BR" noProof="1"/>
              <a:t>Place a call-out here, make the most important </a:t>
            </a:r>
            <a:r>
              <a:rPr lang="pt-BR" noProof="1">
                <a:solidFill>
                  <a:schemeClr val="accent2"/>
                </a:solidFill>
              </a:rPr>
              <a:t>word purple</a:t>
            </a:r>
            <a:r>
              <a:rPr lang="pt-BR" noProof="1"/>
              <a:t>.</a:t>
            </a:r>
          </a:p>
        </p:txBody>
      </p:sp>
    </p:spTree>
    <p:extLst>
      <p:ext uri="{BB962C8B-B14F-4D97-AF65-F5344CB8AC3E}">
        <p14:creationId xmlns:p14="http://schemas.microsoft.com/office/powerpoint/2010/main" val="135416232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9FCFA54D-1299-8E2C-0D56-DF854CF8870A}"/>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DABBD01-7FD4-1907-4C51-F2A9ADE28BAC}"/>
              </a:ext>
            </a:extLst>
          </p:cNvPr>
          <p:cNvGraphicFramePr>
            <a:graphicFrameLocks noChangeAspect="1"/>
          </p:cNvGraphicFramePr>
          <p:nvPr>
            <p:custDataLst>
              <p:tags r:id="rId1"/>
            </p:custDataLst>
            <p:extLst>
              <p:ext uri="{D42A27DB-BD31-4B8C-83A1-F6EECF244321}">
                <p14:modId xmlns:p14="http://schemas.microsoft.com/office/powerpoint/2010/main" val="3232025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3" name="think-cell data - do not delete" hidden="1">
                        <a:extLst>
                          <a:ext uri="{FF2B5EF4-FFF2-40B4-BE49-F238E27FC236}">
                            <a16:creationId xmlns:a16="http://schemas.microsoft.com/office/drawing/2014/main" id="{2DABBD01-7FD4-1907-4C51-F2A9ADE28B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Placeholder 15">
            <a:extLst>
              <a:ext uri="{FF2B5EF4-FFF2-40B4-BE49-F238E27FC236}">
                <a16:creationId xmlns:a16="http://schemas.microsoft.com/office/drawing/2014/main" id="{D02EC307-E87A-C4E4-3995-B6F200D2F27B}"/>
              </a:ext>
              <a:ext uri="{C183D7F6-B498-43B3-948B-1728B52AA6E4}">
                <adec:decorative xmlns:adec="http://schemas.microsoft.com/office/drawing/2017/decorative" val="1"/>
              </a:ext>
            </a:extLst>
          </p:cNvPr>
          <p:cNvPicPr>
            <a:picLocks noGrp="1" noChangeAspect="1"/>
          </p:cNvPicPr>
          <p:nvPr>
            <p:ph type="pic" sz="quarter" idx="16"/>
          </p:nvPr>
        </p:nvPicPr>
        <p:blipFill>
          <a:blip r:embed="rId6" cstate="screen">
            <a:extLst>
              <a:ext uri="{28A0092B-C50C-407E-A947-70E740481C1C}">
                <a14:useLocalDpi xmlns:a14="http://schemas.microsoft.com/office/drawing/2010/main"/>
              </a:ext>
            </a:extLst>
          </a:blip>
          <a:srcRect t="85" b="85"/>
          <a:stretch/>
        </p:blipFill>
        <p:spPr>
          <a:xfrm>
            <a:off x="6103368" y="549275"/>
            <a:ext cx="6092648" cy="5759450"/>
          </a:xfrm>
        </p:spPr>
      </p:pic>
      <p:sp>
        <p:nvSpPr>
          <p:cNvPr id="9" name="Title 8">
            <a:extLst>
              <a:ext uri="{FF2B5EF4-FFF2-40B4-BE49-F238E27FC236}">
                <a16:creationId xmlns:a16="http://schemas.microsoft.com/office/drawing/2014/main" id="{4F287308-7258-4D5D-643A-DF466075D6D1}"/>
              </a:ext>
            </a:extLst>
          </p:cNvPr>
          <p:cNvSpPr>
            <a:spLocks noGrp="1"/>
          </p:cNvSpPr>
          <p:nvPr>
            <p:ph type="title"/>
          </p:nvPr>
        </p:nvSpPr>
        <p:spPr>
          <a:xfrm>
            <a:off x="1163638" y="1755330"/>
            <a:ext cx="4489017" cy="2954655"/>
          </a:xfrm>
        </p:spPr>
        <p:txBody>
          <a:bodyPr vert="horz"/>
          <a:lstStyle/>
          <a:p>
            <a:r>
              <a:rPr lang="pt-BR" noProof="1"/>
              <a:t>“Place quote here #1. Lorem ipsum dolor sit amet, consectetuer adipiscing elit, sed diam nonummy nibh euismod tincidunt ut.”</a:t>
            </a:r>
          </a:p>
        </p:txBody>
      </p:sp>
      <p:sp>
        <p:nvSpPr>
          <p:cNvPr id="5" name="TextBox 4">
            <a:extLst>
              <a:ext uri="{FF2B5EF4-FFF2-40B4-BE49-F238E27FC236}">
                <a16:creationId xmlns:a16="http://schemas.microsoft.com/office/drawing/2014/main" id="{F4A1C2CB-13C2-C495-19A0-3C65E1D3A6DF}"/>
              </a:ext>
              <a:ext uri="{C183D7F6-B498-43B3-948B-1728B52AA6E4}">
                <adec:decorative xmlns:adec="http://schemas.microsoft.com/office/drawing/2017/decorative" val="1"/>
              </a:ext>
            </a:extLst>
          </p:cNvPr>
          <p:cNvSpPr txBox="1"/>
          <p:nvPr/>
        </p:nvSpPr>
        <p:spPr>
          <a:xfrm>
            <a:off x="7213600" y="-188686"/>
            <a:ext cx="0" cy="0"/>
          </a:xfrm>
          <a:prstGeom prst="rect">
            <a:avLst/>
          </a:prstGeom>
          <a:noFill/>
        </p:spPr>
        <p:txBody>
          <a:bodyPr wrap="none" lIns="0" tIns="0" rIns="0" bIns="0" rtlCol="0">
            <a:noAutofit/>
          </a:bodyPr>
          <a:lstStyle/>
          <a:p>
            <a:pPr algn="l" defTabSz="228600">
              <a:spcAft>
                <a:spcPts val="1200"/>
              </a:spcAft>
            </a:pPr>
            <a:endParaRPr lang="pt-BR" noProof="1"/>
          </a:p>
        </p:txBody>
      </p:sp>
    </p:spTree>
    <p:extLst>
      <p:ext uri="{BB962C8B-B14F-4D97-AF65-F5344CB8AC3E}">
        <p14:creationId xmlns:p14="http://schemas.microsoft.com/office/powerpoint/2010/main" val="153207112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9CBD6BC7-3BCC-71A4-5D99-9095CE719E0E}"/>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A1DB064-7FED-41A3-5FC8-32DECAE3E405}"/>
              </a:ext>
            </a:extLst>
          </p:cNvPr>
          <p:cNvGraphicFramePr>
            <a:graphicFrameLocks noChangeAspect="1"/>
          </p:cNvGraphicFramePr>
          <p:nvPr>
            <p:custDataLst>
              <p:tags r:id="rId1"/>
            </p:custDataLst>
            <p:extLst>
              <p:ext uri="{D42A27DB-BD31-4B8C-83A1-F6EECF244321}">
                <p14:modId xmlns:p14="http://schemas.microsoft.com/office/powerpoint/2010/main" val="1728075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4" name="think-cell data - do not delete" hidden="1">
                        <a:extLst>
                          <a:ext uri="{FF2B5EF4-FFF2-40B4-BE49-F238E27FC236}">
                            <a16:creationId xmlns:a16="http://schemas.microsoft.com/office/drawing/2014/main" id="{2A1DB064-7FED-41A3-5FC8-32DECAE3E4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Picture Placeholder 11">
            <a:extLst>
              <a:ext uri="{FF2B5EF4-FFF2-40B4-BE49-F238E27FC236}">
                <a16:creationId xmlns:a16="http://schemas.microsoft.com/office/drawing/2014/main" id="{E5A3626C-AEE2-0BF6-3975-3297E5F2F7CC}"/>
              </a:ext>
              <a:ext uri="{C183D7F6-B498-43B3-948B-1728B52AA6E4}">
                <adec:decorative xmlns:adec="http://schemas.microsoft.com/office/drawing/2017/decorative" val="1"/>
              </a:ext>
            </a:extLst>
          </p:cNvPr>
          <p:cNvPicPr>
            <a:picLocks noGrp="1" noChangeAspect="1"/>
          </p:cNvPicPr>
          <p:nvPr>
            <p:ph type="pic" sz="quarter" idx="16"/>
          </p:nvPr>
        </p:nvPicPr>
        <p:blipFill>
          <a:blip r:embed="rId6" cstate="screen">
            <a:extLst>
              <a:ext uri="{28A0092B-C50C-407E-A947-70E740481C1C}">
                <a14:useLocalDpi xmlns:a14="http://schemas.microsoft.com/office/drawing/2010/main"/>
              </a:ext>
            </a:extLst>
          </a:blip>
          <a:srcRect t="72" b="72"/>
          <a:stretch/>
        </p:blipFill>
        <p:spPr>
          <a:xfrm>
            <a:off x="6099351" y="549276"/>
            <a:ext cx="6091200" cy="5759450"/>
          </a:xfrm>
        </p:spPr>
      </p:pic>
      <p:sp>
        <p:nvSpPr>
          <p:cNvPr id="2" name="Title 1">
            <a:extLst>
              <a:ext uri="{FF2B5EF4-FFF2-40B4-BE49-F238E27FC236}">
                <a16:creationId xmlns:a16="http://schemas.microsoft.com/office/drawing/2014/main" id="{A08548A6-D1D5-5D95-EDB1-D557661C3C69}"/>
              </a:ext>
            </a:extLst>
          </p:cNvPr>
          <p:cNvSpPr>
            <a:spLocks noGrp="1"/>
          </p:cNvSpPr>
          <p:nvPr>
            <p:ph type="title"/>
          </p:nvPr>
        </p:nvSpPr>
        <p:spPr>
          <a:xfrm>
            <a:off x="1163638" y="1755617"/>
            <a:ext cx="4489450" cy="2954655"/>
          </a:xfrm>
        </p:spPr>
        <p:txBody>
          <a:bodyPr vert="horz"/>
          <a:lstStyle/>
          <a:p>
            <a:r>
              <a:rPr lang="pt-BR" noProof="1"/>
              <a:t>“Place quote here #2. Lorem ipsum dolor sit amet, consectetuer adipiscing elit, sed diam nonummy nibh euismod tincidunt ut elit.”</a:t>
            </a:r>
          </a:p>
        </p:txBody>
      </p:sp>
    </p:spTree>
    <p:extLst>
      <p:ext uri="{BB962C8B-B14F-4D97-AF65-F5344CB8AC3E}">
        <p14:creationId xmlns:p14="http://schemas.microsoft.com/office/powerpoint/2010/main" val="162002023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6332F85D-E77C-46D3-55BF-83B8A55BDC8C}"/>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599D774-CC33-8B3F-FE60-CE6037B40BEA}"/>
              </a:ext>
            </a:extLst>
          </p:cNvPr>
          <p:cNvGraphicFramePr>
            <a:graphicFrameLocks noChangeAspect="1"/>
          </p:cNvGraphicFramePr>
          <p:nvPr>
            <p:custDataLst>
              <p:tags r:id="rId1"/>
            </p:custDataLst>
            <p:extLst>
              <p:ext uri="{D42A27DB-BD31-4B8C-83A1-F6EECF244321}">
                <p14:modId xmlns:p14="http://schemas.microsoft.com/office/powerpoint/2010/main" val="2705478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3" name="think-cell data - do not delete" hidden="1">
                        <a:extLst>
                          <a:ext uri="{FF2B5EF4-FFF2-40B4-BE49-F238E27FC236}">
                            <a16:creationId xmlns:a16="http://schemas.microsoft.com/office/drawing/2014/main" id="{2599D774-CC33-8B3F-FE60-CE6037B40BE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Placeholder 4">
            <a:extLst>
              <a:ext uri="{FF2B5EF4-FFF2-40B4-BE49-F238E27FC236}">
                <a16:creationId xmlns:a16="http://schemas.microsoft.com/office/drawing/2014/main" id="{D7DF9809-B932-313E-A35A-686679408EAA}"/>
              </a:ext>
              <a:ext uri="{C183D7F6-B498-43B3-948B-1728B52AA6E4}">
                <adec:decorative xmlns:adec="http://schemas.microsoft.com/office/drawing/2017/decorative" val="1"/>
              </a:ext>
            </a:extLst>
          </p:cNvPr>
          <p:cNvPicPr>
            <a:picLocks noGrp="1" noChangeAspect="1"/>
          </p:cNvPicPr>
          <p:nvPr>
            <p:ph type="pic" sz="quarter" idx="16"/>
          </p:nvPr>
        </p:nvPicPr>
        <p:blipFill>
          <a:blip r:embed="rId6" cstate="screen">
            <a:extLst>
              <a:ext uri="{28A0092B-C50C-407E-A947-70E740481C1C}">
                <a14:useLocalDpi xmlns:a14="http://schemas.microsoft.com/office/drawing/2010/main"/>
              </a:ext>
            </a:extLst>
          </a:blip>
          <a:srcRect/>
          <a:stretch>
            <a:fillRect/>
          </a:stretch>
        </p:blipFill>
        <p:spPr/>
      </p:pic>
      <p:sp>
        <p:nvSpPr>
          <p:cNvPr id="4" name="Title 3">
            <a:extLst>
              <a:ext uri="{FF2B5EF4-FFF2-40B4-BE49-F238E27FC236}">
                <a16:creationId xmlns:a16="http://schemas.microsoft.com/office/drawing/2014/main" id="{5B5B8087-2810-16C3-2B67-4BB1E8DE40D8}"/>
              </a:ext>
            </a:extLst>
          </p:cNvPr>
          <p:cNvSpPr>
            <a:spLocks noGrp="1"/>
          </p:cNvSpPr>
          <p:nvPr>
            <p:ph type="title"/>
          </p:nvPr>
        </p:nvSpPr>
        <p:spPr>
          <a:xfrm>
            <a:off x="1163638" y="1755329"/>
            <a:ext cx="4489017" cy="2954655"/>
          </a:xfrm>
        </p:spPr>
        <p:txBody>
          <a:bodyPr vert="horz"/>
          <a:lstStyle/>
          <a:p>
            <a:r>
              <a:rPr lang="pt-BR" noProof="1"/>
              <a:t>“Place quote here #3. Lorem ipsum dolor sit amet, consectetuer adipiscing elit, sed diam nonummy nibh euismod tincidunt elit ut.”</a:t>
            </a:r>
          </a:p>
        </p:txBody>
      </p:sp>
    </p:spTree>
    <p:extLst>
      <p:ext uri="{BB962C8B-B14F-4D97-AF65-F5344CB8AC3E}">
        <p14:creationId xmlns:p14="http://schemas.microsoft.com/office/powerpoint/2010/main" val="39169721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79BFE1-EC6F-9AF1-50FD-71AF9F0CB7AE}"/>
            </a:ext>
          </a:extLst>
        </p:cNvPr>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E3F8A3C7-7D06-46B6-596F-69C7598819A3}"/>
              </a:ext>
            </a:extLst>
          </p:cNvPr>
          <p:cNvGraphicFramePr>
            <a:graphicFrameLocks noChangeAspect="1"/>
          </p:cNvGraphicFramePr>
          <p:nvPr>
            <p:custDataLst>
              <p:tags r:id="rId1"/>
            </p:custDataLst>
            <p:extLst>
              <p:ext uri="{D42A27DB-BD31-4B8C-83A1-F6EECF244321}">
                <p14:modId xmlns:p14="http://schemas.microsoft.com/office/powerpoint/2010/main" val="1392303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16" name="think-cell data - do not delete" hidden="1">
                        <a:extLst>
                          <a:ext uri="{FF2B5EF4-FFF2-40B4-BE49-F238E27FC236}">
                            <a16:creationId xmlns:a16="http://schemas.microsoft.com/office/drawing/2014/main" id="{E3F8A3C7-7D06-46B6-596F-69C7598819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Title 28">
            <a:extLst>
              <a:ext uri="{FF2B5EF4-FFF2-40B4-BE49-F238E27FC236}">
                <a16:creationId xmlns:a16="http://schemas.microsoft.com/office/drawing/2014/main" id="{7C592E18-323C-0321-7ABA-06D5516B5AD9}"/>
              </a:ext>
            </a:extLst>
          </p:cNvPr>
          <p:cNvSpPr>
            <a:spLocks noGrp="1"/>
          </p:cNvSpPr>
          <p:nvPr>
            <p:ph type="title"/>
          </p:nvPr>
        </p:nvSpPr>
        <p:spPr>
          <a:xfrm>
            <a:off x="556467" y="572600"/>
            <a:ext cx="11109212" cy="393954"/>
          </a:xfrm>
        </p:spPr>
        <p:txBody>
          <a:bodyPr vert="horz"/>
          <a:lstStyle/>
          <a:p>
            <a:r>
              <a:rPr lang="pt-BR" noProof="1"/>
              <a:t>Motivação do Trabalho</a:t>
            </a:r>
          </a:p>
        </p:txBody>
      </p:sp>
      <p:sp>
        <p:nvSpPr>
          <p:cNvPr id="2" name="Marcador de texto 1">
            <a:extLst>
              <a:ext uri="{FF2B5EF4-FFF2-40B4-BE49-F238E27FC236}">
                <a16:creationId xmlns:a16="http://schemas.microsoft.com/office/drawing/2014/main" id="{6801C8AC-BE3F-B09C-4D94-0014633F40D7}"/>
              </a:ext>
            </a:extLst>
          </p:cNvPr>
          <p:cNvSpPr>
            <a:spLocks noGrp="1"/>
          </p:cNvSpPr>
          <p:nvPr>
            <p:ph type="body" sz="quarter" idx="26"/>
          </p:nvPr>
        </p:nvSpPr>
        <p:spPr>
          <a:xfrm>
            <a:off x="563411" y="1109663"/>
            <a:ext cx="11077727" cy="384048"/>
          </a:xfrm>
        </p:spPr>
        <p:txBody>
          <a:bodyPr/>
          <a:lstStyle/>
          <a:p>
            <a:r>
              <a:rPr lang="pt-BR" noProof="1">
                <a:solidFill>
                  <a:schemeClr val="bg2"/>
                </a:solidFill>
              </a:rPr>
              <a:t>Uma breve história inicial </a:t>
            </a:r>
          </a:p>
        </p:txBody>
      </p:sp>
      <p:grpSp>
        <p:nvGrpSpPr>
          <p:cNvPr id="93" name="Group 92">
            <a:extLst>
              <a:ext uri="{FF2B5EF4-FFF2-40B4-BE49-F238E27FC236}">
                <a16:creationId xmlns:a16="http://schemas.microsoft.com/office/drawing/2014/main" id="{AC143247-139B-F4EB-2E41-F3731B4A2CD6}"/>
              </a:ext>
            </a:extLst>
          </p:cNvPr>
          <p:cNvGrpSpPr/>
          <p:nvPr/>
        </p:nvGrpSpPr>
        <p:grpSpPr>
          <a:xfrm>
            <a:off x="923334" y="1835150"/>
            <a:ext cx="10345332" cy="4016273"/>
            <a:chOff x="495387" y="1835150"/>
            <a:chExt cx="10345332" cy="4016273"/>
          </a:xfrm>
        </p:grpSpPr>
        <p:grpSp>
          <p:nvGrpSpPr>
            <p:cNvPr id="90" name="Group 89">
              <a:extLst>
                <a:ext uri="{FF2B5EF4-FFF2-40B4-BE49-F238E27FC236}">
                  <a16:creationId xmlns:a16="http://schemas.microsoft.com/office/drawing/2014/main" id="{3522107E-EAEB-789D-E104-8C24DF313DFD}"/>
                </a:ext>
              </a:extLst>
            </p:cNvPr>
            <p:cNvGrpSpPr/>
            <p:nvPr/>
          </p:nvGrpSpPr>
          <p:grpSpPr>
            <a:xfrm>
              <a:off x="495387" y="1835150"/>
              <a:ext cx="10345332" cy="969516"/>
              <a:chOff x="495387" y="1835150"/>
              <a:chExt cx="10345332" cy="969516"/>
            </a:xfrm>
          </p:grpSpPr>
          <p:sp>
            <p:nvSpPr>
              <p:cNvPr id="39" name="Rectangle 38">
                <a:extLst>
                  <a:ext uri="{FF2B5EF4-FFF2-40B4-BE49-F238E27FC236}">
                    <a16:creationId xmlns:a16="http://schemas.microsoft.com/office/drawing/2014/main" id="{2CEEDCFB-2AE7-82FD-280C-A21B03212025}"/>
                  </a:ext>
                </a:extLst>
              </p:cNvPr>
              <p:cNvSpPr/>
              <p:nvPr/>
            </p:nvSpPr>
            <p:spPr>
              <a:xfrm>
                <a:off x="495387" y="1835150"/>
                <a:ext cx="494261"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r>
                  <a:rPr lang="pt-BR" sz="2400" dirty="0">
                    <a:solidFill>
                      <a:srgbClr val="460073"/>
                    </a:solidFill>
                    <a:latin typeface="Graphik Semibold" panose="020B0703030202060203" pitchFamily="34" charset="0"/>
                  </a:rPr>
                  <a:t>01</a:t>
                </a:r>
              </a:p>
            </p:txBody>
          </p:sp>
          <p:sp>
            <p:nvSpPr>
              <p:cNvPr id="42" name="Rectangle 41">
                <a:extLst>
                  <a:ext uri="{FF2B5EF4-FFF2-40B4-BE49-F238E27FC236}">
                    <a16:creationId xmlns:a16="http://schemas.microsoft.com/office/drawing/2014/main" id="{37985C8C-0935-87E6-6EA8-C6629636EF5B}"/>
                  </a:ext>
                </a:extLst>
              </p:cNvPr>
              <p:cNvSpPr/>
              <p:nvPr/>
            </p:nvSpPr>
            <p:spPr>
              <a:xfrm>
                <a:off x="1197752" y="1952951"/>
                <a:ext cx="9642967" cy="2215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pt-BR" sz="1600" dirty="0">
                    <a:solidFill>
                      <a:schemeClr val="tx1"/>
                    </a:solidFill>
                    <a:latin typeface="Graphik Semibold" panose="020B0703030202060203" pitchFamily="34" charset="0"/>
                  </a:rPr>
                  <a:t>Engenharia Estrutural depende da resolução de Equações Diferenciais</a:t>
                </a:r>
              </a:p>
            </p:txBody>
          </p:sp>
          <p:sp>
            <p:nvSpPr>
              <p:cNvPr id="45" name="Rectangle 44">
                <a:extLst>
                  <a:ext uri="{FF2B5EF4-FFF2-40B4-BE49-F238E27FC236}">
                    <a16:creationId xmlns:a16="http://schemas.microsoft.com/office/drawing/2014/main" id="{A3144EC2-1954-ADC1-3B23-98035C6F4CDA}"/>
                  </a:ext>
                </a:extLst>
              </p:cNvPr>
              <p:cNvSpPr/>
              <p:nvPr/>
            </p:nvSpPr>
            <p:spPr>
              <a:xfrm>
                <a:off x="1197752" y="2358390"/>
                <a:ext cx="9642967" cy="4462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71450" indent="-171450" defTabSz="228594">
                  <a:spcAft>
                    <a:spcPts val="600"/>
                  </a:spcAft>
                  <a:buClr>
                    <a:srgbClr val="A100FF"/>
                  </a:buClr>
                  <a:buFont typeface="Arial" panose="020B0604020202020204" pitchFamily="34" charset="0"/>
                  <a:buChar char="•"/>
                </a:pPr>
                <a:r>
                  <a:rPr lang="pt-BR" sz="1200" noProof="1">
                    <a:solidFill>
                      <a:schemeClr val="tx1"/>
                    </a:solidFill>
                    <a:latin typeface="Graphik" panose="020B0503030202060203" pitchFamily="34" charset="77"/>
                  </a:rPr>
                  <a:t>A análise estrutural moderna se fundamenta na solução de Equações Diferenciais Parciais (EDP’s).</a:t>
                </a:r>
              </a:p>
              <a:p>
                <a:pPr marL="171450" indent="-171450" defTabSz="228594">
                  <a:spcAft>
                    <a:spcPts val="600"/>
                  </a:spcAft>
                  <a:buClr>
                    <a:srgbClr val="A100FF"/>
                  </a:buClr>
                  <a:buFont typeface="Arial" panose="020B0604020202020204" pitchFamily="34" charset="0"/>
                  <a:buChar char="•"/>
                </a:pPr>
                <a:r>
                  <a:rPr lang="pt-BR" sz="1200" noProof="1">
                    <a:solidFill>
                      <a:schemeClr val="tx1"/>
                    </a:solidFill>
                    <a:latin typeface="Graphik" panose="020B0503030202060203" pitchFamily="34" charset="77"/>
                  </a:rPr>
                  <a:t>É a partir dessas EDP’s que se descrevem deslocamentos, deformações e tensões em uma estrutura.</a:t>
                </a:r>
              </a:p>
            </p:txBody>
          </p:sp>
        </p:grpSp>
        <p:grpSp>
          <p:nvGrpSpPr>
            <p:cNvPr id="91" name="Group 90">
              <a:extLst>
                <a:ext uri="{FF2B5EF4-FFF2-40B4-BE49-F238E27FC236}">
                  <a16:creationId xmlns:a16="http://schemas.microsoft.com/office/drawing/2014/main" id="{340E4671-EFE3-C79D-712D-E4EB0917589D}"/>
                </a:ext>
              </a:extLst>
            </p:cNvPr>
            <p:cNvGrpSpPr/>
            <p:nvPr/>
          </p:nvGrpSpPr>
          <p:grpSpPr>
            <a:xfrm>
              <a:off x="495387" y="2989196"/>
              <a:ext cx="10345332" cy="1338848"/>
              <a:chOff x="495387" y="3083819"/>
              <a:chExt cx="10345332" cy="1338848"/>
            </a:xfrm>
          </p:grpSpPr>
          <p:sp>
            <p:nvSpPr>
              <p:cNvPr id="83" name="Rectangle 82">
                <a:extLst>
                  <a:ext uri="{FF2B5EF4-FFF2-40B4-BE49-F238E27FC236}">
                    <a16:creationId xmlns:a16="http://schemas.microsoft.com/office/drawing/2014/main" id="{353720CB-1565-2120-016D-916EF0E04487}"/>
                  </a:ext>
                </a:extLst>
              </p:cNvPr>
              <p:cNvSpPr/>
              <p:nvPr/>
            </p:nvSpPr>
            <p:spPr>
              <a:xfrm>
                <a:off x="495387" y="3083819"/>
                <a:ext cx="494261"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r>
                  <a:rPr lang="pt-BR" sz="2400" dirty="0">
                    <a:solidFill>
                      <a:srgbClr val="460073"/>
                    </a:solidFill>
                    <a:latin typeface="Graphik Semibold" panose="020B0703030202060203" pitchFamily="34" charset="0"/>
                  </a:rPr>
                  <a:t>02</a:t>
                </a:r>
              </a:p>
            </p:txBody>
          </p:sp>
          <p:sp>
            <p:nvSpPr>
              <p:cNvPr id="84" name="Rectangle 83">
                <a:extLst>
                  <a:ext uri="{FF2B5EF4-FFF2-40B4-BE49-F238E27FC236}">
                    <a16:creationId xmlns:a16="http://schemas.microsoft.com/office/drawing/2014/main" id="{8DA56370-DBBD-8FC0-A198-D105A25EC04A}"/>
                  </a:ext>
                </a:extLst>
              </p:cNvPr>
              <p:cNvSpPr/>
              <p:nvPr/>
            </p:nvSpPr>
            <p:spPr>
              <a:xfrm>
                <a:off x="1197752" y="3201620"/>
                <a:ext cx="9642967" cy="2215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pt-BR" sz="1600" dirty="0">
                    <a:solidFill>
                      <a:schemeClr val="tx1"/>
                    </a:solidFill>
                    <a:latin typeface="Graphik Semibold" panose="020B0703030202060203" pitchFamily="34" charset="0"/>
                  </a:rPr>
                  <a:t>Métodos Numéricos resolvem essas </a:t>
                </a:r>
                <a:r>
                  <a:rPr lang="pt-BR" sz="1600" dirty="0" err="1">
                    <a:solidFill>
                      <a:schemeClr val="tx1"/>
                    </a:solidFill>
                    <a:latin typeface="Graphik Semibold" panose="020B0703030202060203" pitchFamily="34" charset="0"/>
                  </a:rPr>
                  <a:t>EDP’s</a:t>
                </a:r>
                <a:r>
                  <a:rPr lang="pt-BR" sz="1600" dirty="0">
                    <a:solidFill>
                      <a:schemeClr val="tx1"/>
                    </a:solidFill>
                    <a:latin typeface="Graphik Semibold" panose="020B0703030202060203" pitchFamily="34" charset="0"/>
                  </a:rPr>
                  <a:t> – mas têm um custo</a:t>
                </a:r>
              </a:p>
            </p:txBody>
          </p:sp>
          <p:sp>
            <p:nvSpPr>
              <p:cNvPr id="82" name="Rectangle 81">
                <a:extLst>
                  <a:ext uri="{FF2B5EF4-FFF2-40B4-BE49-F238E27FC236}">
                    <a16:creationId xmlns:a16="http://schemas.microsoft.com/office/drawing/2014/main" id="{5F931D90-8E2F-7315-103D-F2F60AA9847F}"/>
                  </a:ext>
                </a:extLst>
              </p:cNvPr>
              <p:cNvSpPr/>
              <p:nvPr/>
            </p:nvSpPr>
            <p:spPr>
              <a:xfrm>
                <a:off x="1197752" y="3607059"/>
                <a:ext cx="9642967" cy="8156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71450" indent="-171450" defTabSz="228594">
                  <a:spcAft>
                    <a:spcPts val="600"/>
                  </a:spcAft>
                  <a:buClr>
                    <a:srgbClr val="A100FF"/>
                  </a:buClr>
                  <a:buFont typeface="Arial" panose="020B0604020202020204" pitchFamily="34" charset="0"/>
                  <a:buChar char="•"/>
                </a:pPr>
                <a:r>
                  <a:rPr lang="pt-BR" sz="1200" noProof="1">
                    <a:solidFill>
                      <a:schemeClr val="tx1"/>
                    </a:solidFill>
                    <a:latin typeface="Graphik" panose="020B0503030202060203" pitchFamily="34" charset="77"/>
                  </a:rPr>
                  <a:t>Para resolver essas equações, métodos numéricos como o Métodos dos Elementos Finitos (FEM) e o Método dos Elementos Virtuais (VEM) são indispensáveis.</a:t>
                </a:r>
              </a:p>
              <a:p>
                <a:pPr marL="171450" indent="-171450" defTabSz="228594">
                  <a:spcAft>
                    <a:spcPts val="600"/>
                  </a:spcAft>
                  <a:buClr>
                    <a:srgbClr val="A100FF"/>
                  </a:buClr>
                  <a:buFont typeface="Arial" panose="020B0604020202020204" pitchFamily="34" charset="0"/>
                  <a:buChar char="•"/>
                </a:pPr>
                <a:r>
                  <a:rPr lang="pt-BR" sz="1200" noProof="1">
                    <a:solidFill>
                      <a:schemeClr val="tx1"/>
                    </a:solidFill>
                    <a:latin typeface="Graphik" panose="020B0503030202060203" pitchFamily="34" charset="77"/>
                  </a:rPr>
                  <a:t>Eles permitem tratar geometrias complexas e obter soluções precisas. No entanto, o custo computacional cresce rapidamente quando a malha precisa ser refinada ou quando muitos casos precisam ser analisados.</a:t>
                </a:r>
              </a:p>
            </p:txBody>
          </p:sp>
        </p:grpSp>
        <p:grpSp>
          <p:nvGrpSpPr>
            <p:cNvPr id="92" name="Group 91">
              <a:extLst>
                <a:ext uri="{FF2B5EF4-FFF2-40B4-BE49-F238E27FC236}">
                  <a16:creationId xmlns:a16="http://schemas.microsoft.com/office/drawing/2014/main" id="{062F69E7-8CA4-3F9E-8ADF-62B0E16A5F27}"/>
                </a:ext>
              </a:extLst>
            </p:cNvPr>
            <p:cNvGrpSpPr/>
            <p:nvPr/>
          </p:nvGrpSpPr>
          <p:grpSpPr>
            <a:xfrm>
              <a:off x="495387" y="4512575"/>
              <a:ext cx="10345332" cy="1338848"/>
              <a:chOff x="495387" y="4512575"/>
              <a:chExt cx="10345332" cy="1338848"/>
            </a:xfrm>
          </p:grpSpPr>
          <p:sp>
            <p:nvSpPr>
              <p:cNvPr id="88" name="Rectangle 87">
                <a:extLst>
                  <a:ext uri="{FF2B5EF4-FFF2-40B4-BE49-F238E27FC236}">
                    <a16:creationId xmlns:a16="http://schemas.microsoft.com/office/drawing/2014/main" id="{E3C55835-FEFA-8742-2785-B8D8752E5741}"/>
                  </a:ext>
                </a:extLst>
              </p:cNvPr>
              <p:cNvSpPr/>
              <p:nvPr/>
            </p:nvSpPr>
            <p:spPr>
              <a:xfrm>
                <a:off x="495387" y="4512575"/>
                <a:ext cx="494261"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r>
                  <a:rPr lang="pt-BR" sz="2400" dirty="0">
                    <a:solidFill>
                      <a:srgbClr val="460073"/>
                    </a:solidFill>
                    <a:latin typeface="Graphik Semibold" panose="020B0703030202060203" pitchFamily="34" charset="0"/>
                  </a:rPr>
                  <a:t>03</a:t>
                </a:r>
              </a:p>
            </p:txBody>
          </p:sp>
          <p:sp>
            <p:nvSpPr>
              <p:cNvPr id="89" name="Rectangle 88">
                <a:extLst>
                  <a:ext uri="{FF2B5EF4-FFF2-40B4-BE49-F238E27FC236}">
                    <a16:creationId xmlns:a16="http://schemas.microsoft.com/office/drawing/2014/main" id="{7864276F-5578-47AD-03DF-CA1F2CE98C7E}"/>
                  </a:ext>
                </a:extLst>
              </p:cNvPr>
              <p:cNvSpPr/>
              <p:nvPr/>
            </p:nvSpPr>
            <p:spPr>
              <a:xfrm>
                <a:off x="1197752" y="4630376"/>
                <a:ext cx="9642967" cy="2215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pt-BR" sz="1600" dirty="0" err="1">
                    <a:solidFill>
                      <a:schemeClr val="tx1"/>
                    </a:solidFill>
                    <a:latin typeface="Graphik Semibold" panose="020B0703030202060203" pitchFamily="34" charset="0"/>
                  </a:rPr>
                  <a:t>Deep</a:t>
                </a:r>
                <a:r>
                  <a:rPr lang="pt-BR" sz="1600" dirty="0">
                    <a:solidFill>
                      <a:schemeClr val="tx1"/>
                    </a:solidFill>
                    <a:latin typeface="Graphik Semibold" panose="020B0703030202060203" pitchFamily="34" charset="0"/>
                  </a:rPr>
                  <a:t> Learning surge como alternativa rápida – mas também tem limitações</a:t>
                </a:r>
              </a:p>
            </p:txBody>
          </p:sp>
          <p:sp>
            <p:nvSpPr>
              <p:cNvPr id="87" name="Rectangle 86">
                <a:extLst>
                  <a:ext uri="{FF2B5EF4-FFF2-40B4-BE49-F238E27FC236}">
                    <a16:creationId xmlns:a16="http://schemas.microsoft.com/office/drawing/2014/main" id="{240916D7-B725-EFCC-0BBE-127BBA1DE306}"/>
                  </a:ext>
                </a:extLst>
              </p:cNvPr>
              <p:cNvSpPr/>
              <p:nvPr/>
            </p:nvSpPr>
            <p:spPr>
              <a:xfrm>
                <a:off x="1197752" y="5035815"/>
                <a:ext cx="9642967" cy="8156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71450" indent="-171450" defTabSz="228594">
                  <a:spcAft>
                    <a:spcPts val="600"/>
                  </a:spcAft>
                  <a:buClr>
                    <a:srgbClr val="A100FF"/>
                  </a:buClr>
                  <a:buFont typeface="Arial" panose="020B0604020202020204" pitchFamily="34" charset="0"/>
                  <a:buChar char="•"/>
                </a:pPr>
                <a:r>
                  <a:rPr lang="pt-BR" sz="1200" noProof="1">
                    <a:solidFill>
                      <a:schemeClr val="tx1"/>
                    </a:solidFill>
                    <a:latin typeface="Graphik" panose="020B0503030202060203" pitchFamily="34" charset="77"/>
                  </a:rPr>
                  <a:t>Ao mesmo tempo, métodos de Deep Learning têm se mostrado capazes de aproximar soluções de forma extremamente rápida, o que é muito atraente quando o custo numérico dos métodos tradicionais se torna elevado.</a:t>
                </a:r>
              </a:p>
              <a:p>
                <a:pPr marL="171450" indent="-171450" defTabSz="228594">
                  <a:spcAft>
                    <a:spcPts val="600"/>
                  </a:spcAft>
                  <a:buClr>
                    <a:srgbClr val="A100FF"/>
                  </a:buClr>
                  <a:buFont typeface="Arial" panose="020B0604020202020204" pitchFamily="34" charset="0"/>
                  <a:buChar char="•"/>
                </a:pPr>
                <a:r>
                  <a:rPr lang="pt-BR" sz="1200" noProof="1">
                    <a:solidFill>
                      <a:schemeClr val="tx1"/>
                    </a:solidFill>
                    <a:latin typeface="Graphik" panose="020B0503030202060203" pitchFamily="34" charset="77"/>
                  </a:rPr>
                  <a:t>Porém, redes neurais só funcionam bem quando são treinadas com dados de alta qualidade, e é fundamental saber quando suas previsões são ou não confiáveis.</a:t>
                </a:r>
              </a:p>
            </p:txBody>
          </p:sp>
        </p:grpSp>
      </p:grpSp>
    </p:spTree>
    <p:extLst>
      <p:ext uri="{BB962C8B-B14F-4D97-AF65-F5344CB8AC3E}">
        <p14:creationId xmlns:p14="http://schemas.microsoft.com/office/powerpoint/2010/main" val="305124923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BDF38F30-979D-8976-8DD9-F7F1A75DBC8A}"/>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0A9960F-32D7-92B6-8F76-3A6F52E6C58E}"/>
              </a:ext>
            </a:extLst>
          </p:cNvPr>
          <p:cNvGraphicFramePr>
            <a:graphicFrameLocks noChangeAspect="1"/>
          </p:cNvGraphicFramePr>
          <p:nvPr>
            <p:custDataLst>
              <p:tags r:id="rId1"/>
            </p:custDataLst>
            <p:extLst>
              <p:ext uri="{D42A27DB-BD31-4B8C-83A1-F6EECF244321}">
                <p14:modId xmlns:p14="http://schemas.microsoft.com/office/powerpoint/2010/main" val="32007262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3" name="think-cell data - do not delete" hidden="1">
                        <a:extLst>
                          <a:ext uri="{FF2B5EF4-FFF2-40B4-BE49-F238E27FC236}">
                            <a16:creationId xmlns:a16="http://schemas.microsoft.com/office/drawing/2014/main" id="{D0A9960F-32D7-92B6-8F76-3A6F52E6C58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BBE6969A-9198-D794-7A2C-1DC16CECF0DF}"/>
              </a:ext>
            </a:extLst>
          </p:cNvPr>
          <p:cNvSpPr>
            <a:spLocks noGrp="1"/>
          </p:cNvSpPr>
          <p:nvPr>
            <p:ph type="title"/>
          </p:nvPr>
        </p:nvSpPr>
        <p:spPr>
          <a:xfrm>
            <a:off x="554569" y="549276"/>
            <a:ext cx="4618998" cy="393954"/>
          </a:xfrm>
        </p:spPr>
        <p:txBody>
          <a:bodyPr vert="horz"/>
          <a:lstStyle/>
          <a:p>
            <a:r>
              <a:rPr lang="pt-BR" noProof="1"/>
              <a:t>Place headline here #5</a:t>
            </a:r>
          </a:p>
        </p:txBody>
      </p:sp>
      <p:sp>
        <p:nvSpPr>
          <p:cNvPr id="7" name="Marcador de texto 6">
            <a:extLst>
              <a:ext uri="{FF2B5EF4-FFF2-40B4-BE49-F238E27FC236}">
                <a16:creationId xmlns:a16="http://schemas.microsoft.com/office/drawing/2014/main" id="{5588F4FA-8D9B-FF78-7BAE-A96E54925C75}"/>
              </a:ext>
            </a:extLst>
          </p:cNvPr>
          <p:cNvSpPr>
            <a:spLocks noGrp="1"/>
          </p:cNvSpPr>
          <p:nvPr>
            <p:ph type="body" sz="quarter" idx="4294967295"/>
          </p:nvPr>
        </p:nvSpPr>
        <p:spPr>
          <a:xfrm>
            <a:off x="554568" y="1740737"/>
            <a:ext cx="4618998" cy="2820136"/>
          </a:xfrm>
        </p:spPr>
        <p:txBody>
          <a:bodyPr/>
          <a:lstStyle/>
          <a:p>
            <a:pPr lvl="0"/>
            <a:r>
              <a:rPr lang="pt-BR" noProof="1"/>
              <a:t>Place sub-headline here in Graphik, indent for other levels</a:t>
            </a:r>
          </a:p>
          <a:p>
            <a:pPr lvl="1"/>
            <a:r>
              <a:rPr lang="pt-BR" noProof="1"/>
              <a:t>Second level </a:t>
            </a:r>
          </a:p>
          <a:p>
            <a:pPr lvl="2"/>
            <a:r>
              <a:rPr lang="pt-BR" noProof="1"/>
              <a:t>Third level bullet </a:t>
            </a:r>
          </a:p>
          <a:p>
            <a:pPr lvl="3"/>
            <a:r>
              <a:rPr lang="pt-BR" noProof="1"/>
              <a:t>Fourth level bullet</a:t>
            </a:r>
          </a:p>
          <a:p>
            <a:pPr lvl="4"/>
            <a:r>
              <a:rPr lang="pt-BR" noProof="1"/>
              <a:t>Fifth level bullet</a:t>
            </a:r>
          </a:p>
        </p:txBody>
      </p:sp>
      <p:pic>
        <p:nvPicPr>
          <p:cNvPr id="8" name="Picture Placeholder 7">
            <a:extLst>
              <a:ext uri="{FF2B5EF4-FFF2-40B4-BE49-F238E27FC236}">
                <a16:creationId xmlns:a16="http://schemas.microsoft.com/office/drawing/2014/main" id="{7BC3ACB7-DCEF-C08D-D87C-CF56DADD79C4}"/>
              </a:ext>
              <a:ext uri="{C183D7F6-B498-43B3-948B-1728B52AA6E4}">
                <adec:decorative xmlns:adec="http://schemas.microsoft.com/office/drawing/2017/decorative" val="1"/>
              </a:ext>
            </a:extLst>
          </p:cNvPr>
          <p:cNvPicPr>
            <a:picLocks noGrp="1" noChangeAspect="1"/>
          </p:cNvPicPr>
          <p:nvPr>
            <p:ph type="pic" idx="1"/>
          </p:nvPr>
        </p:nvPicPr>
        <p:blipFill>
          <a:blip r:embed="rId6" cstate="screen">
            <a:extLst>
              <a:ext uri="{28A0092B-C50C-407E-A947-70E740481C1C}">
                <a14:useLocalDpi xmlns:a14="http://schemas.microsoft.com/office/drawing/2010/main"/>
              </a:ext>
            </a:extLst>
          </a:blip>
          <a:srcRect/>
          <a:stretch/>
        </p:blipFill>
        <p:spPr/>
      </p:pic>
    </p:spTree>
    <p:extLst>
      <p:ext uri="{BB962C8B-B14F-4D97-AF65-F5344CB8AC3E}">
        <p14:creationId xmlns:p14="http://schemas.microsoft.com/office/powerpoint/2010/main" val="24440322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80DEE778-2D8F-48B4-36B7-5FE1686DED96}"/>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6FB4AC5-769D-DB7C-EE18-39A55B6D8767}"/>
              </a:ext>
            </a:extLst>
          </p:cNvPr>
          <p:cNvGraphicFramePr>
            <a:graphicFrameLocks noChangeAspect="1"/>
          </p:cNvGraphicFramePr>
          <p:nvPr>
            <p:custDataLst>
              <p:tags r:id="rId1"/>
            </p:custDataLst>
            <p:extLst>
              <p:ext uri="{D42A27DB-BD31-4B8C-83A1-F6EECF244321}">
                <p14:modId xmlns:p14="http://schemas.microsoft.com/office/powerpoint/2010/main" val="26949950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4" name="think-cell data - do not delete" hidden="1">
                        <a:extLst>
                          <a:ext uri="{FF2B5EF4-FFF2-40B4-BE49-F238E27FC236}">
                            <a16:creationId xmlns:a16="http://schemas.microsoft.com/office/drawing/2014/main" id="{96FB4AC5-769D-DB7C-EE18-39A55B6D87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A0DA1237-7C04-EA82-77E8-7DC5A72D6479}"/>
              </a:ext>
            </a:extLst>
          </p:cNvPr>
          <p:cNvSpPr>
            <a:spLocks noGrp="1"/>
          </p:cNvSpPr>
          <p:nvPr>
            <p:ph type="title"/>
          </p:nvPr>
        </p:nvSpPr>
        <p:spPr>
          <a:xfrm>
            <a:off x="6533256" y="1354138"/>
            <a:ext cx="4595950" cy="1034129"/>
          </a:xfrm>
        </p:spPr>
        <p:txBody>
          <a:bodyPr vert="horz"/>
          <a:lstStyle/>
          <a:p>
            <a:r>
              <a:rPr lang="pt-BR" noProof="1"/>
              <a:t>Place headline here #6</a:t>
            </a:r>
          </a:p>
        </p:txBody>
      </p:sp>
      <p:sp>
        <p:nvSpPr>
          <p:cNvPr id="3" name="Marcador de texto 2">
            <a:extLst>
              <a:ext uri="{FF2B5EF4-FFF2-40B4-BE49-F238E27FC236}">
                <a16:creationId xmlns:a16="http://schemas.microsoft.com/office/drawing/2014/main" id="{E4429494-836C-184C-EB4D-402209F30EF6}"/>
              </a:ext>
            </a:extLst>
          </p:cNvPr>
          <p:cNvSpPr>
            <a:spLocks noGrp="1"/>
          </p:cNvSpPr>
          <p:nvPr>
            <p:ph type="body" sz="quarter" idx="15"/>
          </p:nvPr>
        </p:nvSpPr>
        <p:spPr>
          <a:xfrm>
            <a:off x="6533256" y="2662862"/>
            <a:ext cx="4684835" cy="3598238"/>
          </a:xfrm>
        </p:spPr>
        <p:txBody>
          <a:bodyPr/>
          <a:lstStyle/>
          <a:p>
            <a:pPr lvl="0"/>
            <a:r>
              <a:rPr lang="pt-BR" noProof="1"/>
              <a:t>Place sub-headline here in Graphik, indent for other levels</a:t>
            </a:r>
          </a:p>
          <a:p>
            <a:pPr lvl="1"/>
            <a:r>
              <a:rPr lang="pt-BR" noProof="1"/>
              <a:t>Second level </a:t>
            </a:r>
          </a:p>
          <a:p>
            <a:pPr lvl="2"/>
            <a:r>
              <a:rPr lang="pt-BR" noProof="1"/>
              <a:t>Third level bullet </a:t>
            </a:r>
          </a:p>
          <a:p>
            <a:pPr lvl="3"/>
            <a:r>
              <a:rPr lang="pt-BR" noProof="1"/>
              <a:t>Fourth level bullet </a:t>
            </a:r>
          </a:p>
          <a:p>
            <a:pPr lvl="4"/>
            <a:r>
              <a:rPr lang="pt-BR" noProof="1"/>
              <a:t>Fifth level bullet </a:t>
            </a:r>
          </a:p>
        </p:txBody>
      </p:sp>
      <p:pic>
        <p:nvPicPr>
          <p:cNvPr id="13" name="Picture Placeholder 12">
            <a:extLst>
              <a:ext uri="{FF2B5EF4-FFF2-40B4-BE49-F238E27FC236}">
                <a16:creationId xmlns:a16="http://schemas.microsoft.com/office/drawing/2014/main" id="{FABFCD0A-8920-5058-F2E0-E36307704BE1}"/>
              </a:ext>
              <a:ext uri="{C183D7F6-B498-43B3-948B-1728B52AA6E4}">
                <adec:decorative xmlns:adec="http://schemas.microsoft.com/office/drawing/2017/decorative" val="1"/>
              </a:ext>
            </a:extLst>
          </p:cNvPr>
          <p:cNvPicPr>
            <a:picLocks noGrp="1" noChangeAspect="1"/>
          </p:cNvPicPr>
          <p:nvPr>
            <p:ph type="pic" sz="quarter" idx="16"/>
          </p:nvPr>
        </p:nvPicPr>
        <p:blipFill>
          <a:blip r:embed="rId6" cstate="screen">
            <a:extLst>
              <a:ext uri="{28A0092B-C50C-407E-A947-70E740481C1C}">
                <a14:useLocalDpi xmlns:a14="http://schemas.microsoft.com/office/drawing/2010/main"/>
              </a:ext>
            </a:extLst>
          </a:blip>
          <a:srcRect t="12" b="12"/>
          <a:stretch/>
        </p:blipFill>
        <p:spPr>
          <a:xfrm>
            <a:off x="0" y="549275"/>
            <a:ext cx="6007100" cy="5561126"/>
          </a:xfrm>
        </p:spPr>
      </p:pic>
    </p:spTree>
    <p:extLst>
      <p:ext uri="{BB962C8B-B14F-4D97-AF65-F5344CB8AC3E}">
        <p14:creationId xmlns:p14="http://schemas.microsoft.com/office/powerpoint/2010/main" val="359269196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147C46EB-8087-25E7-6A62-5C76CB40150B}"/>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7E44F6E-F35C-4029-2425-F4B0618EF368}"/>
              </a:ext>
            </a:extLst>
          </p:cNvPr>
          <p:cNvGraphicFramePr>
            <a:graphicFrameLocks noChangeAspect="1"/>
          </p:cNvGraphicFramePr>
          <p:nvPr>
            <p:custDataLst>
              <p:tags r:id="rId1"/>
            </p:custDataLst>
            <p:extLst>
              <p:ext uri="{D42A27DB-BD31-4B8C-83A1-F6EECF244321}">
                <p14:modId xmlns:p14="http://schemas.microsoft.com/office/powerpoint/2010/main" val="3067833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4" name="think-cell data - do not delete" hidden="1">
                        <a:extLst>
                          <a:ext uri="{FF2B5EF4-FFF2-40B4-BE49-F238E27FC236}">
                            <a16:creationId xmlns:a16="http://schemas.microsoft.com/office/drawing/2014/main" id="{A7E44F6E-F35C-4029-2425-F4B0618EF3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3F51F23C-7073-ED31-C1A8-28977D9106A5}"/>
              </a:ext>
            </a:extLst>
          </p:cNvPr>
          <p:cNvSpPr>
            <a:spLocks noGrp="1"/>
          </p:cNvSpPr>
          <p:nvPr>
            <p:ph type="title"/>
          </p:nvPr>
        </p:nvSpPr>
        <p:spPr>
          <a:xfrm>
            <a:off x="6533256" y="1354138"/>
            <a:ext cx="4595950" cy="1034129"/>
          </a:xfrm>
        </p:spPr>
        <p:txBody>
          <a:bodyPr vert="horz"/>
          <a:lstStyle/>
          <a:p>
            <a:r>
              <a:rPr lang="pt-BR" noProof="1"/>
              <a:t>Place headline here #7</a:t>
            </a:r>
          </a:p>
        </p:txBody>
      </p:sp>
      <p:pic>
        <p:nvPicPr>
          <p:cNvPr id="21" name="Picture Placeholder 20">
            <a:extLst>
              <a:ext uri="{FF2B5EF4-FFF2-40B4-BE49-F238E27FC236}">
                <a16:creationId xmlns:a16="http://schemas.microsoft.com/office/drawing/2014/main" id="{28F79EE0-E804-44BF-B17E-2C70E7704970}"/>
              </a:ext>
              <a:ext uri="{C183D7F6-B498-43B3-948B-1728B52AA6E4}">
                <adec:decorative xmlns:adec="http://schemas.microsoft.com/office/drawing/2017/decorative" val="1"/>
              </a:ext>
            </a:extLst>
          </p:cNvPr>
          <p:cNvPicPr>
            <a:picLocks noGrp="1" noChangeAspect="1"/>
          </p:cNvPicPr>
          <p:nvPr>
            <p:ph type="pic" sz="quarter" idx="16"/>
          </p:nvPr>
        </p:nvPicPr>
        <p:blipFill>
          <a:blip r:embed="rId6" cstate="screen">
            <a:extLst>
              <a:ext uri="{28A0092B-C50C-407E-A947-70E740481C1C}">
                <a14:useLocalDpi xmlns:a14="http://schemas.microsoft.com/office/drawing/2010/main"/>
              </a:ext>
            </a:extLst>
          </a:blip>
          <a:srcRect t="59" b="59"/>
          <a:stretch/>
        </p:blipFill>
        <p:spPr>
          <a:xfrm>
            <a:off x="0" y="549275"/>
            <a:ext cx="6007099" cy="5561126"/>
          </a:xfrm>
        </p:spPr>
      </p:pic>
      <p:sp>
        <p:nvSpPr>
          <p:cNvPr id="3" name="Marcador de texto 2">
            <a:extLst>
              <a:ext uri="{FF2B5EF4-FFF2-40B4-BE49-F238E27FC236}">
                <a16:creationId xmlns:a16="http://schemas.microsoft.com/office/drawing/2014/main" id="{B64EA214-BFF7-6D09-CF3B-E909448C80C7}"/>
              </a:ext>
            </a:extLst>
          </p:cNvPr>
          <p:cNvSpPr>
            <a:spLocks noGrp="1"/>
          </p:cNvSpPr>
          <p:nvPr>
            <p:ph type="body" sz="quarter" idx="15"/>
          </p:nvPr>
        </p:nvSpPr>
        <p:spPr>
          <a:xfrm>
            <a:off x="6533256" y="2662862"/>
            <a:ext cx="4684835" cy="3598238"/>
          </a:xfrm>
        </p:spPr>
        <p:txBody>
          <a:bodyPr/>
          <a:lstStyle/>
          <a:p>
            <a:pPr lvl="0"/>
            <a:r>
              <a:rPr lang="pt-BR" noProof="1"/>
              <a:t>Place sub-headline here in Graphik, indent for other levels</a:t>
            </a:r>
          </a:p>
          <a:p>
            <a:pPr lvl="1"/>
            <a:r>
              <a:rPr lang="pt-BR" noProof="1"/>
              <a:t>Second level </a:t>
            </a:r>
          </a:p>
          <a:p>
            <a:pPr lvl="2"/>
            <a:r>
              <a:rPr lang="pt-BR" noProof="1"/>
              <a:t>Third level bullet </a:t>
            </a:r>
          </a:p>
          <a:p>
            <a:pPr lvl="3"/>
            <a:r>
              <a:rPr lang="pt-BR" noProof="1"/>
              <a:t>Fourth level bullet </a:t>
            </a:r>
          </a:p>
          <a:p>
            <a:pPr lvl="4"/>
            <a:r>
              <a:rPr lang="pt-BR" noProof="1"/>
              <a:t>Fifth level bullet </a:t>
            </a:r>
          </a:p>
        </p:txBody>
      </p:sp>
      <p:sp>
        <p:nvSpPr>
          <p:cNvPr id="8" name="TextBox 7">
            <a:extLst>
              <a:ext uri="{FF2B5EF4-FFF2-40B4-BE49-F238E27FC236}">
                <a16:creationId xmlns:a16="http://schemas.microsoft.com/office/drawing/2014/main" id="{BD65889D-2E92-5042-B58F-CD53C9F0E932}"/>
              </a:ext>
              <a:ext uri="{C183D7F6-B498-43B3-948B-1728B52AA6E4}">
                <adec:decorative xmlns:adec="http://schemas.microsoft.com/office/drawing/2017/decorative" val="1"/>
              </a:ext>
            </a:extLst>
          </p:cNvPr>
          <p:cNvSpPr txBox="1"/>
          <p:nvPr/>
        </p:nvSpPr>
        <p:spPr>
          <a:xfrm>
            <a:off x="3640667" y="-609600"/>
            <a:ext cx="0" cy="0"/>
          </a:xfrm>
          <a:prstGeom prst="rect">
            <a:avLst/>
          </a:prstGeom>
          <a:noFill/>
        </p:spPr>
        <p:txBody>
          <a:bodyPr wrap="none" lIns="0" tIns="0" rIns="0" bIns="0" rtlCol="0">
            <a:noAutofit/>
          </a:bodyPr>
          <a:lstStyle/>
          <a:p>
            <a:pPr defTabSz="304792">
              <a:spcAft>
                <a:spcPts val="1600"/>
              </a:spcAft>
            </a:pPr>
            <a:endParaRPr lang="pt-BR" sz="2400" noProof="1"/>
          </a:p>
        </p:txBody>
      </p:sp>
      <p:sp>
        <p:nvSpPr>
          <p:cNvPr id="11" name="TextBox 10">
            <a:extLst>
              <a:ext uri="{FF2B5EF4-FFF2-40B4-BE49-F238E27FC236}">
                <a16:creationId xmlns:a16="http://schemas.microsoft.com/office/drawing/2014/main" id="{BC93710D-A6E2-C79A-A7DF-973E06D4894D}"/>
              </a:ext>
              <a:ext uri="{C183D7F6-B498-43B3-948B-1728B52AA6E4}">
                <adec:decorative xmlns:adec="http://schemas.microsoft.com/office/drawing/2017/decorative" val="1"/>
              </a:ext>
            </a:extLst>
          </p:cNvPr>
          <p:cNvSpPr txBox="1"/>
          <p:nvPr/>
        </p:nvSpPr>
        <p:spPr>
          <a:xfrm>
            <a:off x="6416040" y="-975360"/>
            <a:ext cx="0" cy="0"/>
          </a:xfrm>
          <a:prstGeom prst="rect">
            <a:avLst/>
          </a:prstGeom>
          <a:noFill/>
        </p:spPr>
        <p:txBody>
          <a:bodyPr wrap="none" lIns="0" tIns="0" rIns="0" bIns="0" rtlCol="0">
            <a:noAutofit/>
          </a:bodyPr>
          <a:lstStyle/>
          <a:p>
            <a:pPr defTabSz="304792">
              <a:spcAft>
                <a:spcPts val="1600"/>
              </a:spcAft>
            </a:pPr>
            <a:endParaRPr lang="pt-BR" sz="2400" noProof="1"/>
          </a:p>
        </p:txBody>
      </p:sp>
    </p:spTree>
    <p:extLst>
      <p:ext uri="{BB962C8B-B14F-4D97-AF65-F5344CB8AC3E}">
        <p14:creationId xmlns:p14="http://schemas.microsoft.com/office/powerpoint/2010/main" val="265361224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C9AA6DA-F0F1-C3C1-D895-B9CD15F1CD7E}"/>
              </a:ext>
            </a:extLst>
          </p:cNvPr>
          <p:cNvGraphicFramePr>
            <a:graphicFrameLocks noChangeAspect="1"/>
          </p:cNvGraphicFramePr>
          <p:nvPr>
            <p:custDataLst>
              <p:tags r:id="rId1"/>
            </p:custDataLst>
            <p:extLst>
              <p:ext uri="{D42A27DB-BD31-4B8C-83A1-F6EECF244321}">
                <p14:modId xmlns:p14="http://schemas.microsoft.com/office/powerpoint/2010/main" val="2623110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3" name="think-cell data - do not delete" hidden="1">
                        <a:extLst>
                          <a:ext uri="{FF2B5EF4-FFF2-40B4-BE49-F238E27FC236}">
                            <a16:creationId xmlns:a16="http://schemas.microsoft.com/office/drawing/2014/main" id="{4C9AA6DA-F0F1-C3C1-D895-B9CD15F1CD7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DF68AAD8-8CFC-6311-1FB5-3DDECF5C498D}"/>
              </a:ext>
            </a:extLst>
          </p:cNvPr>
          <p:cNvSpPr>
            <a:spLocks noGrp="1"/>
          </p:cNvSpPr>
          <p:nvPr>
            <p:ph type="title"/>
          </p:nvPr>
        </p:nvSpPr>
        <p:spPr>
          <a:xfrm>
            <a:off x="556467" y="572600"/>
            <a:ext cx="11084672" cy="393954"/>
          </a:xfrm>
        </p:spPr>
        <p:txBody>
          <a:bodyPr vert="horz"/>
          <a:lstStyle/>
          <a:p>
            <a:r>
              <a:rPr lang="pt-BR" noProof="1"/>
              <a:t>Place headline in Graphik semibold #8</a:t>
            </a:r>
          </a:p>
        </p:txBody>
      </p:sp>
      <p:sp>
        <p:nvSpPr>
          <p:cNvPr id="9" name="Content Placeholder 8">
            <a:extLst>
              <a:ext uri="{FF2B5EF4-FFF2-40B4-BE49-F238E27FC236}">
                <a16:creationId xmlns:a16="http://schemas.microsoft.com/office/drawing/2014/main" id="{F9C165F7-A0D6-91E3-61DD-1F0753896D97}"/>
              </a:ext>
            </a:extLst>
          </p:cNvPr>
          <p:cNvSpPr>
            <a:spLocks noGrp="1"/>
          </p:cNvSpPr>
          <p:nvPr>
            <p:ph idx="1"/>
          </p:nvPr>
        </p:nvSpPr>
        <p:spPr/>
        <p:txBody>
          <a:bodyPr/>
          <a:lstStyle/>
          <a:p>
            <a:pPr lvl="0"/>
            <a:r>
              <a:rPr lang="pt-BR" noProof="1"/>
              <a:t>First level (bullet)</a:t>
            </a:r>
          </a:p>
          <a:p>
            <a:pPr lvl="1"/>
            <a:r>
              <a:rPr lang="pt-BR" noProof="1"/>
              <a:t>Second level (bullet)</a:t>
            </a:r>
          </a:p>
          <a:p>
            <a:pPr lvl="2"/>
            <a:r>
              <a:rPr lang="pt-BR" noProof="1"/>
              <a:t>Third level (bullet)</a:t>
            </a:r>
          </a:p>
          <a:p>
            <a:pPr lvl="3"/>
            <a:r>
              <a:rPr lang="pt-BR" noProof="1"/>
              <a:t>Fourth level (bullet)</a:t>
            </a:r>
          </a:p>
          <a:p>
            <a:pPr lvl="4"/>
            <a:r>
              <a:rPr lang="pt-BR" noProof="1"/>
              <a:t>Fifth level (bullet)</a:t>
            </a:r>
          </a:p>
          <a:p>
            <a:pPr lvl="5"/>
            <a:r>
              <a:rPr lang="pt-BR" noProof="1"/>
              <a:t>Sixth level (copy)</a:t>
            </a:r>
          </a:p>
          <a:p>
            <a:pPr lvl="6"/>
            <a:r>
              <a:rPr lang="pt-BR" noProof="1"/>
              <a:t>Seventh level (small copy)</a:t>
            </a:r>
          </a:p>
          <a:p>
            <a:pPr lvl="8"/>
            <a:r>
              <a:rPr lang="pt-BR" noProof="1"/>
              <a:t>Ninth level (footnotes and citations)</a:t>
            </a:r>
          </a:p>
          <a:p>
            <a:endParaRPr lang="pt-BR" noProof="1"/>
          </a:p>
          <a:p>
            <a:endParaRPr lang="pt-BR" noProof="1"/>
          </a:p>
        </p:txBody>
      </p:sp>
    </p:spTree>
    <p:extLst>
      <p:ext uri="{BB962C8B-B14F-4D97-AF65-F5344CB8AC3E}">
        <p14:creationId xmlns:p14="http://schemas.microsoft.com/office/powerpoint/2010/main" val="72422557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9070A955-FEC0-A04B-60EE-395F4F70DB25}"/>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A984826-EE96-C02F-0E04-316A416EC695}"/>
              </a:ext>
            </a:extLst>
          </p:cNvPr>
          <p:cNvGraphicFramePr>
            <a:graphicFrameLocks noChangeAspect="1"/>
          </p:cNvGraphicFramePr>
          <p:nvPr>
            <p:custDataLst>
              <p:tags r:id="rId1"/>
            </p:custDataLst>
            <p:extLst>
              <p:ext uri="{D42A27DB-BD31-4B8C-83A1-F6EECF244321}">
                <p14:modId xmlns:p14="http://schemas.microsoft.com/office/powerpoint/2010/main" val="4094616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3" name="think-cell data - do not delete" hidden="1">
                        <a:extLst>
                          <a:ext uri="{FF2B5EF4-FFF2-40B4-BE49-F238E27FC236}">
                            <a16:creationId xmlns:a16="http://schemas.microsoft.com/office/drawing/2014/main" id="{1A984826-EE96-C02F-0E04-316A416EC6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4CAA750F-A479-346E-3D13-5C1105147AEA}"/>
              </a:ext>
            </a:extLst>
          </p:cNvPr>
          <p:cNvSpPr>
            <a:spLocks noGrp="1"/>
          </p:cNvSpPr>
          <p:nvPr>
            <p:ph type="title"/>
          </p:nvPr>
        </p:nvSpPr>
        <p:spPr>
          <a:xfrm>
            <a:off x="556467" y="572600"/>
            <a:ext cx="11084672" cy="393954"/>
          </a:xfrm>
        </p:spPr>
        <p:txBody>
          <a:bodyPr vert="horz"/>
          <a:lstStyle/>
          <a:p>
            <a:r>
              <a:rPr lang="pt-BR" noProof="1"/>
              <a:t>Place headline here in Graphik semibold #9</a:t>
            </a:r>
          </a:p>
        </p:txBody>
      </p:sp>
      <p:sp>
        <p:nvSpPr>
          <p:cNvPr id="9" name="Content Placeholder 8">
            <a:extLst>
              <a:ext uri="{FF2B5EF4-FFF2-40B4-BE49-F238E27FC236}">
                <a16:creationId xmlns:a16="http://schemas.microsoft.com/office/drawing/2014/main" id="{FAA4E793-5C70-C27B-B001-5A077C5418A3}"/>
              </a:ext>
            </a:extLst>
          </p:cNvPr>
          <p:cNvSpPr>
            <a:spLocks noGrp="1"/>
          </p:cNvSpPr>
          <p:nvPr>
            <p:ph idx="1"/>
          </p:nvPr>
        </p:nvSpPr>
        <p:spPr/>
        <p:txBody>
          <a:bodyPr/>
          <a:lstStyle/>
          <a:p>
            <a:pPr lvl="0"/>
            <a:r>
              <a:rPr lang="pt-BR" noProof="1"/>
              <a:t>First level (bullet)</a:t>
            </a:r>
          </a:p>
          <a:p>
            <a:pPr lvl="1"/>
            <a:r>
              <a:rPr lang="pt-BR" noProof="1"/>
              <a:t>Second level (bullet)</a:t>
            </a:r>
          </a:p>
          <a:p>
            <a:pPr lvl="2"/>
            <a:r>
              <a:rPr lang="pt-BR" noProof="1"/>
              <a:t>Third level (bullet)</a:t>
            </a:r>
          </a:p>
          <a:p>
            <a:pPr lvl="3"/>
            <a:r>
              <a:rPr lang="pt-BR" noProof="1"/>
              <a:t>Fourth level (bullet)</a:t>
            </a:r>
          </a:p>
          <a:p>
            <a:pPr lvl="4"/>
            <a:r>
              <a:rPr lang="pt-BR" noProof="1"/>
              <a:t>Fifth level (bullet)</a:t>
            </a:r>
          </a:p>
          <a:p>
            <a:pPr lvl="5"/>
            <a:r>
              <a:rPr lang="pt-BR" noProof="1"/>
              <a:t>Sixth level (copy)</a:t>
            </a:r>
          </a:p>
          <a:p>
            <a:pPr lvl="6"/>
            <a:r>
              <a:rPr lang="pt-BR" noProof="1"/>
              <a:t>Seventh level (small copy)</a:t>
            </a:r>
          </a:p>
          <a:p>
            <a:pPr lvl="8"/>
            <a:r>
              <a:rPr lang="pt-BR" noProof="1"/>
              <a:t>Ninth level (footnotes and citations)</a:t>
            </a:r>
          </a:p>
          <a:p>
            <a:endParaRPr lang="pt-BR" noProof="1"/>
          </a:p>
          <a:p>
            <a:endParaRPr lang="pt-BR" noProof="1"/>
          </a:p>
        </p:txBody>
      </p:sp>
    </p:spTree>
    <p:extLst>
      <p:ext uri="{BB962C8B-B14F-4D97-AF65-F5344CB8AC3E}">
        <p14:creationId xmlns:p14="http://schemas.microsoft.com/office/powerpoint/2010/main" val="16915946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B555257-4462-A49F-8595-E2B978C3A545}"/>
              </a:ext>
            </a:extLst>
          </p:cNvPr>
          <p:cNvGraphicFramePr>
            <a:graphicFrameLocks noChangeAspect="1"/>
          </p:cNvGraphicFramePr>
          <p:nvPr>
            <p:custDataLst>
              <p:tags r:id="rId1"/>
            </p:custDataLst>
            <p:extLst>
              <p:ext uri="{D42A27DB-BD31-4B8C-83A1-F6EECF244321}">
                <p14:modId xmlns:p14="http://schemas.microsoft.com/office/powerpoint/2010/main" val="1264744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3" name="think-cell data - do not delete" hidden="1">
                        <a:extLst>
                          <a:ext uri="{FF2B5EF4-FFF2-40B4-BE49-F238E27FC236}">
                            <a16:creationId xmlns:a16="http://schemas.microsoft.com/office/drawing/2014/main" id="{EB555257-4462-A49F-8595-E2B978C3A5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37A7D939-360F-B75A-6D31-6DC330917D0D}"/>
              </a:ext>
            </a:extLst>
          </p:cNvPr>
          <p:cNvSpPr>
            <a:spLocks noGrp="1"/>
          </p:cNvSpPr>
          <p:nvPr>
            <p:ph type="title"/>
          </p:nvPr>
        </p:nvSpPr>
        <p:spPr>
          <a:xfrm>
            <a:off x="556467" y="572600"/>
            <a:ext cx="11084672" cy="393954"/>
          </a:xfrm>
        </p:spPr>
        <p:txBody>
          <a:bodyPr vert="horz"/>
          <a:lstStyle/>
          <a:p>
            <a:r>
              <a:rPr lang="pt-BR" noProof="1"/>
              <a:t>Place headline here in Graphik semibold #10</a:t>
            </a:r>
          </a:p>
        </p:txBody>
      </p:sp>
      <p:sp>
        <p:nvSpPr>
          <p:cNvPr id="12" name="Text Placeholder 11">
            <a:extLst>
              <a:ext uri="{FF2B5EF4-FFF2-40B4-BE49-F238E27FC236}">
                <a16:creationId xmlns:a16="http://schemas.microsoft.com/office/drawing/2014/main" id="{8BEEDB3D-0FEF-5458-42CF-6D2AE2CC8B4D}"/>
              </a:ext>
            </a:extLst>
          </p:cNvPr>
          <p:cNvSpPr>
            <a:spLocks noGrp="1"/>
          </p:cNvSpPr>
          <p:nvPr>
            <p:ph type="body" sz="quarter" idx="26"/>
          </p:nvPr>
        </p:nvSpPr>
        <p:spPr/>
        <p:txBody>
          <a:bodyPr/>
          <a:lstStyle/>
          <a:p>
            <a:r>
              <a:rPr lang="pt-BR" noProof="1"/>
              <a:t>Place subtitle here in Graphik regular </a:t>
            </a:r>
          </a:p>
        </p:txBody>
      </p:sp>
      <p:sp>
        <p:nvSpPr>
          <p:cNvPr id="9" name="Content Placeholder 8">
            <a:extLst>
              <a:ext uri="{FF2B5EF4-FFF2-40B4-BE49-F238E27FC236}">
                <a16:creationId xmlns:a16="http://schemas.microsoft.com/office/drawing/2014/main" id="{98DBA105-A58D-B249-8E5D-A3E214DECDED}"/>
              </a:ext>
            </a:extLst>
          </p:cNvPr>
          <p:cNvSpPr>
            <a:spLocks noGrp="1"/>
          </p:cNvSpPr>
          <p:nvPr>
            <p:ph idx="1"/>
          </p:nvPr>
        </p:nvSpPr>
        <p:spPr>
          <a:xfrm>
            <a:off x="563411" y="1684021"/>
            <a:ext cx="11077727" cy="4445317"/>
          </a:xfrm>
        </p:spPr>
        <p:txBody>
          <a:bodyPr/>
          <a:lstStyle/>
          <a:p>
            <a:pPr lvl="0"/>
            <a:r>
              <a:rPr lang="pt-BR" noProof="1"/>
              <a:t>First level (bullet)</a:t>
            </a:r>
          </a:p>
          <a:p>
            <a:pPr lvl="1"/>
            <a:r>
              <a:rPr lang="pt-BR" noProof="1"/>
              <a:t>Second level (bullet)</a:t>
            </a:r>
          </a:p>
          <a:p>
            <a:pPr lvl="2"/>
            <a:r>
              <a:rPr lang="pt-BR" noProof="1"/>
              <a:t>Third level (bullet)</a:t>
            </a:r>
          </a:p>
          <a:p>
            <a:pPr lvl="3"/>
            <a:r>
              <a:rPr lang="pt-BR" noProof="1"/>
              <a:t>Fourth level (bullet)</a:t>
            </a:r>
          </a:p>
          <a:p>
            <a:pPr lvl="4"/>
            <a:r>
              <a:rPr lang="pt-BR" noProof="1"/>
              <a:t>Fifth level (bullet)</a:t>
            </a:r>
          </a:p>
          <a:p>
            <a:pPr lvl="5"/>
            <a:r>
              <a:rPr lang="pt-BR" noProof="1"/>
              <a:t>Sixth level (copy)</a:t>
            </a:r>
          </a:p>
          <a:p>
            <a:pPr lvl="6"/>
            <a:r>
              <a:rPr lang="pt-BR" noProof="1"/>
              <a:t>Seventh level (small copy)</a:t>
            </a:r>
          </a:p>
          <a:p>
            <a:pPr lvl="8"/>
            <a:r>
              <a:rPr lang="pt-BR" noProof="1"/>
              <a:t>Ninth level (footnotes and citations)</a:t>
            </a:r>
          </a:p>
          <a:p>
            <a:endParaRPr lang="pt-BR" noProof="1"/>
          </a:p>
          <a:p>
            <a:endParaRPr lang="pt-BR" noProof="1"/>
          </a:p>
        </p:txBody>
      </p:sp>
    </p:spTree>
    <p:extLst>
      <p:ext uri="{BB962C8B-B14F-4D97-AF65-F5344CB8AC3E}">
        <p14:creationId xmlns:p14="http://schemas.microsoft.com/office/powerpoint/2010/main" val="413178120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2B8BE727-17B7-BECA-632C-C1EB46AE08BE}"/>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F5593A8-2712-3F81-D80F-2AE2EAB9C966}"/>
              </a:ext>
            </a:extLst>
          </p:cNvPr>
          <p:cNvGraphicFramePr>
            <a:graphicFrameLocks noChangeAspect="1"/>
          </p:cNvGraphicFramePr>
          <p:nvPr>
            <p:custDataLst>
              <p:tags r:id="rId1"/>
            </p:custDataLst>
            <p:extLst>
              <p:ext uri="{D42A27DB-BD31-4B8C-83A1-F6EECF244321}">
                <p14:modId xmlns:p14="http://schemas.microsoft.com/office/powerpoint/2010/main" val="13573006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3" name="think-cell data - do not delete" hidden="1">
                        <a:extLst>
                          <a:ext uri="{FF2B5EF4-FFF2-40B4-BE49-F238E27FC236}">
                            <a16:creationId xmlns:a16="http://schemas.microsoft.com/office/drawing/2014/main" id="{BF5593A8-2712-3F81-D80F-2AE2EAB9C96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964579B2-78D6-D3BC-9E94-E6BD7B2D1784}"/>
              </a:ext>
            </a:extLst>
          </p:cNvPr>
          <p:cNvSpPr>
            <a:spLocks noGrp="1"/>
          </p:cNvSpPr>
          <p:nvPr>
            <p:ph type="title"/>
          </p:nvPr>
        </p:nvSpPr>
        <p:spPr>
          <a:xfrm>
            <a:off x="556467" y="572600"/>
            <a:ext cx="11084672" cy="393954"/>
          </a:xfrm>
        </p:spPr>
        <p:txBody>
          <a:bodyPr vert="horz"/>
          <a:lstStyle/>
          <a:p>
            <a:r>
              <a:rPr lang="pt-BR" noProof="1"/>
              <a:t>Place headline in Graphik semibold #11</a:t>
            </a:r>
          </a:p>
        </p:txBody>
      </p:sp>
      <p:sp>
        <p:nvSpPr>
          <p:cNvPr id="15" name="Text Placeholder 14">
            <a:extLst>
              <a:ext uri="{FF2B5EF4-FFF2-40B4-BE49-F238E27FC236}">
                <a16:creationId xmlns:a16="http://schemas.microsoft.com/office/drawing/2014/main" id="{D7FB442C-F083-714C-2F6A-07BDE1019BAA}"/>
              </a:ext>
            </a:extLst>
          </p:cNvPr>
          <p:cNvSpPr>
            <a:spLocks noGrp="1"/>
          </p:cNvSpPr>
          <p:nvPr>
            <p:ph type="body" sz="quarter" idx="26"/>
          </p:nvPr>
        </p:nvSpPr>
        <p:spPr/>
        <p:txBody>
          <a:bodyPr/>
          <a:lstStyle/>
          <a:p>
            <a:r>
              <a:rPr lang="pt-BR" noProof="1"/>
              <a:t>Place subtitle here in Graphik regular </a:t>
            </a:r>
          </a:p>
        </p:txBody>
      </p:sp>
      <p:sp>
        <p:nvSpPr>
          <p:cNvPr id="12" name="Content Placeholder 11">
            <a:extLst>
              <a:ext uri="{FF2B5EF4-FFF2-40B4-BE49-F238E27FC236}">
                <a16:creationId xmlns:a16="http://schemas.microsoft.com/office/drawing/2014/main" id="{B7CE8FA3-4A77-AEE7-0725-EA30ABA9AB8F}"/>
              </a:ext>
            </a:extLst>
          </p:cNvPr>
          <p:cNvSpPr>
            <a:spLocks noGrp="1"/>
          </p:cNvSpPr>
          <p:nvPr>
            <p:ph idx="1"/>
          </p:nvPr>
        </p:nvSpPr>
        <p:spPr>
          <a:xfrm>
            <a:off x="563411" y="1684021"/>
            <a:ext cx="11077727" cy="4445317"/>
          </a:xfrm>
        </p:spPr>
        <p:txBody>
          <a:bodyPr/>
          <a:lstStyle/>
          <a:p>
            <a:pPr lvl="0"/>
            <a:r>
              <a:rPr lang="pt-BR" noProof="1"/>
              <a:t>First level (bullet)</a:t>
            </a:r>
          </a:p>
          <a:p>
            <a:pPr lvl="1"/>
            <a:r>
              <a:rPr lang="pt-BR" noProof="1"/>
              <a:t>Second level (bullet)</a:t>
            </a:r>
          </a:p>
          <a:p>
            <a:pPr lvl="2"/>
            <a:r>
              <a:rPr lang="pt-BR" noProof="1"/>
              <a:t>Third level (bullet)</a:t>
            </a:r>
          </a:p>
          <a:p>
            <a:pPr lvl="3"/>
            <a:r>
              <a:rPr lang="pt-BR" noProof="1"/>
              <a:t>Fourth level (bullet)</a:t>
            </a:r>
          </a:p>
          <a:p>
            <a:pPr lvl="4"/>
            <a:r>
              <a:rPr lang="pt-BR" noProof="1"/>
              <a:t>Fifth level (bullet)</a:t>
            </a:r>
          </a:p>
          <a:p>
            <a:pPr lvl="5"/>
            <a:r>
              <a:rPr lang="pt-BR" noProof="1"/>
              <a:t>Sixth level (copy)</a:t>
            </a:r>
          </a:p>
          <a:p>
            <a:pPr lvl="6"/>
            <a:r>
              <a:rPr lang="pt-BR" noProof="1"/>
              <a:t>Seventh level (small copy)</a:t>
            </a:r>
          </a:p>
          <a:p>
            <a:pPr lvl="8"/>
            <a:r>
              <a:rPr lang="pt-BR" noProof="1"/>
              <a:t>Ninth level (footnotes and citations)</a:t>
            </a:r>
          </a:p>
          <a:p>
            <a:endParaRPr lang="pt-BR" noProof="1"/>
          </a:p>
          <a:p>
            <a:endParaRPr lang="pt-BR" noProof="1"/>
          </a:p>
        </p:txBody>
      </p:sp>
    </p:spTree>
    <p:extLst>
      <p:ext uri="{BB962C8B-B14F-4D97-AF65-F5344CB8AC3E}">
        <p14:creationId xmlns:p14="http://schemas.microsoft.com/office/powerpoint/2010/main" val="364700625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F13214DC-4811-3C21-5DC8-FC5E85A5652B}"/>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9DD6FA4-7E4C-D9D5-BC89-EE1DD8BD1BBC}"/>
              </a:ext>
            </a:extLst>
          </p:cNvPr>
          <p:cNvGraphicFramePr>
            <a:graphicFrameLocks noChangeAspect="1"/>
          </p:cNvGraphicFramePr>
          <p:nvPr>
            <p:custDataLst>
              <p:tags r:id="rId1"/>
            </p:custDataLst>
            <p:extLst>
              <p:ext uri="{D42A27DB-BD31-4B8C-83A1-F6EECF244321}">
                <p14:modId xmlns:p14="http://schemas.microsoft.com/office/powerpoint/2010/main" val="12685248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3" name="think-cell data - do not delete" hidden="1">
                        <a:extLst>
                          <a:ext uri="{FF2B5EF4-FFF2-40B4-BE49-F238E27FC236}">
                            <a16:creationId xmlns:a16="http://schemas.microsoft.com/office/drawing/2014/main" id="{E9DD6FA4-7E4C-D9D5-BC89-EE1DD8BD1B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51CD1075-7CFC-225A-0118-09253C391190}"/>
              </a:ext>
            </a:extLst>
          </p:cNvPr>
          <p:cNvSpPr>
            <a:spLocks noGrp="1"/>
          </p:cNvSpPr>
          <p:nvPr>
            <p:ph type="title"/>
          </p:nvPr>
        </p:nvSpPr>
        <p:spPr>
          <a:xfrm>
            <a:off x="556467" y="572600"/>
            <a:ext cx="11084672" cy="393954"/>
          </a:xfrm>
        </p:spPr>
        <p:txBody>
          <a:bodyPr vert="horz"/>
          <a:lstStyle/>
          <a:p>
            <a:r>
              <a:rPr lang="pt-BR" noProof="1"/>
              <a:t>Place headline in Graphik semibold #12</a:t>
            </a:r>
          </a:p>
        </p:txBody>
      </p:sp>
      <p:sp>
        <p:nvSpPr>
          <p:cNvPr id="18" name="Content Placeholder 17">
            <a:extLst>
              <a:ext uri="{FF2B5EF4-FFF2-40B4-BE49-F238E27FC236}">
                <a16:creationId xmlns:a16="http://schemas.microsoft.com/office/drawing/2014/main" id="{2C4AC86F-1131-A00D-03D9-E64639C75E8E}"/>
              </a:ext>
            </a:extLst>
          </p:cNvPr>
          <p:cNvSpPr>
            <a:spLocks noGrp="1"/>
          </p:cNvSpPr>
          <p:nvPr>
            <p:ph sz="half" idx="23"/>
          </p:nvPr>
        </p:nvSpPr>
        <p:spPr>
          <a:xfrm>
            <a:off x="563411" y="1371600"/>
            <a:ext cx="5366829" cy="4757738"/>
          </a:xfrm>
        </p:spPr>
        <p:txBody>
          <a:bodyPr/>
          <a:lstStyle/>
          <a:p>
            <a:r>
              <a:rPr lang="pt-BR" noProof="1"/>
              <a:t>First level (bullet)</a:t>
            </a:r>
          </a:p>
          <a:p>
            <a:pPr lvl="1"/>
            <a:r>
              <a:rPr lang="pt-BR" noProof="1"/>
              <a:t>Second level (bullet)</a:t>
            </a:r>
          </a:p>
          <a:p>
            <a:pPr lvl="2"/>
            <a:r>
              <a:rPr lang="pt-BR" noProof="1"/>
              <a:t>Third level (bullet)</a:t>
            </a:r>
          </a:p>
          <a:p>
            <a:pPr lvl="3"/>
            <a:r>
              <a:rPr lang="pt-BR" noProof="1"/>
              <a:t>Fourth level (bullet)</a:t>
            </a:r>
          </a:p>
          <a:p>
            <a:pPr lvl="4"/>
            <a:r>
              <a:rPr lang="pt-BR" noProof="1"/>
              <a:t>Fifth level (bullet)</a:t>
            </a:r>
          </a:p>
          <a:p>
            <a:pPr lvl="5"/>
            <a:r>
              <a:rPr lang="pt-BR" noProof="1"/>
              <a:t>Sixth level (copy)</a:t>
            </a:r>
          </a:p>
          <a:p>
            <a:pPr lvl="6"/>
            <a:r>
              <a:rPr lang="pt-BR" noProof="1"/>
              <a:t>Seventh level (small copy)</a:t>
            </a:r>
          </a:p>
          <a:p>
            <a:pPr lvl="8"/>
            <a:r>
              <a:rPr lang="pt-BR" noProof="1"/>
              <a:t>Ninth level (footnotes and citations)</a:t>
            </a:r>
          </a:p>
          <a:p>
            <a:endParaRPr lang="pt-BR" noProof="1"/>
          </a:p>
          <a:p>
            <a:endParaRPr lang="pt-BR" noProof="1"/>
          </a:p>
        </p:txBody>
      </p:sp>
      <p:sp>
        <p:nvSpPr>
          <p:cNvPr id="20" name="Content Placeholder 19">
            <a:extLst>
              <a:ext uri="{FF2B5EF4-FFF2-40B4-BE49-F238E27FC236}">
                <a16:creationId xmlns:a16="http://schemas.microsoft.com/office/drawing/2014/main" id="{FF72326F-82DC-9411-CDB2-2FF88754B99B}"/>
              </a:ext>
            </a:extLst>
          </p:cNvPr>
          <p:cNvSpPr>
            <a:spLocks noGrp="1"/>
          </p:cNvSpPr>
          <p:nvPr>
            <p:ph sz="half" idx="27"/>
          </p:nvPr>
        </p:nvSpPr>
        <p:spPr>
          <a:xfrm>
            <a:off x="6274309" y="1371600"/>
            <a:ext cx="5366829" cy="4757738"/>
          </a:xfrm>
        </p:spPr>
        <p:txBody>
          <a:bodyPr/>
          <a:lstStyle/>
          <a:p>
            <a:r>
              <a:rPr lang="pt-BR" noProof="1"/>
              <a:t>First level (bullet)</a:t>
            </a:r>
          </a:p>
          <a:p>
            <a:pPr lvl="1"/>
            <a:r>
              <a:rPr lang="pt-BR" noProof="1"/>
              <a:t>Second level (bullet)</a:t>
            </a:r>
          </a:p>
          <a:p>
            <a:pPr lvl="2"/>
            <a:r>
              <a:rPr lang="pt-BR" noProof="1"/>
              <a:t>Third level (bullet)</a:t>
            </a:r>
          </a:p>
          <a:p>
            <a:pPr lvl="3"/>
            <a:r>
              <a:rPr lang="pt-BR" noProof="1"/>
              <a:t>Fourth level (bullet)</a:t>
            </a:r>
          </a:p>
          <a:p>
            <a:pPr lvl="4"/>
            <a:r>
              <a:rPr lang="pt-BR" noProof="1"/>
              <a:t>Fifth level (bullet)</a:t>
            </a:r>
          </a:p>
          <a:p>
            <a:pPr lvl="5"/>
            <a:r>
              <a:rPr lang="pt-BR" noProof="1"/>
              <a:t>Sixth level (copy)</a:t>
            </a:r>
          </a:p>
          <a:p>
            <a:pPr lvl="6"/>
            <a:r>
              <a:rPr lang="pt-BR" noProof="1"/>
              <a:t>Seventh level (small copy)</a:t>
            </a:r>
          </a:p>
          <a:p>
            <a:pPr lvl="8"/>
            <a:r>
              <a:rPr lang="pt-BR" noProof="1"/>
              <a:t>Ninth level (footnotes and citations)</a:t>
            </a:r>
          </a:p>
          <a:p>
            <a:endParaRPr lang="pt-BR" noProof="1"/>
          </a:p>
        </p:txBody>
      </p:sp>
    </p:spTree>
    <p:extLst>
      <p:ext uri="{BB962C8B-B14F-4D97-AF65-F5344CB8AC3E}">
        <p14:creationId xmlns:p14="http://schemas.microsoft.com/office/powerpoint/2010/main" val="417165433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73000BB7-47DB-6067-A762-E1E8469DFDEE}"/>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60E787C-6F4B-C018-3741-8FC843702760}"/>
              </a:ext>
            </a:extLst>
          </p:cNvPr>
          <p:cNvGraphicFramePr>
            <a:graphicFrameLocks noChangeAspect="1"/>
          </p:cNvGraphicFramePr>
          <p:nvPr>
            <p:custDataLst>
              <p:tags r:id="rId1"/>
            </p:custDataLst>
            <p:extLst>
              <p:ext uri="{D42A27DB-BD31-4B8C-83A1-F6EECF244321}">
                <p14:modId xmlns:p14="http://schemas.microsoft.com/office/powerpoint/2010/main" val="2309506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3" name="think-cell data - do not delete" hidden="1">
                        <a:extLst>
                          <a:ext uri="{FF2B5EF4-FFF2-40B4-BE49-F238E27FC236}">
                            <a16:creationId xmlns:a16="http://schemas.microsoft.com/office/drawing/2014/main" id="{660E787C-6F4B-C018-3741-8FC8437027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540FA219-EC0C-55C8-A3B4-2A0C44AF7F05}"/>
              </a:ext>
            </a:extLst>
          </p:cNvPr>
          <p:cNvSpPr>
            <a:spLocks noGrp="1"/>
          </p:cNvSpPr>
          <p:nvPr>
            <p:ph type="title"/>
          </p:nvPr>
        </p:nvSpPr>
        <p:spPr>
          <a:xfrm>
            <a:off x="556467" y="572600"/>
            <a:ext cx="11084672" cy="393954"/>
          </a:xfrm>
        </p:spPr>
        <p:txBody>
          <a:bodyPr vert="horz"/>
          <a:lstStyle/>
          <a:p>
            <a:r>
              <a:rPr lang="pt-BR" noProof="1"/>
              <a:t>Place headline here in Graphik semibold #13</a:t>
            </a:r>
          </a:p>
        </p:txBody>
      </p:sp>
      <p:sp>
        <p:nvSpPr>
          <p:cNvPr id="13" name="Text Placeholder 12">
            <a:extLst>
              <a:ext uri="{FF2B5EF4-FFF2-40B4-BE49-F238E27FC236}">
                <a16:creationId xmlns:a16="http://schemas.microsoft.com/office/drawing/2014/main" id="{6FF4871C-6CCF-D63A-7CE7-EBA569B29DB5}"/>
              </a:ext>
            </a:extLst>
          </p:cNvPr>
          <p:cNvSpPr>
            <a:spLocks noGrp="1"/>
          </p:cNvSpPr>
          <p:nvPr>
            <p:ph type="body" sz="quarter" idx="26"/>
          </p:nvPr>
        </p:nvSpPr>
        <p:spPr/>
        <p:txBody>
          <a:bodyPr/>
          <a:lstStyle/>
          <a:p>
            <a:r>
              <a:rPr lang="pt-BR" noProof="1"/>
              <a:t>Place subtitle here in Graphik regular </a:t>
            </a:r>
          </a:p>
        </p:txBody>
      </p:sp>
      <p:sp>
        <p:nvSpPr>
          <p:cNvPr id="15" name="Content Placeholder 14">
            <a:extLst>
              <a:ext uri="{FF2B5EF4-FFF2-40B4-BE49-F238E27FC236}">
                <a16:creationId xmlns:a16="http://schemas.microsoft.com/office/drawing/2014/main" id="{4D8CB7A9-6C80-36DD-2C1F-D266012E5A40}"/>
              </a:ext>
            </a:extLst>
          </p:cNvPr>
          <p:cNvSpPr>
            <a:spLocks noGrp="1"/>
          </p:cNvSpPr>
          <p:nvPr>
            <p:ph sz="half" idx="23"/>
          </p:nvPr>
        </p:nvSpPr>
        <p:spPr/>
        <p:txBody>
          <a:bodyPr/>
          <a:lstStyle/>
          <a:p>
            <a:pPr lvl="0"/>
            <a:r>
              <a:rPr lang="pt-BR" noProof="1"/>
              <a:t>First level (bullet)</a:t>
            </a:r>
          </a:p>
          <a:p>
            <a:pPr lvl="1"/>
            <a:r>
              <a:rPr lang="pt-BR" noProof="1"/>
              <a:t>Second level (bullet)</a:t>
            </a:r>
          </a:p>
          <a:p>
            <a:pPr lvl="2"/>
            <a:r>
              <a:rPr lang="pt-BR" noProof="1"/>
              <a:t>Third level (bullet)</a:t>
            </a:r>
          </a:p>
          <a:p>
            <a:pPr lvl="3"/>
            <a:r>
              <a:rPr lang="pt-BR" noProof="1"/>
              <a:t>Fourth level (bullet)</a:t>
            </a:r>
          </a:p>
          <a:p>
            <a:pPr lvl="4"/>
            <a:r>
              <a:rPr lang="pt-BR" noProof="1"/>
              <a:t>Fifth level (bullet)</a:t>
            </a:r>
          </a:p>
          <a:p>
            <a:pPr lvl="5"/>
            <a:r>
              <a:rPr lang="pt-BR" noProof="1"/>
              <a:t>Sixth level (copy)</a:t>
            </a:r>
          </a:p>
          <a:p>
            <a:pPr lvl="6"/>
            <a:r>
              <a:rPr lang="pt-BR" noProof="1"/>
              <a:t>Seventh level (small copy)</a:t>
            </a:r>
          </a:p>
          <a:p>
            <a:pPr lvl="8"/>
            <a:r>
              <a:rPr lang="pt-BR" noProof="1"/>
              <a:t>Ninth level (footnotes and citations)</a:t>
            </a:r>
          </a:p>
          <a:p>
            <a:endParaRPr lang="pt-BR" noProof="1"/>
          </a:p>
          <a:p>
            <a:endParaRPr lang="pt-BR" noProof="1"/>
          </a:p>
        </p:txBody>
      </p:sp>
      <p:sp>
        <p:nvSpPr>
          <p:cNvPr id="17" name="Content Placeholder 16">
            <a:extLst>
              <a:ext uri="{FF2B5EF4-FFF2-40B4-BE49-F238E27FC236}">
                <a16:creationId xmlns:a16="http://schemas.microsoft.com/office/drawing/2014/main" id="{0F1AA82A-AE26-3FD8-588C-A0702C509C49}"/>
              </a:ext>
            </a:extLst>
          </p:cNvPr>
          <p:cNvSpPr>
            <a:spLocks noGrp="1"/>
          </p:cNvSpPr>
          <p:nvPr>
            <p:ph sz="half" idx="27"/>
          </p:nvPr>
        </p:nvSpPr>
        <p:spPr/>
        <p:txBody>
          <a:bodyPr/>
          <a:lstStyle/>
          <a:p>
            <a:pPr lvl="0"/>
            <a:r>
              <a:rPr lang="pt-BR" noProof="1"/>
              <a:t>First level (bullet)</a:t>
            </a:r>
          </a:p>
          <a:p>
            <a:pPr lvl="1"/>
            <a:r>
              <a:rPr lang="pt-BR" noProof="1"/>
              <a:t>Second level (bullet)</a:t>
            </a:r>
          </a:p>
          <a:p>
            <a:pPr lvl="2"/>
            <a:r>
              <a:rPr lang="pt-BR" noProof="1"/>
              <a:t>Third level (bullet)</a:t>
            </a:r>
          </a:p>
          <a:p>
            <a:pPr lvl="3"/>
            <a:r>
              <a:rPr lang="pt-BR" noProof="1"/>
              <a:t>Fourth level (bullet)</a:t>
            </a:r>
          </a:p>
          <a:p>
            <a:pPr lvl="4"/>
            <a:r>
              <a:rPr lang="pt-BR" noProof="1"/>
              <a:t>Fifth level (bullet)</a:t>
            </a:r>
          </a:p>
          <a:p>
            <a:pPr lvl="5"/>
            <a:r>
              <a:rPr lang="pt-BR" noProof="1"/>
              <a:t>Sixth level (copy)</a:t>
            </a:r>
          </a:p>
          <a:p>
            <a:pPr lvl="6"/>
            <a:r>
              <a:rPr lang="pt-BR" noProof="1"/>
              <a:t>Seventh level (small copy)</a:t>
            </a:r>
          </a:p>
          <a:p>
            <a:pPr lvl="8"/>
            <a:r>
              <a:rPr lang="pt-BR" noProof="1"/>
              <a:t>Ninth level (footnotes and citations)</a:t>
            </a:r>
          </a:p>
          <a:p>
            <a:endParaRPr lang="pt-BR" noProof="1"/>
          </a:p>
          <a:p>
            <a:endParaRPr lang="pt-BR" noProof="1"/>
          </a:p>
        </p:txBody>
      </p:sp>
    </p:spTree>
    <p:extLst>
      <p:ext uri="{BB962C8B-B14F-4D97-AF65-F5344CB8AC3E}">
        <p14:creationId xmlns:p14="http://schemas.microsoft.com/office/powerpoint/2010/main" val="384282868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657A80CD-76BB-D6FD-EDF1-1AFFFD249FBE}"/>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9A8657D-9C54-B5BD-0B4A-450D138ED1C1}"/>
              </a:ext>
            </a:extLst>
          </p:cNvPr>
          <p:cNvGraphicFramePr>
            <a:graphicFrameLocks noChangeAspect="1"/>
          </p:cNvGraphicFramePr>
          <p:nvPr>
            <p:custDataLst>
              <p:tags r:id="rId1"/>
            </p:custDataLst>
            <p:extLst>
              <p:ext uri="{D42A27DB-BD31-4B8C-83A1-F6EECF244321}">
                <p14:modId xmlns:p14="http://schemas.microsoft.com/office/powerpoint/2010/main" val="9918840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3" name="think-cell data - do not delete" hidden="1">
                        <a:extLst>
                          <a:ext uri="{FF2B5EF4-FFF2-40B4-BE49-F238E27FC236}">
                            <a16:creationId xmlns:a16="http://schemas.microsoft.com/office/drawing/2014/main" id="{79A8657D-9C54-B5BD-0B4A-450D138ED1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0C0D7AA1-9FCD-13BE-1F47-8421DC3F1577}"/>
              </a:ext>
            </a:extLst>
          </p:cNvPr>
          <p:cNvSpPr>
            <a:spLocks noGrp="1"/>
          </p:cNvSpPr>
          <p:nvPr>
            <p:ph type="title"/>
          </p:nvPr>
        </p:nvSpPr>
        <p:spPr>
          <a:xfrm>
            <a:off x="556466" y="572600"/>
            <a:ext cx="4958430" cy="787908"/>
          </a:xfrm>
        </p:spPr>
        <p:txBody>
          <a:bodyPr vert="horz"/>
          <a:lstStyle/>
          <a:p>
            <a:r>
              <a:rPr lang="pt-BR" noProof="1"/>
              <a:t>Place headline here in Graphik semibold #14</a:t>
            </a:r>
          </a:p>
        </p:txBody>
      </p:sp>
      <p:sp>
        <p:nvSpPr>
          <p:cNvPr id="15" name="Text Placeholder 14">
            <a:extLst>
              <a:ext uri="{FF2B5EF4-FFF2-40B4-BE49-F238E27FC236}">
                <a16:creationId xmlns:a16="http://schemas.microsoft.com/office/drawing/2014/main" id="{EA1D14CC-9B21-9041-CC7E-471E6152D2F0}"/>
              </a:ext>
            </a:extLst>
          </p:cNvPr>
          <p:cNvSpPr>
            <a:spLocks noGrp="1"/>
          </p:cNvSpPr>
          <p:nvPr>
            <p:ph type="body" sz="quarter" idx="26"/>
          </p:nvPr>
        </p:nvSpPr>
        <p:spPr>
          <a:xfrm>
            <a:off x="563411" y="1609787"/>
            <a:ext cx="4958430" cy="384048"/>
          </a:xfrm>
        </p:spPr>
        <p:txBody>
          <a:bodyPr/>
          <a:lstStyle/>
          <a:p>
            <a:r>
              <a:rPr lang="pt-BR" noProof="1"/>
              <a:t>Place subtitle here in Graphik regular </a:t>
            </a:r>
          </a:p>
        </p:txBody>
      </p:sp>
      <p:sp>
        <p:nvSpPr>
          <p:cNvPr id="20" name="Text Placeholder 19">
            <a:extLst>
              <a:ext uri="{FF2B5EF4-FFF2-40B4-BE49-F238E27FC236}">
                <a16:creationId xmlns:a16="http://schemas.microsoft.com/office/drawing/2014/main" id="{68E69F22-65E4-EDE0-23F2-D6F00C27ECD0}"/>
              </a:ext>
            </a:extLst>
          </p:cNvPr>
          <p:cNvSpPr>
            <a:spLocks noGrp="1"/>
          </p:cNvSpPr>
          <p:nvPr>
            <p:ph type="body" idx="22"/>
          </p:nvPr>
        </p:nvSpPr>
        <p:spPr>
          <a:xfrm>
            <a:off x="563411" y="2168501"/>
            <a:ext cx="4951564" cy="632327"/>
          </a:xfrm>
        </p:spPr>
        <p:txBody>
          <a:bodyPr/>
          <a:lstStyle/>
          <a:p>
            <a:r>
              <a:rPr lang="pt-BR" noProof="1"/>
              <a:t>Place column heading in Graphik semibold, two lines maximum</a:t>
            </a:r>
          </a:p>
        </p:txBody>
      </p:sp>
      <p:sp>
        <p:nvSpPr>
          <p:cNvPr id="25" name="Content Placeholder 24">
            <a:extLst>
              <a:ext uri="{FF2B5EF4-FFF2-40B4-BE49-F238E27FC236}">
                <a16:creationId xmlns:a16="http://schemas.microsoft.com/office/drawing/2014/main" id="{5FEDE1C8-7946-0415-4AFF-B275B7060C40}"/>
              </a:ext>
            </a:extLst>
          </p:cNvPr>
          <p:cNvSpPr>
            <a:spLocks noGrp="1"/>
          </p:cNvSpPr>
          <p:nvPr>
            <p:ph sz="half" idx="23"/>
          </p:nvPr>
        </p:nvSpPr>
        <p:spPr/>
        <p:txBody>
          <a:bodyPr/>
          <a:lstStyle/>
          <a:p>
            <a:pPr lvl="0"/>
            <a:r>
              <a:rPr lang="pt-BR" noProof="1"/>
              <a:t>First level (bullet)</a:t>
            </a:r>
          </a:p>
          <a:p>
            <a:pPr lvl="1"/>
            <a:r>
              <a:rPr lang="pt-BR" noProof="1"/>
              <a:t>Second level (bullet)</a:t>
            </a:r>
          </a:p>
          <a:p>
            <a:pPr lvl="2"/>
            <a:r>
              <a:rPr lang="pt-BR" noProof="1"/>
              <a:t>Third level (bullet)</a:t>
            </a:r>
          </a:p>
          <a:p>
            <a:pPr lvl="3"/>
            <a:r>
              <a:rPr lang="pt-BR" noProof="1"/>
              <a:t>Fourth level (bullet)</a:t>
            </a:r>
          </a:p>
          <a:p>
            <a:pPr lvl="4"/>
            <a:r>
              <a:rPr lang="pt-BR" noProof="1"/>
              <a:t>Fifth level (bullet)</a:t>
            </a:r>
          </a:p>
          <a:p>
            <a:pPr lvl="5"/>
            <a:r>
              <a:rPr lang="pt-BR" noProof="1"/>
              <a:t>Sixth level (copy)</a:t>
            </a:r>
          </a:p>
          <a:p>
            <a:pPr lvl="6"/>
            <a:r>
              <a:rPr lang="pt-BR" noProof="1"/>
              <a:t>Seventh level (small copy)</a:t>
            </a:r>
          </a:p>
          <a:p>
            <a:pPr lvl="8"/>
            <a:r>
              <a:rPr lang="pt-BR" noProof="1"/>
              <a:t>Ninth level (footnotes and citations)</a:t>
            </a:r>
          </a:p>
          <a:p>
            <a:endParaRPr lang="pt-BR" noProof="1"/>
          </a:p>
          <a:p>
            <a:endParaRPr lang="pt-BR" noProof="1"/>
          </a:p>
        </p:txBody>
      </p:sp>
      <p:pic>
        <p:nvPicPr>
          <p:cNvPr id="74" name="Picture Placeholder 73">
            <a:extLst>
              <a:ext uri="{FF2B5EF4-FFF2-40B4-BE49-F238E27FC236}">
                <a16:creationId xmlns:a16="http://schemas.microsoft.com/office/drawing/2014/main" id="{E232B716-FD08-A9CF-F176-9C5CDFECF6AD}"/>
              </a:ext>
              <a:ext uri="{C183D7F6-B498-43B3-948B-1728B52AA6E4}">
                <adec:decorative xmlns:adec="http://schemas.microsoft.com/office/drawing/2017/decorative" val="1"/>
              </a:ext>
            </a:extLst>
          </p:cNvPr>
          <p:cNvPicPr>
            <a:picLocks noGrp="1" noChangeAspect="1"/>
          </p:cNvPicPr>
          <p:nvPr>
            <p:ph type="pic" sz="quarter" idx="16"/>
          </p:nvPr>
        </p:nvPicPr>
        <p:blipFill>
          <a:blip r:embed="rId6" cstate="screen">
            <a:extLst>
              <a:ext uri="{28A0092B-C50C-407E-A947-70E740481C1C}">
                <a14:useLocalDpi xmlns:a14="http://schemas.microsoft.com/office/drawing/2010/main"/>
              </a:ext>
            </a:extLst>
          </a:blip>
          <a:srcRect l="81" r="81"/>
          <a:stretch/>
        </p:blipFill>
        <p:spPr>
          <a:xfrm>
            <a:off x="6103368" y="549275"/>
            <a:ext cx="6092648" cy="5759450"/>
          </a:xfrm>
        </p:spPr>
      </p:pic>
    </p:spTree>
    <p:extLst>
      <p:ext uri="{BB962C8B-B14F-4D97-AF65-F5344CB8AC3E}">
        <p14:creationId xmlns:p14="http://schemas.microsoft.com/office/powerpoint/2010/main" val="10153401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7A3BE8-5328-D337-8FB2-CA3D742C2F3B}"/>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E23D57A-1F51-9540-55A6-346D4CF71477}"/>
              </a:ext>
            </a:extLst>
          </p:cNvPr>
          <p:cNvGraphicFramePr>
            <a:graphicFrameLocks noChangeAspect="1"/>
          </p:cNvGraphicFramePr>
          <p:nvPr>
            <p:custDataLst>
              <p:tags r:id="rId1"/>
            </p:custDataLst>
            <p:extLst>
              <p:ext uri="{D42A27DB-BD31-4B8C-83A1-F6EECF244321}">
                <p14:modId xmlns:p14="http://schemas.microsoft.com/office/powerpoint/2010/main" val="3855066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4" name="think-cell data - do not delete" hidden="1">
                        <a:extLst>
                          <a:ext uri="{FF2B5EF4-FFF2-40B4-BE49-F238E27FC236}">
                            <a16:creationId xmlns:a16="http://schemas.microsoft.com/office/drawing/2014/main" id="{2E23D57A-1F51-9540-55A6-346D4CF714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431CB2A-0E0B-E6E6-F595-AAA59587895F}"/>
              </a:ext>
            </a:extLst>
          </p:cNvPr>
          <p:cNvSpPr>
            <a:spLocks noGrp="1"/>
          </p:cNvSpPr>
          <p:nvPr>
            <p:ph type="title"/>
          </p:nvPr>
        </p:nvSpPr>
        <p:spPr>
          <a:xfrm>
            <a:off x="1163638" y="2194912"/>
            <a:ext cx="8666162" cy="2468176"/>
          </a:xfrm>
        </p:spPr>
        <p:txBody>
          <a:bodyPr vert="horz"/>
          <a:lstStyle/>
          <a:p>
            <a:r>
              <a:rPr lang="pt-BR" noProof="1"/>
              <a:t>A integração entre </a:t>
            </a:r>
            <a:r>
              <a:rPr lang="pt-BR" noProof="1">
                <a:solidFill>
                  <a:schemeClr val="accent2"/>
                </a:solidFill>
              </a:rPr>
              <a:t>VEM</a:t>
            </a:r>
            <a:r>
              <a:rPr lang="pt-BR" noProof="1"/>
              <a:t>, </a:t>
            </a:r>
            <a:r>
              <a:rPr lang="pt-BR" noProof="1">
                <a:solidFill>
                  <a:schemeClr val="accent2"/>
                </a:solidFill>
              </a:rPr>
              <a:t>Deep Learning</a:t>
            </a:r>
            <a:r>
              <a:rPr lang="pt-BR" noProof="1"/>
              <a:t> e </a:t>
            </a:r>
            <a:r>
              <a:rPr lang="pt-BR" noProof="1">
                <a:solidFill>
                  <a:schemeClr val="accent2"/>
                </a:solidFill>
              </a:rPr>
              <a:t>quantificação de incerteza</a:t>
            </a:r>
            <a:r>
              <a:rPr lang="pt-BR" noProof="1"/>
              <a:t> surge como uma forma de unir </a:t>
            </a:r>
            <a:r>
              <a:rPr lang="pt-BR" noProof="1">
                <a:solidFill>
                  <a:schemeClr val="accent2"/>
                </a:solidFill>
              </a:rPr>
              <a:t>precisão</a:t>
            </a:r>
            <a:r>
              <a:rPr lang="pt-BR" noProof="1"/>
              <a:t>, </a:t>
            </a:r>
            <a:r>
              <a:rPr lang="pt-BR" noProof="1">
                <a:solidFill>
                  <a:schemeClr val="accent2"/>
                </a:solidFill>
              </a:rPr>
              <a:t>rapidez</a:t>
            </a:r>
            <a:r>
              <a:rPr lang="pt-BR" noProof="1"/>
              <a:t> e </a:t>
            </a:r>
            <a:r>
              <a:rPr lang="pt-BR" noProof="1">
                <a:solidFill>
                  <a:schemeClr val="accent2"/>
                </a:solidFill>
              </a:rPr>
              <a:t>confiabilidade</a:t>
            </a:r>
            <a:r>
              <a:rPr lang="pt-BR" noProof="1"/>
              <a:t> na análise estrutural.</a:t>
            </a:r>
          </a:p>
        </p:txBody>
      </p:sp>
    </p:spTree>
    <p:extLst>
      <p:ext uri="{BB962C8B-B14F-4D97-AF65-F5344CB8AC3E}">
        <p14:creationId xmlns:p14="http://schemas.microsoft.com/office/powerpoint/2010/main" val="118666056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1D2CE286-D7D3-E2C7-1740-4CF1AFC3AD2E}"/>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184FFA-31BC-ECD0-920A-160C47FCC4A5}"/>
              </a:ext>
            </a:extLst>
          </p:cNvPr>
          <p:cNvGraphicFramePr>
            <a:graphicFrameLocks noChangeAspect="1"/>
          </p:cNvGraphicFramePr>
          <p:nvPr>
            <p:custDataLst>
              <p:tags r:id="rId1"/>
            </p:custDataLst>
            <p:extLst>
              <p:ext uri="{D42A27DB-BD31-4B8C-83A1-F6EECF244321}">
                <p14:modId xmlns:p14="http://schemas.microsoft.com/office/powerpoint/2010/main" val="215439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4" name="think-cell data - do not delete" hidden="1">
                        <a:extLst>
                          <a:ext uri="{FF2B5EF4-FFF2-40B4-BE49-F238E27FC236}">
                            <a16:creationId xmlns:a16="http://schemas.microsoft.com/office/drawing/2014/main" id="{A3184FFA-31BC-ECD0-920A-160C47FCC4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ítulo 5">
            <a:extLst>
              <a:ext uri="{FF2B5EF4-FFF2-40B4-BE49-F238E27FC236}">
                <a16:creationId xmlns:a16="http://schemas.microsoft.com/office/drawing/2014/main" id="{A89B15D4-8B3A-816B-02CB-311940D5D9A8}"/>
              </a:ext>
            </a:extLst>
          </p:cNvPr>
          <p:cNvSpPr>
            <a:spLocks noGrp="1"/>
          </p:cNvSpPr>
          <p:nvPr>
            <p:ph type="title"/>
          </p:nvPr>
        </p:nvSpPr>
        <p:spPr>
          <a:xfrm>
            <a:off x="556467" y="572600"/>
            <a:ext cx="6898434" cy="787908"/>
          </a:xfrm>
        </p:spPr>
        <p:txBody>
          <a:bodyPr vert="horz"/>
          <a:lstStyle/>
          <a:p>
            <a:r>
              <a:rPr kumimoji="0" lang="pt-BR" sz="3200" b="1" i="0" u="none" strike="noStrike" kern="1200" cap="none" spc="0" normalizeH="0" baseline="0" noProof="1">
                <a:ln>
                  <a:noFill/>
                </a:ln>
                <a:solidFill>
                  <a:schemeClr val="tx1"/>
                </a:solidFill>
                <a:effectLst/>
                <a:uLnTx/>
                <a:uFillTx/>
                <a:latin typeface="Graphik Semibold" panose="020B0503030202060203" pitchFamily="34" charset="77"/>
                <a:ea typeface="+mj-ea"/>
                <a:cs typeface="+mj-cs"/>
              </a:rPr>
              <a:t>Place headline here in Graphik semibold #15</a:t>
            </a:r>
            <a:endParaRPr lang="pt-BR" noProof="1"/>
          </a:p>
        </p:txBody>
      </p:sp>
      <p:sp>
        <p:nvSpPr>
          <p:cNvPr id="3" name="Marcador de contenido 2">
            <a:extLst>
              <a:ext uri="{FF2B5EF4-FFF2-40B4-BE49-F238E27FC236}">
                <a16:creationId xmlns:a16="http://schemas.microsoft.com/office/drawing/2014/main" id="{3FF67CBE-A9F4-D82A-F77B-47E206C9A97F}"/>
              </a:ext>
            </a:extLst>
          </p:cNvPr>
          <p:cNvSpPr>
            <a:spLocks noGrp="1"/>
          </p:cNvSpPr>
          <p:nvPr>
            <p:ph sz="half" idx="23"/>
          </p:nvPr>
        </p:nvSpPr>
        <p:spPr/>
        <p:txBody>
          <a:bodyPr/>
          <a:lstStyle/>
          <a:p>
            <a:pPr lvl="0"/>
            <a:r>
              <a:rPr lang="pt-BR" noProof="1"/>
              <a:t>First level (bullet)</a:t>
            </a:r>
          </a:p>
          <a:p>
            <a:pPr lvl="1"/>
            <a:r>
              <a:rPr lang="pt-BR" noProof="1"/>
              <a:t>Second level (bullet)</a:t>
            </a:r>
          </a:p>
          <a:p>
            <a:pPr lvl="2"/>
            <a:r>
              <a:rPr lang="pt-BR" noProof="1"/>
              <a:t>Third level (bullet)</a:t>
            </a:r>
          </a:p>
          <a:p>
            <a:pPr lvl="3"/>
            <a:r>
              <a:rPr lang="pt-BR" noProof="1"/>
              <a:t>Fourth level (bullet)</a:t>
            </a:r>
          </a:p>
          <a:p>
            <a:pPr lvl="4"/>
            <a:r>
              <a:rPr lang="pt-BR" noProof="1"/>
              <a:t>Fifth level (bullet)</a:t>
            </a:r>
          </a:p>
          <a:p>
            <a:pPr lvl="5"/>
            <a:r>
              <a:rPr lang="pt-BR" noProof="1"/>
              <a:t>Sixth level (copy)</a:t>
            </a:r>
          </a:p>
          <a:p>
            <a:pPr lvl="6"/>
            <a:r>
              <a:rPr lang="pt-BR" noProof="1"/>
              <a:t>Seventh level (small copy)</a:t>
            </a:r>
          </a:p>
          <a:p>
            <a:pPr lvl="8"/>
            <a:r>
              <a:rPr lang="pt-BR" noProof="1"/>
              <a:t>Ninth level (footnotes and citations)</a:t>
            </a:r>
          </a:p>
          <a:p>
            <a:endParaRPr lang="pt-BR" noProof="1"/>
          </a:p>
        </p:txBody>
      </p:sp>
      <p:sp>
        <p:nvSpPr>
          <p:cNvPr id="15" name="Text Placeholder 14">
            <a:extLst>
              <a:ext uri="{FF2B5EF4-FFF2-40B4-BE49-F238E27FC236}">
                <a16:creationId xmlns:a16="http://schemas.microsoft.com/office/drawing/2014/main" id="{BDAC31B0-5527-7533-D8BD-6A9A0B560736}"/>
              </a:ext>
            </a:extLst>
          </p:cNvPr>
          <p:cNvSpPr>
            <a:spLocks noGrp="1"/>
          </p:cNvSpPr>
          <p:nvPr>
            <p:ph type="body" sz="quarter" idx="28"/>
          </p:nvPr>
        </p:nvSpPr>
        <p:spPr/>
        <p:txBody>
          <a:bodyPr/>
          <a:lstStyle/>
          <a:p>
            <a:r>
              <a:rPr lang="pt-BR" noProof="1"/>
              <a:t>Place important point here</a:t>
            </a:r>
          </a:p>
        </p:txBody>
      </p:sp>
      <p:sp>
        <p:nvSpPr>
          <p:cNvPr id="16" name="Text Placeholder 15">
            <a:extLst>
              <a:ext uri="{FF2B5EF4-FFF2-40B4-BE49-F238E27FC236}">
                <a16:creationId xmlns:a16="http://schemas.microsoft.com/office/drawing/2014/main" id="{3D7E95F1-98AC-35AC-E3C2-7F111AB239B6}"/>
              </a:ext>
            </a:extLst>
          </p:cNvPr>
          <p:cNvSpPr>
            <a:spLocks noGrp="1"/>
          </p:cNvSpPr>
          <p:nvPr>
            <p:ph type="body" sz="quarter" idx="29"/>
          </p:nvPr>
        </p:nvSpPr>
        <p:spPr/>
        <p:txBody>
          <a:bodyPr/>
          <a:lstStyle/>
          <a:p>
            <a:r>
              <a:rPr lang="pt-BR" noProof="1"/>
              <a:t>Place important point here</a:t>
            </a:r>
          </a:p>
        </p:txBody>
      </p:sp>
      <p:sp>
        <p:nvSpPr>
          <p:cNvPr id="17" name="Text Placeholder 16">
            <a:extLst>
              <a:ext uri="{FF2B5EF4-FFF2-40B4-BE49-F238E27FC236}">
                <a16:creationId xmlns:a16="http://schemas.microsoft.com/office/drawing/2014/main" id="{158CFCFD-040F-B06B-8E54-36B103947C95}"/>
              </a:ext>
            </a:extLst>
          </p:cNvPr>
          <p:cNvSpPr>
            <a:spLocks noGrp="1"/>
          </p:cNvSpPr>
          <p:nvPr>
            <p:ph type="body" sz="quarter" idx="30"/>
          </p:nvPr>
        </p:nvSpPr>
        <p:spPr/>
        <p:txBody>
          <a:bodyPr/>
          <a:lstStyle/>
          <a:p>
            <a:r>
              <a:rPr lang="pt-BR" noProof="1"/>
              <a:t>Place important point here</a:t>
            </a:r>
          </a:p>
        </p:txBody>
      </p:sp>
    </p:spTree>
    <p:extLst>
      <p:ext uri="{BB962C8B-B14F-4D97-AF65-F5344CB8AC3E}">
        <p14:creationId xmlns:p14="http://schemas.microsoft.com/office/powerpoint/2010/main" val="107720306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8B783FDF-30CF-378E-8818-2B8B3600EBF6}"/>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4D3B7EF-C6A9-D865-898F-03A8D00C81DD}"/>
              </a:ext>
            </a:extLst>
          </p:cNvPr>
          <p:cNvGraphicFramePr>
            <a:graphicFrameLocks noChangeAspect="1"/>
          </p:cNvGraphicFramePr>
          <p:nvPr>
            <p:custDataLst>
              <p:tags r:id="rId1"/>
            </p:custDataLst>
            <p:extLst>
              <p:ext uri="{D42A27DB-BD31-4B8C-83A1-F6EECF244321}">
                <p14:modId xmlns:p14="http://schemas.microsoft.com/office/powerpoint/2010/main" val="1009929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13" name="think-cell data - do not delete" hidden="1">
                        <a:extLst>
                          <a:ext uri="{FF2B5EF4-FFF2-40B4-BE49-F238E27FC236}">
                            <a16:creationId xmlns:a16="http://schemas.microsoft.com/office/drawing/2014/main" id="{64D3B7EF-C6A9-D865-898F-03A8D00C81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Title 22">
            <a:extLst>
              <a:ext uri="{FF2B5EF4-FFF2-40B4-BE49-F238E27FC236}">
                <a16:creationId xmlns:a16="http://schemas.microsoft.com/office/drawing/2014/main" id="{90235D4D-51E0-BF84-8B72-8A2395F37129}"/>
              </a:ext>
            </a:extLst>
          </p:cNvPr>
          <p:cNvSpPr>
            <a:spLocks noGrp="1"/>
          </p:cNvSpPr>
          <p:nvPr>
            <p:ph type="title"/>
          </p:nvPr>
        </p:nvSpPr>
        <p:spPr>
          <a:xfrm>
            <a:off x="556467" y="572600"/>
            <a:ext cx="11084672" cy="393954"/>
          </a:xfrm>
        </p:spPr>
        <p:txBody>
          <a:bodyPr vert="horz"/>
          <a:lstStyle/>
          <a:p>
            <a:r>
              <a:rPr lang="pt-BR" noProof="1"/>
              <a:t>Place headline in Graphik semibold #16</a:t>
            </a:r>
          </a:p>
        </p:txBody>
      </p:sp>
      <p:sp>
        <p:nvSpPr>
          <p:cNvPr id="2" name="Marcador de texto 1">
            <a:extLst>
              <a:ext uri="{FF2B5EF4-FFF2-40B4-BE49-F238E27FC236}">
                <a16:creationId xmlns:a16="http://schemas.microsoft.com/office/drawing/2014/main" id="{6CC994EE-AC0A-659F-774D-D33B87374EF7}"/>
              </a:ext>
            </a:extLst>
          </p:cNvPr>
          <p:cNvSpPr>
            <a:spLocks noGrp="1"/>
          </p:cNvSpPr>
          <p:nvPr>
            <p:ph type="body" sz="quarter" idx="26"/>
          </p:nvPr>
        </p:nvSpPr>
        <p:spPr>
          <a:xfrm>
            <a:off x="563411" y="1109663"/>
            <a:ext cx="11084673" cy="384048"/>
          </a:xfrm>
        </p:spPr>
        <p:txBody>
          <a:bodyPr/>
          <a:lstStyle/>
          <a:p>
            <a:r>
              <a:rPr lang="pt-BR" noProof="1"/>
              <a:t>Place subtitle here in Graphik semibold </a:t>
            </a:r>
          </a:p>
          <a:p>
            <a:endParaRPr lang="pt-BR" noProof="1"/>
          </a:p>
        </p:txBody>
      </p:sp>
      <p:sp>
        <p:nvSpPr>
          <p:cNvPr id="4" name="Marcador de texto 3">
            <a:extLst>
              <a:ext uri="{FF2B5EF4-FFF2-40B4-BE49-F238E27FC236}">
                <a16:creationId xmlns:a16="http://schemas.microsoft.com/office/drawing/2014/main" id="{1B10CFBB-6889-F1B2-215C-A25546F252A4}"/>
              </a:ext>
            </a:extLst>
          </p:cNvPr>
          <p:cNvSpPr>
            <a:spLocks noGrp="1"/>
          </p:cNvSpPr>
          <p:nvPr>
            <p:ph type="body" idx="18"/>
          </p:nvPr>
        </p:nvSpPr>
        <p:spPr>
          <a:xfrm>
            <a:off x="561424" y="1844675"/>
            <a:ext cx="3393084" cy="457200"/>
          </a:xfrm>
        </p:spPr>
        <p:txBody>
          <a:bodyPr/>
          <a:lstStyle/>
          <a:p>
            <a:r>
              <a:rPr lang="pt-BR" noProof="1"/>
              <a:t>01</a:t>
            </a:r>
          </a:p>
        </p:txBody>
      </p:sp>
      <p:sp>
        <p:nvSpPr>
          <p:cNvPr id="8" name="Marcador de texto 7">
            <a:extLst>
              <a:ext uri="{FF2B5EF4-FFF2-40B4-BE49-F238E27FC236}">
                <a16:creationId xmlns:a16="http://schemas.microsoft.com/office/drawing/2014/main" id="{38CDFECD-EC7A-2FF7-E062-3466D04324FA}"/>
              </a:ext>
            </a:extLst>
          </p:cNvPr>
          <p:cNvSpPr>
            <a:spLocks noGrp="1"/>
          </p:cNvSpPr>
          <p:nvPr>
            <p:ph type="body" idx="1"/>
          </p:nvPr>
        </p:nvSpPr>
        <p:spPr>
          <a:xfrm>
            <a:off x="561424" y="2301875"/>
            <a:ext cx="3393084" cy="822960"/>
          </a:xfrm>
        </p:spPr>
        <p:txBody>
          <a:bodyPr/>
          <a:lstStyle/>
          <a:p>
            <a:r>
              <a:rPr lang="pt-BR" noProof="1"/>
              <a:t>Place column heading Graphik semibold </a:t>
            </a:r>
          </a:p>
        </p:txBody>
      </p:sp>
      <p:sp>
        <p:nvSpPr>
          <p:cNvPr id="7" name="Marcador de contenido 6">
            <a:extLst>
              <a:ext uri="{FF2B5EF4-FFF2-40B4-BE49-F238E27FC236}">
                <a16:creationId xmlns:a16="http://schemas.microsoft.com/office/drawing/2014/main" id="{3AAACF51-2A43-B192-BDD1-A5C9BB769F86}"/>
              </a:ext>
            </a:extLst>
          </p:cNvPr>
          <p:cNvSpPr>
            <a:spLocks noGrp="1"/>
          </p:cNvSpPr>
          <p:nvPr>
            <p:ph sz="half" idx="2"/>
          </p:nvPr>
        </p:nvSpPr>
        <p:spPr>
          <a:xfrm>
            <a:off x="561424" y="3124835"/>
            <a:ext cx="3393084" cy="2761488"/>
          </a:xfrm>
        </p:spPr>
        <p:txBody>
          <a:bodyPr/>
          <a:lstStyle/>
          <a:p>
            <a:pPr lvl="0"/>
            <a:r>
              <a:rPr lang="pt-BR" noProof="1"/>
              <a:t>First level (bullet)</a:t>
            </a:r>
          </a:p>
          <a:p>
            <a:pPr lvl="1"/>
            <a:r>
              <a:rPr lang="pt-BR" noProof="1"/>
              <a:t>Second level (bullet)</a:t>
            </a:r>
          </a:p>
          <a:p>
            <a:pPr lvl="2"/>
            <a:r>
              <a:rPr lang="pt-BR" noProof="1"/>
              <a:t>Third level (bullet)</a:t>
            </a:r>
          </a:p>
          <a:p>
            <a:pPr lvl="3"/>
            <a:r>
              <a:rPr lang="pt-BR" noProof="1"/>
              <a:t>Fourth level (bullet)</a:t>
            </a:r>
          </a:p>
          <a:p>
            <a:pPr lvl="4"/>
            <a:r>
              <a:rPr lang="pt-BR" noProof="1"/>
              <a:t>Fifth level (bullet)</a:t>
            </a:r>
          </a:p>
          <a:p>
            <a:pPr lvl="5"/>
            <a:r>
              <a:rPr lang="pt-BR" noProof="1"/>
              <a:t>Sixth level (copy)</a:t>
            </a:r>
          </a:p>
          <a:p>
            <a:pPr lvl="6"/>
            <a:r>
              <a:rPr lang="pt-BR" noProof="1"/>
              <a:t>Seventh level (small copy)</a:t>
            </a:r>
          </a:p>
          <a:p>
            <a:pPr lvl="8"/>
            <a:r>
              <a:rPr lang="pt-BR" noProof="1"/>
              <a:t>Ninth level (footnotes and citations)</a:t>
            </a:r>
          </a:p>
          <a:p>
            <a:endParaRPr lang="pt-BR" noProof="1"/>
          </a:p>
        </p:txBody>
      </p:sp>
      <p:sp>
        <p:nvSpPr>
          <p:cNvPr id="9" name="Marcador de texto 8">
            <a:extLst>
              <a:ext uri="{FF2B5EF4-FFF2-40B4-BE49-F238E27FC236}">
                <a16:creationId xmlns:a16="http://schemas.microsoft.com/office/drawing/2014/main" id="{7D2599C0-964B-62EB-3824-7C007ABF412A}"/>
              </a:ext>
            </a:extLst>
          </p:cNvPr>
          <p:cNvSpPr>
            <a:spLocks noGrp="1"/>
          </p:cNvSpPr>
          <p:nvPr>
            <p:ph type="body" idx="21"/>
          </p:nvPr>
        </p:nvSpPr>
        <p:spPr>
          <a:xfrm>
            <a:off x="4408212" y="1844675"/>
            <a:ext cx="3393084" cy="457200"/>
          </a:xfrm>
        </p:spPr>
        <p:txBody>
          <a:bodyPr/>
          <a:lstStyle/>
          <a:p>
            <a:r>
              <a:rPr lang="pt-BR" noProof="1"/>
              <a:t>02</a:t>
            </a:r>
          </a:p>
        </p:txBody>
      </p:sp>
      <p:sp>
        <p:nvSpPr>
          <p:cNvPr id="5" name="Marcador de texto 4">
            <a:extLst>
              <a:ext uri="{FF2B5EF4-FFF2-40B4-BE49-F238E27FC236}">
                <a16:creationId xmlns:a16="http://schemas.microsoft.com/office/drawing/2014/main" id="{E172A4C2-8A80-6079-AF21-90EFB5CD0D95}"/>
              </a:ext>
            </a:extLst>
          </p:cNvPr>
          <p:cNvSpPr>
            <a:spLocks noGrp="1"/>
          </p:cNvSpPr>
          <p:nvPr>
            <p:ph type="body" idx="19"/>
          </p:nvPr>
        </p:nvSpPr>
        <p:spPr>
          <a:xfrm>
            <a:off x="4408212" y="2301875"/>
            <a:ext cx="3393084" cy="822960"/>
          </a:xfrm>
        </p:spPr>
        <p:txBody>
          <a:bodyPr/>
          <a:lstStyle/>
          <a:p>
            <a:r>
              <a:rPr lang="pt-BR" noProof="1"/>
              <a:t>Place column heading Graphik semibold </a:t>
            </a:r>
          </a:p>
        </p:txBody>
      </p:sp>
      <p:sp>
        <p:nvSpPr>
          <p:cNvPr id="3" name="Marcador de contenido 2">
            <a:extLst>
              <a:ext uri="{FF2B5EF4-FFF2-40B4-BE49-F238E27FC236}">
                <a16:creationId xmlns:a16="http://schemas.microsoft.com/office/drawing/2014/main" id="{9E41C3FD-75DB-86B3-9F42-8D139F364D84}"/>
              </a:ext>
            </a:extLst>
          </p:cNvPr>
          <p:cNvSpPr>
            <a:spLocks noGrp="1"/>
          </p:cNvSpPr>
          <p:nvPr>
            <p:ph sz="half" idx="20"/>
          </p:nvPr>
        </p:nvSpPr>
        <p:spPr>
          <a:xfrm>
            <a:off x="4408212" y="3124835"/>
            <a:ext cx="3393084" cy="2761488"/>
          </a:xfrm>
        </p:spPr>
        <p:txBody>
          <a:bodyPr/>
          <a:lstStyle/>
          <a:p>
            <a:pPr lvl="0"/>
            <a:r>
              <a:rPr lang="pt-BR" noProof="1"/>
              <a:t>First level (bullet)</a:t>
            </a:r>
          </a:p>
          <a:p>
            <a:pPr lvl="1"/>
            <a:r>
              <a:rPr lang="pt-BR" noProof="1"/>
              <a:t>Second level (bullet)</a:t>
            </a:r>
          </a:p>
          <a:p>
            <a:pPr lvl="2"/>
            <a:r>
              <a:rPr lang="pt-BR" noProof="1"/>
              <a:t>Third level (bullet)</a:t>
            </a:r>
          </a:p>
          <a:p>
            <a:pPr lvl="3"/>
            <a:r>
              <a:rPr lang="pt-BR" noProof="1"/>
              <a:t>Fourth level (bullet)</a:t>
            </a:r>
          </a:p>
          <a:p>
            <a:pPr lvl="4"/>
            <a:r>
              <a:rPr lang="pt-BR" noProof="1"/>
              <a:t>Fifth level (bullet)</a:t>
            </a:r>
          </a:p>
          <a:p>
            <a:pPr lvl="5"/>
            <a:r>
              <a:rPr lang="pt-BR" noProof="1"/>
              <a:t>Sixth level (copy)</a:t>
            </a:r>
          </a:p>
          <a:p>
            <a:pPr lvl="6"/>
            <a:r>
              <a:rPr lang="pt-BR" noProof="1"/>
              <a:t>Seventh level (small copy)</a:t>
            </a:r>
          </a:p>
          <a:p>
            <a:pPr lvl="8"/>
            <a:r>
              <a:rPr lang="pt-BR" noProof="1"/>
              <a:t>Ninth level (footnotes and citations)</a:t>
            </a:r>
          </a:p>
          <a:p>
            <a:endParaRPr lang="pt-BR" noProof="1"/>
          </a:p>
        </p:txBody>
      </p:sp>
      <p:sp>
        <p:nvSpPr>
          <p:cNvPr id="12" name="Marcador de texto 11">
            <a:extLst>
              <a:ext uri="{FF2B5EF4-FFF2-40B4-BE49-F238E27FC236}">
                <a16:creationId xmlns:a16="http://schemas.microsoft.com/office/drawing/2014/main" id="{6E7AAC1D-5F48-45A4-3632-016B7014FBB5}"/>
              </a:ext>
            </a:extLst>
          </p:cNvPr>
          <p:cNvSpPr>
            <a:spLocks noGrp="1"/>
          </p:cNvSpPr>
          <p:nvPr>
            <p:ph type="body" idx="24"/>
          </p:nvPr>
        </p:nvSpPr>
        <p:spPr>
          <a:xfrm>
            <a:off x="8255000" y="1844675"/>
            <a:ext cx="3393084" cy="457200"/>
          </a:xfrm>
        </p:spPr>
        <p:txBody>
          <a:bodyPr/>
          <a:lstStyle/>
          <a:p>
            <a:r>
              <a:rPr lang="pt-BR" noProof="1"/>
              <a:t>03</a:t>
            </a:r>
          </a:p>
        </p:txBody>
      </p:sp>
      <p:sp>
        <p:nvSpPr>
          <p:cNvPr id="10" name="Marcador de texto 9">
            <a:extLst>
              <a:ext uri="{FF2B5EF4-FFF2-40B4-BE49-F238E27FC236}">
                <a16:creationId xmlns:a16="http://schemas.microsoft.com/office/drawing/2014/main" id="{FCD6F7B5-338E-4806-D748-0AF1D4C35B09}"/>
              </a:ext>
            </a:extLst>
          </p:cNvPr>
          <p:cNvSpPr>
            <a:spLocks noGrp="1"/>
          </p:cNvSpPr>
          <p:nvPr>
            <p:ph type="body" idx="22"/>
          </p:nvPr>
        </p:nvSpPr>
        <p:spPr>
          <a:xfrm>
            <a:off x="8255000" y="2301875"/>
            <a:ext cx="3393084" cy="822960"/>
          </a:xfrm>
        </p:spPr>
        <p:txBody>
          <a:bodyPr/>
          <a:lstStyle/>
          <a:p>
            <a:r>
              <a:rPr lang="pt-BR" noProof="1"/>
              <a:t>Place column heading Graphik semibold </a:t>
            </a:r>
          </a:p>
        </p:txBody>
      </p:sp>
      <p:sp>
        <p:nvSpPr>
          <p:cNvPr id="11" name="Marcador de contenido 10">
            <a:extLst>
              <a:ext uri="{FF2B5EF4-FFF2-40B4-BE49-F238E27FC236}">
                <a16:creationId xmlns:a16="http://schemas.microsoft.com/office/drawing/2014/main" id="{B450259A-FDA9-51AA-7379-9BAE5B9A5ADC}"/>
              </a:ext>
            </a:extLst>
          </p:cNvPr>
          <p:cNvSpPr>
            <a:spLocks noGrp="1"/>
          </p:cNvSpPr>
          <p:nvPr>
            <p:ph sz="half" idx="23"/>
          </p:nvPr>
        </p:nvSpPr>
        <p:spPr>
          <a:xfrm>
            <a:off x="8255000" y="3124835"/>
            <a:ext cx="3393084" cy="2761488"/>
          </a:xfrm>
        </p:spPr>
        <p:txBody>
          <a:bodyPr/>
          <a:lstStyle/>
          <a:p>
            <a:pPr lvl="0"/>
            <a:r>
              <a:rPr lang="pt-BR" noProof="1"/>
              <a:t>First level (bullet)</a:t>
            </a:r>
          </a:p>
          <a:p>
            <a:pPr lvl="1"/>
            <a:r>
              <a:rPr lang="pt-BR" noProof="1"/>
              <a:t>Second level (bullet)</a:t>
            </a:r>
          </a:p>
          <a:p>
            <a:pPr lvl="2"/>
            <a:r>
              <a:rPr lang="pt-BR" noProof="1"/>
              <a:t>Third level (bullet)</a:t>
            </a:r>
          </a:p>
          <a:p>
            <a:pPr lvl="3"/>
            <a:r>
              <a:rPr lang="pt-BR" noProof="1"/>
              <a:t>Fourth level (bullet)</a:t>
            </a:r>
          </a:p>
          <a:p>
            <a:pPr lvl="4"/>
            <a:r>
              <a:rPr lang="pt-BR" noProof="1"/>
              <a:t>Fifth level (bullet)</a:t>
            </a:r>
          </a:p>
          <a:p>
            <a:pPr lvl="5"/>
            <a:r>
              <a:rPr lang="pt-BR" noProof="1"/>
              <a:t>Sixth level (copy)</a:t>
            </a:r>
          </a:p>
          <a:p>
            <a:pPr lvl="6"/>
            <a:r>
              <a:rPr lang="pt-BR" noProof="1"/>
              <a:t>Seventh level (small copy)</a:t>
            </a:r>
          </a:p>
          <a:p>
            <a:pPr lvl="8"/>
            <a:r>
              <a:rPr lang="pt-BR" noProof="1"/>
              <a:t>Ninth level (footnotes and citations)</a:t>
            </a:r>
          </a:p>
          <a:p>
            <a:endParaRPr lang="pt-BR" noProof="1"/>
          </a:p>
        </p:txBody>
      </p:sp>
    </p:spTree>
    <p:extLst>
      <p:ext uri="{BB962C8B-B14F-4D97-AF65-F5344CB8AC3E}">
        <p14:creationId xmlns:p14="http://schemas.microsoft.com/office/powerpoint/2010/main" val="409499118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FF2BCCB7-E8F3-4F94-1AE0-90F8C05D81C3}"/>
            </a:ext>
          </a:extLst>
        </p:cNvPr>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F5C4F31A-70EC-5B69-0EB0-3766C9B1C188}"/>
              </a:ext>
            </a:extLst>
          </p:cNvPr>
          <p:cNvGraphicFramePr>
            <a:graphicFrameLocks noChangeAspect="1"/>
          </p:cNvGraphicFramePr>
          <p:nvPr>
            <p:custDataLst>
              <p:tags r:id="rId1"/>
            </p:custDataLst>
            <p:extLst>
              <p:ext uri="{D42A27DB-BD31-4B8C-83A1-F6EECF244321}">
                <p14:modId xmlns:p14="http://schemas.microsoft.com/office/powerpoint/2010/main" val="3620754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16" name="think-cell data - do not delete" hidden="1">
                        <a:extLst>
                          <a:ext uri="{FF2B5EF4-FFF2-40B4-BE49-F238E27FC236}">
                            <a16:creationId xmlns:a16="http://schemas.microsoft.com/office/drawing/2014/main" id="{F5C4F31A-70EC-5B69-0EB0-3766C9B1C1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Title 28">
            <a:extLst>
              <a:ext uri="{FF2B5EF4-FFF2-40B4-BE49-F238E27FC236}">
                <a16:creationId xmlns:a16="http://schemas.microsoft.com/office/drawing/2014/main" id="{4A9FB866-3F74-D137-00DA-D9AB2674A867}"/>
              </a:ext>
            </a:extLst>
          </p:cNvPr>
          <p:cNvSpPr>
            <a:spLocks noGrp="1"/>
          </p:cNvSpPr>
          <p:nvPr>
            <p:ph type="title"/>
          </p:nvPr>
        </p:nvSpPr>
        <p:spPr>
          <a:xfrm>
            <a:off x="556467" y="572600"/>
            <a:ext cx="11109212" cy="393954"/>
          </a:xfrm>
        </p:spPr>
        <p:txBody>
          <a:bodyPr vert="horz"/>
          <a:lstStyle/>
          <a:p>
            <a:r>
              <a:rPr lang="pt-BR" noProof="1"/>
              <a:t>Place headline in Graphik semibold #17</a:t>
            </a:r>
          </a:p>
        </p:txBody>
      </p:sp>
      <p:sp>
        <p:nvSpPr>
          <p:cNvPr id="2" name="Marcador de texto 1">
            <a:extLst>
              <a:ext uri="{FF2B5EF4-FFF2-40B4-BE49-F238E27FC236}">
                <a16:creationId xmlns:a16="http://schemas.microsoft.com/office/drawing/2014/main" id="{74C33D35-D693-C566-5669-FD276F68A819}"/>
              </a:ext>
            </a:extLst>
          </p:cNvPr>
          <p:cNvSpPr>
            <a:spLocks noGrp="1"/>
          </p:cNvSpPr>
          <p:nvPr>
            <p:ph type="body" sz="quarter" idx="26"/>
          </p:nvPr>
        </p:nvSpPr>
        <p:spPr>
          <a:xfrm>
            <a:off x="563411" y="1109663"/>
            <a:ext cx="11077727" cy="384048"/>
          </a:xfrm>
        </p:spPr>
        <p:txBody>
          <a:bodyPr/>
          <a:lstStyle/>
          <a:p>
            <a:r>
              <a:rPr lang="pt-BR" noProof="1"/>
              <a:t>Place subtitle here in Graphik semibold </a:t>
            </a:r>
          </a:p>
          <a:p>
            <a:endParaRPr lang="pt-BR" noProof="1"/>
          </a:p>
        </p:txBody>
      </p:sp>
      <p:sp>
        <p:nvSpPr>
          <p:cNvPr id="4" name="Marcador de texto 3">
            <a:extLst>
              <a:ext uri="{FF2B5EF4-FFF2-40B4-BE49-F238E27FC236}">
                <a16:creationId xmlns:a16="http://schemas.microsoft.com/office/drawing/2014/main" id="{459E5BCB-6BA5-F5E6-D0C0-3BF60AE40F27}"/>
              </a:ext>
            </a:extLst>
          </p:cNvPr>
          <p:cNvSpPr>
            <a:spLocks noGrp="1"/>
          </p:cNvSpPr>
          <p:nvPr>
            <p:ph type="body" idx="18"/>
          </p:nvPr>
        </p:nvSpPr>
        <p:spPr>
          <a:xfrm>
            <a:off x="561427" y="1844800"/>
            <a:ext cx="2578828" cy="457200"/>
          </a:xfrm>
        </p:spPr>
        <p:txBody>
          <a:bodyPr/>
          <a:lstStyle/>
          <a:p>
            <a:r>
              <a:rPr lang="pt-BR" noProof="1"/>
              <a:t>01</a:t>
            </a:r>
          </a:p>
        </p:txBody>
      </p:sp>
      <p:sp>
        <p:nvSpPr>
          <p:cNvPr id="8" name="Marcador de texto 7">
            <a:extLst>
              <a:ext uri="{FF2B5EF4-FFF2-40B4-BE49-F238E27FC236}">
                <a16:creationId xmlns:a16="http://schemas.microsoft.com/office/drawing/2014/main" id="{00D8C62A-1E19-B18F-BE02-FBFC193FD551}"/>
              </a:ext>
            </a:extLst>
          </p:cNvPr>
          <p:cNvSpPr>
            <a:spLocks noGrp="1"/>
          </p:cNvSpPr>
          <p:nvPr>
            <p:ph type="body" idx="1"/>
          </p:nvPr>
        </p:nvSpPr>
        <p:spPr>
          <a:xfrm>
            <a:off x="561427" y="2302000"/>
            <a:ext cx="2578828" cy="822960"/>
          </a:xfrm>
        </p:spPr>
        <p:txBody>
          <a:bodyPr/>
          <a:lstStyle/>
          <a:p>
            <a:r>
              <a:rPr lang="pt-BR" noProof="1"/>
              <a:t>Place column heading Graphik semibold </a:t>
            </a:r>
          </a:p>
        </p:txBody>
      </p:sp>
      <p:sp>
        <p:nvSpPr>
          <p:cNvPr id="7" name="Marcador de contenido 6">
            <a:extLst>
              <a:ext uri="{FF2B5EF4-FFF2-40B4-BE49-F238E27FC236}">
                <a16:creationId xmlns:a16="http://schemas.microsoft.com/office/drawing/2014/main" id="{9E14C1E0-E0C8-F4B5-AC1E-53AE12AC7B90}"/>
              </a:ext>
            </a:extLst>
          </p:cNvPr>
          <p:cNvSpPr>
            <a:spLocks noGrp="1"/>
          </p:cNvSpPr>
          <p:nvPr>
            <p:ph sz="half" idx="28"/>
          </p:nvPr>
        </p:nvSpPr>
        <p:spPr>
          <a:xfrm>
            <a:off x="561427" y="3124961"/>
            <a:ext cx="2578828" cy="2761615"/>
          </a:xfrm>
        </p:spPr>
        <p:txBody>
          <a:bodyPr/>
          <a:lstStyle/>
          <a:p>
            <a:pPr lvl="0"/>
            <a:r>
              <a:rPr lang="pt-BR" noProof="1"/>
              <a:t>Place text here </a:t>
            </a:r>
          </a:p>
          <a:p>
            <a:pPr lvl="1"/>
            <a:r>
              <a:rPr lang="pt-BR" noProof="1"/>
              <a:t>Second level </a:t>
            </a:r>
          </a:p>
          <a:p>
            <a:pPr lvl="2"/>
            <a:r>
              <a:rPr lang="pt-BR" noProof="1"/>
              <a:t>Third level </a:t>
            </a:r>
          </a:p>
          <a:p>
            <a:pPr lvl="3"/>
            <a:r>
              <a:rPr lang="pt-BR" noProof="1"/>
              <a:t>Fourth level </a:t>
            </a:r>
          </a:p>
          <a:p>
            <a:pPr lvl="4"/>
            <a:r>
              <a:rPr lang="pt-BR" noProof="1"/>
              <a:t>Fifth level </a:t>
            </a:r>
          </a:p>
          <a:p>
            <a:pPr lvl="5"/>
            <a:r>
              <a:rPr lang="pt-BR" noProof="1"/>
              <a:t>Sixth level</a:t>
            </a:r>
          </a:p>
          <a:p>
            <a:endParaRPr lang="pt-BR" noProof="1"/>
          </a:p>
        </p:txBody>
      </p:sp>
      <p:sp>
        <p:nvSpPr>
          <p:cNvPr id="5" name="Marcador de texto 4">
            <a:extLst>
              <a:ext uri="{FF2B5EF4-FFF2-40B4-BE49-F238E27FC236}">
                <a16:creationId xmlns:a16="http://schemas.microsoft.com/office/drawing/2014/main" id="{B66D6F4C-C0F5-8798-DE62-274E8F654278}"/>
              </a:ext>
            </a:extLst>
          </p:cNvPr>
          <p:cNvSpPr>
            <a:spLocks noGrp="1"/>
          </p:cNvSpPr>
          <p:nvPr>
            <p:ph type="body" idx="34"/>
          </p:nvPr>
        </p:nvSpPr>
        <p:spPr>
          <a:xfrm>
            <a:off x="3403235" y="1844675"/>
            <a:ext cx="2578828" cy="457200"/>
          </a:xfrm>
        </p:spPr>
        <p:txBody>
          <a:bodyPr/>
          <a:lstStyle/>
          <a:p>
            <a:r>
              <a:rPr lang="pt-BR" noProof="1"/>
              <a:t>02</a:t>
            </a:r>
          </a:p>
        </p:txBody>
      </p:sp>
      <p:sp>
        <p:nvSpPr>
          <p:cNvPr id="9" name="Marcador de texto 8">
            <a:extLst>
              <a:ext uri="{FF2B5EF4-FFF2-40B4-BE49-F238E27FC236}">
                <a16:creationId xmlns:a16="http://schemas.microsoft.com/office/drawing/2014/main" id="{CBE44CF3-1DE1-E354-725F-C9CF4D05429E}"/>
              </a:ext>
            </a:extLst>
          </p:cNvPr>
          <p:cNvSpPr>
            <a:spLocks noGrp="1"/>
          </p:cNvSpPr>
          <p:nvPr>
            <p:ph type="body" idx="35"/>
          </p:nvPr>
        </p:nvSpPr>
        <p:spPr>
          <a:xfrm>
            <a:off x="3403235" y="2301875"/>
            <a:ext cx="2578828" cy="822960"/>
          </a:xfrm>
        </p:spPr>
        <p:txBody>
          <a:bodyPr/>
          <a:lstStyle/>
          <a:p>
            <a:r>
              <a:rPr lang="pt-BR" noProof="1"/>
              <a:t>Place column heading Graphik semibold </a:t>
            </a:r>
          </a:p>
        </p:txBody>
      </p:sp>
      <p:sp>
        <p:nvSpPr>
          <p:cNvPr id="3" name="Marcador de contenido 2">
            <a:extLst>
              <a:ext uri="{FF2B5EF4-FFF2-40B4-BE49-F238E27FC236}">
                <a16:creationId xmlns:a16="http://schemas.microsoft.com/office/drawing/2014/main" id="{C5A61D06-64F3-E682-3389-64C2FFA94D33}"/>
              </a:ext>
            </a:extLst>
          </p:cNvPr>
          <p:cNvSpPr>
            <a:spLocks noGrp="1"/>
          </p:cNvSpPr>
          <p:nvPr>
            <p:ph sz="half" idx="36"/>
          </p:nvPr>
        </p:nvSpPr>
        <p:spPr>
          <a:xfrm>
            <a:off x="3403235" y="3124834"/>
            <a:ext cx="2578828" cy="2761615"/>
          </a:xfrm>
        </p:spPr>
        <p:txBody>
          <a:bodyPr/>
          <a:lstStyle/>
          <a:p>
            <a:pPr lvl="0"/>
            <a:r>
              <a:rPr lang="pt-BR" noProof="1"/>
              <a:t>Place text here </a:t>
            </a:r>
          </a:p>
          <a:p>
            <a:pPr lvl="1"/>
            <a:r>
              <a:rPr lang="pt-BR" noProof="1"/>
              <a:t>Second level </a:t>
            </a:r>
          </a:p>
          <a:p>
            <a:pPr lvl="2"/>
            <a:r>
              <a:rPr lang="pt-BR" noProof="1"/>
              <a:t>Third level </a:t>
            </a:r>
          </a:p>
          <a:p>
            <a:pPr lvl="3"/>
            <a:r>
              <a:rPr lang="pt-BR" noProof="1"/>
              <a:t>Fourth level </a:t>
            </a:r>
          </a:p>
          <a:p>
            <a:pPr lvl="4"/>
            <a:r>
              <a:rPr lang="pt-BR" noProof="1"/>
              <a:t>Fifth level </a:t>
            </a:r>
          </a:p>
          <a:p>
            <a:pPr lvl="5"/>
            <a:r>
              <a:rPr lang="pt-BR" noProof="1"/>
              <a:t>Sixth level</a:t>
            </a:r>
          </a:p>
          <a:p>
            <a:endParaRPr lang="pt-BR" noProof="1"/>
          </a:p>
        </p:txBody>
      </p:sp>
      <p:sp>
        <p:nvSpPr>
          <p:cNvPr id="10" name="Marcador de texto 9">
            <a:extLst>
              <a:ext uri="{FF2B5EF4-FFF2-40B4-BE49-F238E27FC236}">
                <a16:creationId xmlns:a16="http://schemas.microsoft.com/office/drawing/2014/main" id="{C09681DF-4511-63A6-2E4C-7DE4C846125E}"/>
              </a:ext>
            </a:extLst>
          </p:cNvPr>
          <p:cNvSpPr>
            <a:spLocks noGrp="1"/>
          </p:cNvSpPr>
          <p:nvPr>
            <p:ph type="body" idx="37"/>
          </p:nvPr>
        </p:nvSpPr>
        <p:spPr>
          <a:xfrm>
            <a:off x="6245043" y="1844675"/>
            <a:ext cx="2578828" cy="457200"/>
          </a:xfrm>
        </p:spPr>
        <p:txBody>
          <a:bodyPr/>
          <a:lstStyle/>
          <a:p>
            <a:r>
              <a:rPr lang="pt-BR" noProof="1"/>
              <a:t>03</a:t>
            </a:r>
          </a:p>
        </p:txBody>
      </p:sp>
      <p:sp>
        <p:nvSpPr>
          <p:cNvPr id="11" name="Marcador de texto 10">
            <a:extLst>
              <a:ext uri="{FF2B5EF4-FFF2-40B4-BE49-F238E27FC236}">
                <a16:creationId xmlns:a16="http://schemas.microsoft.com/office/drawing/2014/main" id="{55D62076-8F00-D850-DD48-0E963483C107}"/>
              </a:ext>
            </a:extLst>
          </p:cNvPr>
          <p:cNvSpPr>
            <a:spLocks noGrp="1"/>
          </p:cNvSpPr>
          <p:nvPr>
            <p:ph type="body" idx="38"/>
          </p:nvPr>
        </p:nvSpPr>
        <p:spPr>
          <a:xfrm>
            <a:off x="6245043" y="2301875"/>
            <a:ext cx="2578828" cy="822960"/>
          </a:xfrm>
        </p:spPr>
        <p:txBody>
          <a:bodyPr/>
          <a:lstStyle/>
          <a:p>
            <a:r>
              <a:rPr lang="pt-BR" noProof="1"/>
              <a:t>Place column heading Graphik semibold </a:t>
            </a:r>
          </a:p>
        </p:txBody>
      </p:sp>
      <p:sp>
        <p:nvSpPr>
          <p:cNvPr id="12" name="Marcador de contenido 11">
            <a:extLst>
              <a:ext uri="{FF2B5EF4-FFF2-40B4-BE49-F238E27FC236}">
                <a16:creationId xmlns:a16="http://schemas.microsoft.com/office/drawing/2014/main" id="{35B903B6-F88C-0665-43A9-3E1F435BAD3F}"/>
              </a:ext>
            </a:extLst>
          </p:cNvPr>
          <p:cNvSpPr>
            <a:spLocks noGrp="1"/>
          </p:cNvSpPr>
          <p:nvPr>
            <p:ph sz="half" idx="39"/>
          </p:nvPr>
        </p:nvSpPr>
        <p:spPr>
          <a:xfrm>
            <a:off x="6245043" y="3124834"/>
            <a:ext cx="2578828" cy="2761615"/>
          </a:xfrm>
        </p:spPr>
        <p:txBody>
          <a:bodyPr/>
          <a:lstStyle/>
          <a:p>
            <a:pPr lvl="0"/>
            <a:r>
              <a:rPr lang="pt-BR" noProof="1"/>
              <a:t>Place text here </a:t>
            </a:r>
          </a:p>
          <a:p>
            <a:pPr lvl="1"/>
            <a:r>
              <a:rPr lang="pt-BR" noProof="1"/>
              <a:t>Second level </a:t>
            </a:r>
          </a:p>
          <a:p>
            <a:pPr lvl="2"/>
            <a:r>
              <a:rPr lang="pt-BR" noProof="1"/>
              <a:t>Third level </a:t>
            </a:r>
          </a:p>
          <a:p>
            <a:pPr lvl="3"/>
            <a:r>
              <a:rPr lang="pt-BR" noProof="1"/>
              <a:t>Fourth level </a:t>
            </a:r>
          </a:p>
          <a:p>
            <a:pPr lvl="4"/>
            <a:r>
              <a:rPr lang="pt-BR" noProof="1"/>
              <a:t>Fifth level </a:t>
            </a:r>
          </a:p>
          <a:p>
            <a:pPr lvl="5"/>
            <a:r>
              <a:rPr lang="pt-BR" noProof="1"/>
              <a:t>Sixth level</a:t>
            </a:r>
          </a:p>
          <a:p>
            <a:endParaRPr lang="pt-BR" noProof="1"/>
          </a:p>
        </p:txBody>
      </p:sp>
      <p:sp>
        <p:nvSpPr>
          <p:cNvPr id="13" name="Marcador de texto 12">
            <a:extLst>
              <a:ext uri="{FF2B5EF4-FFF2-40B4-BE49-F238E27FC236}">
                <a16:creationId xmlns:a16="http://schemas.microsoft.com/office/drawing/2014/main" id="{E468CB9D-39E5-FE76-6BAA-0E8449895D3E}"/>
              </a:ext>
            </a:extLst>
          </p:cNvPr>
          <p:cNvSpPr>
            <a:spLocks noGrp="1"/>
          </p:cNvSpPr>
          <p:nvPr>
            <p:ph type="body" idx="40"/>
          </p:nvPr>
        </p:nvSpPr>
        <p:spPr>
          <a:xfrm>
            <a:off x="9086850" y="1844675"/>
            <a:ext cx="2578828" cy="457200"/>
          </a:xfrm>
        </p:spPr>
        <p:txBody>
          <a:bodyPr/>
          <a:lstStyle/>
          <a:p>
            <a:r>
              <a:rPr lang="pt-BR" noProof="1"/>
              <a:t>04</a:t>
            </a:r>
          </a:p>
        </p:txBody>
      </p:sp>
      <p:sp>
        <p:nvSpPr>
          <p:cNvPr id="14" name="Marcador de texto 13">
            <a:extLst>
              <a:ext uri="{FF2B5EF4-FFF2-40B4-BE49-F238E27FC236}">
                <a16:creationId xmlns:a16="http://schemas.microsoft.com/office/drawing/2014/main" id="{485B1E89-E3F5-2DC2-096D-39E23828D8BF}"/>
              </a:ext>
            </a:extLst>
          </p:cNvPr>
          <p:cNvSpPr>
            <a:spLocks noGrp="1"/>
          </p:cNvSpPr>
          <p:nvPr>
            <p:ph type="body" idx="41"/>
          </p:nvPr>
        </p:nvSpPr>
        <p:spPr>
          <a:xfrm>
            <a:off x="9086850" y="2301875"/>
            <a:ext cx="2578828" cy="822960"/>
          </a:xfrm>
        </p:spPr>
        <p:txBody>
          <a:bodyPr/>
          <a:lstStyle/>
          <a:p>
            <a:r>
              <a:rPr lang="pt-BR" noProof="1"/>
              <a:t>Place column heading Graphik semibold </a:t>
            </a:r>
          </a:p>
        </p:txBody>
      </p:sp>
      <p:sp>
        <p:nvSpPr>
          <p:cNvPr id="15" name="Marcador de contenido 14">
            <a:extLst>
              <a:ext uri="{FF2B5EF4-FFF2-40B4-BE49-F238E27FC236}">
                <a16:creationId xmlns:a16="http://schemas.microsoft.com/office/drawing/2014/main" id="{231F73BF-6A6D-50C0-6095-3EC9BD80729E}"/>
              </a:ext>
            </a:extLst>
          </p:cNvPr>
          <p:cNvSpPr>
            <a:spLocks noGrp="1"/>
          </p:cNvSpPr>
          <p:nvPr>
            <p:ph sz="half" idx="42"/>
          </p:nvPr>
        </p:nvSpPr>
        <p:spPr>
          <a:xfrm>
            <a:off x="9086850" y="3124834"/>
            <a:ext cx="2578828" cy="2761615"/>
          </a:xfrm>
        </p:spPr>
        <p:txBody>
          <a:bodyPr/>
          <a:lstStyle/>
          <a:p>
            <a:pPr lvl="0"/>
            <a:r>
              <a:rPr lang="pt-BR" noProof="1"/>
              <a:t>Place text here </a:t>
            </a:r>
          </a:p>
          <a:p>
            <a:pPr lvl="1"/>
            <a:r>
              <a:rPr lang="pt-BR" noProof="1"/>
              <a:t>Second level </a:t>
            </a:r>
          </a:p>
          <a:p>
            <a:pPr lvl="2"/>
            <a:r>
              <a:rPr lang="pt-BR" noProof="1"/>
              <a:t>Third level </a:t>
            </a:r>
          </a:p>
          <a:p>
            <a:pPr lvl="3"/>
            <a:r>
              <a:rPr lang="pt-BR" noProof="1"/>
              <a:t>Fourth level </a:t>
            </a:r>
          </a:p>
          <a:p>
            <a:pPr lvl="4"/>
            <a:r>
              <a:rPr lang="pt-BR" noProof="1"/>
              <a:t>Fifth level </a:t>
            </a:r>
          </a:p>
          <a:p>
            <a:pPr lvl="5"/>
            <a:r>
              <a:rPr lang="pt-BR" noProof="1"/>
              <a:t>Sixth level</a:t>
            </a:r>
          </a:p>
          <a:p>
            <a:endParaRPr lang="pt-BR" noProof="1"/>
          </a:p>
        </p:txBody>
      </p:sp>
    </p:spTree>
    <p:extLst>
      <p:ext uri="{BB962C8B-B14F-4D97-AF65-F5344CB8AC3E}">
        <p14:creationId xmlns:p14="http://schemas.microsoft.com/office/powerpoint/2010/main" val="9083653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EA4FDCE8-658E-08C2-EE49-020248ADBD72}"/>
              </a:ext>
            </a:extLst>
          </p:cNvPr>
          <p:cNvGraphicFramePr>
            <a:graphicFrameLocks noChangeAspect="1"/>
          </p:cNvGraphicFramePr>
          <p:nvPr>
            <p:custDataLst>
              <p:tags r:id="rId1"/>
            </p:custDataLst>
            <p:extLst>
              <p:ext uri="{D42A27DB-BD31-4B8C-83A1-F6EECF244321}">
                <p14:modId xmlns:p14="http://schemas.microsoft.com/office/powerpoint/2010/main" val="3088429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15" name="think-cell data - do not delete" hidden="1">
                        <a:extLst>
                          <a:ext uri="{FF2B5EF4-FFF2-40B4-BE49-F238E27FC236}">
                            <a16:creationId xmlns:a16="http://schemas.microsoft.com/office/drawing/2014/main" id="{EA4FDCE8-658E-08C2-EE49-020248ADBD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itle 10">
            <a:extLst>
              <a:ext uri="{FF2B5EF4-FFF2-40B4-BE49-F238E27FC236}">
                <a16:creationId xmlns:a16="http://schemas.microsoft.com/office/drawing/2014/main" id="{79F9B440-27A4-16D9-399B-AC33E065D51E}"/>
              </a:ext>
            </a:extLst>
          </p:cNvPr>
          <p:cNvSpPr>
            <a:spLocks noGrp="1"/>
          </p:cNvSpPr>
          <p:nvPr>
            <p:ph type="title"/>
          </p:nvPr>
        </p:nvSpPr>
        <p:spPr>
          <a:xfrm>
            <a:off x="554568" y="1613917"/>
            <a:ext cx="5175672" cy="787908"/>
          </a:xfrm>
        </p:spPr>
        <p:txBody>
          <a:bodyPr vert="horz"/>
          <a:lstStyle/>
          <a:p>
            <a:r>
              <a:rPr lang="pt-BR" noProof="1"/>
              <a:t>Place headline in Graphik semibold #18</a:t>
            </a:r>
          </a:p>
        </p:txBody>
      </p:sp>
      <p:sp>
        <p:nvSpPr>
          <p:cNvPr id="4" name="Text Placeholder 3">
            <a:extLst>
              <a:ext uri="{FF2B5EF4-FFF2-40B4-BE49-F238E27FC236}">
                <a16:creationId xmlns:a16="http://schemas.microsoft.com/office/drawing/2014/main" id="{EC9CECFF-C0DA-5274-3276-C473A46C94DE}"/>
              </a:ext>
            </a:extLst>
          </p:cNvPr>
          <p:cNvSpPr>
            <a:spLocks noGrp="1"/>
          </p:cNvSpPr>
          <p:nvPr>
            <p:ph type="body" sz="quarter" idx="11"/>
          </p:nvPr>
        </p:nvSpPr>
        <p:spPr/>
        <p:txBody>
          <a:bodyPr/>
          <a:lstStyle/>
          <a:p>
            <a:r>
              <a:rPr lang="pt-BR" noProof="1"/>
              <a:t>Avoid subtitle, prefer only title to be more visual</a:t>
            </a:r>
          </a:p>
        </p:txBody>
      </p:sp>
      <p:sp>
        <p:nvSpPr>
          <p:cNvPr id="2" name="Text Placeholder 1">
            <a:extLst>
              <a:ext uri="{FF2B5EF4-FFF2-40B4-BE49-F238E27FC236}">
                <a16:creationId xmlns:a16="http://schemas.microsoft.com/office/drawing/2014/main" id="{B005A97F-C218-CD4F-46B6-51E3114A2BF5}"/>
              </a:ext>
            </a:extLst>
          </p:cNvPr>
          <p:cNvSpPr>
            <a:spLocks noGrp="1"/>
          </p:cNvSpPr>
          <p:nvPr>
            <p:ph type="body" idx="18"/>
          </p:nvPr>
        </p:nvSpPr>
        <p:spPr>
          <a:xfrm>
            <a:off x="561427" y="3998977"/>
            <a:ext cx="359073" cy="369332"/>
          </a:xfrm>
        </p:spPr>
        <p:txBody>
          <a:bodyPr/>
          <a:lstStyle/>
          <a:p>
            <a:r>
              <a:rPr lang="pt-BR" noProof="1"/>
              <a:t>01</a:t>
            </a:r>
          </a:p>
        </p:txBody>
      </p:sp>
      <p:sp>
        <p:nvSpPr>
          <p:cNvPr id="3" name="Text Placeholder 2">
            <a:extLst>
              <a:ext uri="{FF2B5EF4-FFF2-40B4-BE49-F238E27FC236}">
                <a16:creationId xmlns:a16="http://schemas.microsoft.com/office/drawing/2014/main" id="{77A97A9D-710E-20C8-9095-B5ED50DA91C6}"/>
              </a:ext>
            </a:extLst>
          </p:cNvPr>
          <p:cNvSpPr>
            <a:spLocks noGrp="1"/>
          </p:cNvSpPr>
          <p:nvPr>
            <p:ph type="body" idx="1"/>
          </p:nvPr>
        </p:nvSpPr>
        <p:spPr/>
        <p:txBody>
          <a:bodyPr/>
          <a:lstStyle/>
          <a:p>
            <a:r>
              <a:rPr lang="pt-BR" noProof="1"/>
              <a:t>First topic to be informated</a:t>
            </a:r>
          </a:p>
        </p:txBody>
      </p:sp>
      <p:sp>
        <p:nvSpPr>
          <p:cNvPr id="5" name="Text Placeholder 4">
            <a:extLst>
              <a:ext uri="{FF2B5EF4-FFF2-40B4-BE49-F238E27FC236}">
                <a16:creationId xmlns:a16="http://schemas.microsoft.com/office/drawing/2014/main" id="{1BB273D3-6CC0-043B-BAC6-040028D5A1C3}"/>
              </a:ext>
            </a:extLst>
          </p:cNvPr>
          <p:cNvSpPr>
            <a:spLocks noGrp="1"/>
          </p:cNvSpPr>
          <p:nvPr>
            <p:ph type="body" idx="34"/>
          </p:nvPr>
        </p:nvSpPr>
        <p:spPr>
          <a:xfrm>
            <a:off x="2843427" y="3998851"/>
            <a:ext cx="408766" cy="369332"/>
          </a:xfrm>
        </p:spPr>
        <p:txBody>
          <a:bodyPr/>
          <a:lstStyle/>
          <a:p>
            <a:r>
              <a:rPr lang="pt-BR" noProof="1"/>
              <a:t>02</a:t>
            </a:r>
          </a:p>
        </p:txBody>
      </p:sp>
      <p:sp>
        <p:nvSpPr>
          <p:cNvPr id="6" name="Text Placeholder 5">
            <a:extLst>
              <a:ext uri="{FF2B5EF4-FFF2-40B4-BE49-F238E27FC236}">
                <a16:creationId xmlns:a16="http://schemas.microsoft.com/office/drawing/2014/main" id="{FC9A33EA-9F9D-7CA2-2D9B-65D619B33104}"/>
              </a:ext>
            </a:extLst>
          </p:cNvPr>
          <p:cNvSpPr>
            <a:spLocks noGrp="1"/>
          </p:cNvSpPr>
          <p:nvPr>
            <p:ph type="body" idx="35"/>
          </p:nvPr>
        </p:nvSpPr>
        <p:spPr/>
        <p:txBody>
          <a:bodyPr/>
          <a:lstStyle/>
          <a:p>
            <a:r>
              <a:rPr lang="pt-BR" noProof="1"/>
              <a:t>Second topic to be informated</a:t>
            </a:r>
          </a:p>
        </p:txBody>
      </p:sp>
      <p:sp>
        <p:nvSpPr>
          <p:cNvPr id="7" name="Text Placeholder 6">
            <a:extLst>
              <a:ext uri="{FF2B5EF4-FFF2-40B4-BE49-F238E27FC236}">
                <a16:creationId xmlns:a16="http://schemas.microsoft.com/office/drawing/2014/main" id="{CC730575-A537-87F7-2B22-B7DA211B177E}"/>
              </a:ext>
            </a:extLst>
          </p:cNvPr>
          <p:cNvSpPr>
            <a:spLocks noGrp="1"/>
          </p:cNvSpPr>
          <p:nvPr>
            <p:ph type="body" idx="37"/>
          </p:nvPr>
        </p:nvSpPr>
        <p:spPr>
          <a:xfrm>
            <a:off x="5118171" y="3998851"/>
            <a:ext cx="421590" cy="369332"/>
          </a:xfrm>
        </p:spPr>
        <p:txBody>
          <a:bodyPr/>
          <a:lstStyle/>
          <a:p>
            <a:r>
              <a:rPr lang="pt-BR" noProof="1"/>
              <a:t>03</a:t>
            </a:r>
          </a:p>
        </p:txBody>
      </p:sp>
      <p:sp>
        <p:nvSpPr>
          <p:cNvPr id="8" name="Text Placeholder 7">
            <a:extLst>
              <a:ext uri="{FF2B5EF4-FFF2-40B4-BE49-F238E27FC236}">
                <a16:creationId xmlns:a16="http://schemas.microsoft.com/office/drawing/2014/main" id="{97DE0E08-C929-3749-D7FD-01AD4C208CDA}"/>
              </a:ext>
            </a:extLst>
          </p:cNvPr>
          <p:cNvSpPr>
            <a:spLocks noGrp="1"/>
          </p:cNvSpPr>
          <p:nvPr>
            <p:ph type="body" idx="38"/>
          </p:nvPr>
        </p:nvSpPr>
        <p:spPr/>
        <p:txBody>
          <a:bodyPr/>
          <a:lstStyle/>
          <a:p>
            <a:r>
              <a:rPr lang="pt-BR" noProof="1"/>
              <a:t>Third topic to be informated</a:t>
            </a:r>
          </a:p>
        </p:txBody>
      </p:sp>
      <p:sp>
        <p:nvSpPr>
          <p:cNvPr id="9" name="Text Placeholder 8">
            <a:extLst>
              <a:ext uri="{FF2B5EF4-FFF2-40B4-BE49-F238E27FC236}">
                <a16:creationId xmlns:a16="http://schemas.microsoft.com/office/drawing/2014/main" id="{EC6C3424-EF13-D346-9342-E6390A0D18A1}"/>
              </a:ext>
            </a:extLst>
          </p:cNvPr>
          <p:cNvSpPr>
            <a:spLocks noGrp="1"/>
          </p:cNvSpPr>
          <p:nvPr>
            <p:ph type="body" idx="40"/>
          </p:nvPr>
        </p:nvSpPr>
        <p:spPr>
          <a:xfrm>
            <a:off x="7407427" y="3998851"/>
            <a:ext cx="428002" cy="369332"/>
          </a:xfrm>
        </p:spPr>
        <p:txBody>
          <a:bodyPr/>
          <a:lstStyle/>
          <a:p>
            <a:r>
              <a:rPr lang="pt-BR" noProof="1"/>
              <a:t>04</a:t>
            </a:r>
          </a:p>
        </p:txBody>
      </p:sp>
      <p:sp>
        <p:nvSpPr>
          <p:cNvPr id="10" name="Text Placeholder 9">
            <a:extLst>
              <a:ext uri="{FF2B5EF4-FFF2-40B4-BE49-F238E27FC236}">
                <a16:creationId xmlns:a16="http://schemas.microsoft.com/office/drawing/2014/main" id="{62AD31B9-A32A-A2C0-B3C3-CD32F2E31CE5}"/>
              </a:ext>
            </a:extLst>
          </p:cNvPr>
          <p:cNvSpPr>
            <a:spLocks noGrp="1"/>
          </p:cNvSpPr>
          <p:nvPr>
            <p:ph type="body" idx="41"/>
          </p:nvPr>
        </p:nvSpPr>
        <p:spPr/>
        <p:txBody>
          <a:bodyPr/>
          <a:lstStyle/>
          <a:p>
            <a:r>
              <a:rPr lang="pt-BR" noProof="1"/>
              <a:t>Fourth topic to be informated</a:t>
            </a:r>
          </a:p>
        </p:txBody>
      </p:sp>
      <p:pic>
        <p:nvPicPr>
          <p:cNvPr id="16" name="Picture Placeholder 15">
            <a:extLst>
              <a:ext uri="{FF2B5EF4-FFF2-40B4-BE49-F238E27FC236}">
                <a16:creationId xmlns:a16="http://schemas.microsoft.com/office/drawing/2014/main" id="{4CE7EB14-7305-1DB3-0432-0E2A128D4D68}"/>
              </a:ext>
              <a:ext uri="{C183D7F6-B498-43B3-948B-1728B52AA6E4}">
                <adec:decorative xmlns:adec="http://schemas.microsoft.com/office/drawing/2017/decorative" val="1"/>
              </a:ext>
            </a:extLst>
          </p:cNvPr>
          <p:cNvPicPr>
            <a:picLocks noGrp="1" noChangeAspect="1"/>
          </p:cNvPicPr>
          <p:nvPr>
            <p:ph type="pic" sz="quarter" idx="42"/>
          </p:nvPr>
        </p:nvPicPr>
        <p:blipFill>
          <a:blip r:embed="rId6" cstate="screen">
            <a:extLst>
              <a:ext uri="{28A0092B-C50C-407E-A947-70E740481C1C}">
                <a14:useLocalDpi xmlns:a14="http://schemas.microsoft.com/office/drawing/2010/main"/>
              </a:ext>
            </a:extLst>
          </a:blip>
          <a:srcRect/>
          <a:stretch/>
        </p:blipFill>
        <p:spPr/>
      </p:pic>
      <p:sp>
        <p:nvSpPr>
          <p:cNvPr id="13" name="Text Placeholder 12">
            <a:extLst>
              <a:ext uri="{FF2B5EF4-FFF2-40B4-BE49-F238E27FC236}">
                <a16:creationId xmlns:a16="http://schemas.microsoft.com/office/drawing/2014/main" id="{47163485-434B-1226-469D-B490E351B697}"/>
              </a:ext>
            </a:extLst>
          </p:cNvPr>
          <p:cNvSpPr>
            <a:spLocks noGrp="1"/>
          </p:cNvSpPr>
          <p:nvPr>
            <p:ph type="body" idx="43"/>
          </p:nvPr>
        </p:nvSpPr>
        <p:spPr>
          <a:xfrm>
            <a:off x="9689427" y="3998851"/>
            <a:ext cx="415178" cy="369332"/>
          </a:xfrm>
        </p:spPr>
        <p:txBody>
          <a:bodyPr/>
          <a:lstStyle/>
          <a:p>
            <a:r>
              <a:rPr lang="pt-BR" noProof="1"/>
              <a:t>05</a:t>
            </a:r>
          </a:p>
        </p:txBody>
      </p:sp>
      <p:sp>
        <p:nvSpPr>
          <p:cNvPr id="14" name="Text Placeholder 13">
            <a:extLst>
              <a:ext uri="{FF2B5EF4-FFF2-40B4-BE49-F238E27FC236}">
                <a16:creationId xmlns:a16="http://schemas.microsoft.com/office/drawing/2014/main" id="{B4E86CDD-2F9C-712D-29E5-E8D27FCFEED8}"/>
              </a:ext>
            </a:extLst>
          </p:cNvPr>
          <p:cNvSpPr>
            <a:spLocks noGrp="1"/>
          </p:cNvSpPr>
          <p:nvPr>
            <p:ph type="body" idx="44"/>
          </p:nvPr>
        </p:nvSpPr>
        <p:spPr/>
        <p:txBody>
          <a:bodyPr/>
          <a:lstStyle/>
          <a:p>
            <a:r>
              <a:rPr lang="pt-BR" noProof="1"/>
              <a:t>Fifth topic to be informated</a:t>
            </a:r>
          </a:p>
        </p:txBody>
      </p:sp>
    </p:spTree>
    <p:extLst>
      <p:ext uri="{BB962C8B-B14F-4D97-AF65-F5344CB8AC3E}">
        <p14:creationId xmlns:p14="http://schemas.microsoft.com/office/powerpoint/2010/main" val="28558947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F642940-9F56-1B81-3C97-3133355B7F6A}"/>
              </a:ext>
            </a:extLst>
          </p:cNvPr>
          <p:cNvGraphicFramePr>
            <a:graphicFrameLocks noChangeAspect="1"/>
          </p:cNvGraphicFramePr>
          <p:nvPr>
            <p:custDataLst>
              <p:tags r:id="rId1"/>
            </p:custDataLst>
            <p:extLst>
              <p:ext uri="{D42A27DB-BD31-4B8C-83A1-F6EECF244321}">
                <p14:modId xmlns:p14="http://schemas.microsoft.com/office/powerpoint/2010/main" val="27944122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3" name="think-cell data - do not delete" hidden="1">
                        <a:extLst>
                          <a:ext uri="{FF2B5EF4-FFF2-40B4-BE49-F238E27FC236}">
                            <a16:creationId xmlns:a16="http://schemas.microsoft.com/office/drawing/2014/main" id="{DF642940-9F56-1B81-3C97-3133355B7F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AA012E66-06FB-F74C-A74A-02D46723AB6E}"/>
              </a:ext>
            </a:extLst>
          </p:cNvPr>
          <p:cNvSpPr>
            <a:spLocks noGrp="1"/>
          </p:cNvSpPr>
          <p:nvPr>
            <p:ph type="title"/>
          </p:nvPr>
        </p:nvSpPr>
        <p:spPr>
          <a:xfrm>
            <a:off x="556467" y="572600"/>
            <a:ext cx="11084672" cy="393954"/>
          </a:xfrm>
        </p:spPr>
        <p:txBody>
          <a:bodyPr vert="horz"/>
          <a:lstStyle/>
          <a:p>
            <a:r>
              <a:rPr lang="pt-BR" noProof="1"/>
              <a:t>Place headline in Graphik semibold #19</a:t>
            </a:r>
          </a:p>
        </p:txBody>
      </p:sp>
      <p:sp>
        <p:nvSpPr>
          <p:cNvPr id="17" name="Text Placeholder 3">
            <a:extLst>
              <a:ext uri="{FF2B5EF4-FFF2-40B4-BE49-F238E27FC236}">
                <a16:creationId xmlns:a16="http://schemas.microsoft.com/office/drawing/2014/main" id="{40C8AC14-ABD3-3366-AACE-9C939C5123E5}"/>
              </a:ext>
            </a:extLst>
          </p:cNvPr>
          <p:cNvSpPr>
            <a:spLocks noGrp="1"/>
          </p:cNvSpPr>
          <p:nvPr>
            <p:ph type="body" sz="quarter" idx="32"/>
          </p:nvPr>
        </p:nvSpPr>
        <p:spPr>
          <a:xfrm>
            <a:off x="563412" y="1109663"/>
            <a:ext cx="11084672" cy="384048"/>
          </a:xfrm>
        </p:spPr>
        <p:txBody>
          <a:bodyPr anchor="t"/>
          <a:lstStyle>
            <a:lvl1pPr marL="0" indent="0">
              <a:spcAft>
                <a:spcPts val="0"/>
              </a:spcAft>
              <a:buNone/>
              <a:defRPr sz="1800" b="0" i="0">
                <a:solidFill>
                  <a:schemeClr val="accent1"/>
                </a:solidFill>
                <a:latin typeface="Graphik" panose="020B0503030202060203" pitchFamily="34" charset="77"/>
              </a:defRPr>
            </a:lvl1pPr>
          </a:lstStyle>
          <a:p>
            <a:pPr lvl="0"/>
            <a:r>
              <a:rPr lang="pt-BR" noProof="1"/>
              <a:t>Place subtitle here in Graphik regular</a:t>
            </a:r>
          </a:p>
        </p:txBody>
      </p:sp>
      <p:sp>
        <p:nvSpPr>
          <p:cNvPr id="41" name="Picture Placeholder 40">
            <a:extLst>
              <a:ext uri="{FF2B5EF4-FFF2-40B4-BE49-F238E27FC236}">
                <a16:creationId xmlns:a16="http://schemas.microsoft.com/office/drawing/2014/main" id="{4390E598-B83F-7D1B-91FC-EB598003A774}"/>
              </a:ext>
            </a:extLst>
          </p:cNvPr>
          <p:cNvSpPr>
            <a:spLocks noGrp="1"/>
          </p:cNvSpPr>
          <p:nvPr>
            <p:ph type="pic" sz="quarter" idx="14"/>
          </p:nvPr>
        </p:nvSpPr>
        <p:spPr/>
        <p:txBody>
          <a:bodyPr/>
          <a:lstStyle/>
          <a:p>
            <a:endParaRPr lang="pt-BR" noProof="1"/>
          </a:p>
        </p:txBody>
      </p:sp>
      <p:sp>
        <p:nvSpPr>
          <p:cNvPr id="9" name="Marcador de texto 8">
            <a:extLst>
              <a:ext uri="{FF2B5EF4-FFF2-40B4-BE49-F238E27FC236}">
                <a16:creationId xmlns:a16="http://schemas.microsoft.com/office/drawing/2014/main" id="{EEA75ED5-B8E2-4ACB-DF86-0A33EAE77E73}"/>
              </a:ext>
            </a:extLst>
          </p:cNvPr>
          <p:cNvSpPr>
            <a:spLocks noGrp="1"/>
          </p:cNvSpPr>
          <p:nvPr>
            <p:ph type="body" sz="quarter" idx="19"/>
          </p:nvPr>
        </p:nvSpPr>
        <p:spPr>
          <a:xfrm>
            <a:off x="563411" y="3648454"/>
            <a:ext cx="1629646" cy="1971541"/>
          </a:xfrm>
        </p:spPr>
        <p:txBody>
          <a:bodyPr/>
          <a:lstStyle/>
          <a:p>
            <a:pPr lvl="0"/>
            <a:r>
              <a:rPr lang="pt-BR" noProof="1"/>
              <a:t>Click here and type the Headline</a:t>
            </a:r>
          </a:p>
          <a:p>
            <a:pPr lvl="2"/>
            <a:r>
              <a:rPr lang="pt-BR" noProof="1"/>
              <a:t>Enter and indent more for this style</a:t>
            </a:r>
          </a:p>
          <a:p>
            <a:pPr lvl="3"/>
            <a:r>
              <a:rPr lang="pt-BR" noProof="1"/>
              <a:t>This bullet point it's a second indent more options</a:t>
            </a:r>
          </a:p>
          <a:p>
            <a:endParaRPr lang="pt-BR" noProof="1"/>
          </a:p>
        </p:txBody>
      </p:sp>
      <p:sp>
        <p:nvSpPr>
          <p:cNvPr id="42" name="Picture Placeholder 41">
            <a:extLst>
              <a:ext uri="{FF2B5EF4-FFF2-40B4-BE49-F238E27FC236}">
                <a16:creationId xmlns:a16="http://schemas.microsoft.com/office/drawing/2014/main" id="{5EFF59CA-DD9A-8621-8D54-1AA7A5A6FCFE}"/>
              </a:ext>
            </a:extLst>
          </p:cNvPr>
          <p:cNvSpPr>
            <a:spLocks noGrp="1"/>
          </p:cNvSpPr>
          <p:nvPr>
            <p:ph type="pic" sz="quarter" idx="24"/>
          </p:nvPr>
        </p:nvSpPr>
        <p:spPr/>
        <p:txBody>
          <a:bodyPr/>
          <a:lstStyle/>
          <a:p>
            <a:endParaRPr lang="pt-BR" noProof="1"/>
          </a:p>
        </p:txBody>
      </p:sp>
      <p:sp>
        <p:nvSpPr>
          <p:cNvPr id="64" name="Text Placeholder 63">
            <a:extLst>
              <a:ext uri="{FF2B5EF4-FFF2-40B4-BE49-F238E27FC236}">
                <a16:creationId xmlns:a16="http://schemas.microsoft.com/office/drawing/2014/main" id="{BE58D183-22C0-1601-AE5C-E92D81149D41}"/>
              </a:ext>
            </a:extLst>
          </p:cNvPr>
          <p:cNvSpPr>
            <a:spLocks noGrp="1"/>
          </p:cNvSpPr>
          <p:nvPr>
            <p:ph type="body" sz="quarter" idx="28"/>
          </p:nvPr>
        </p:nvSpPr>
        <p:spPr>
          <a:xfrm>
            <a:off x="2925431" y="3648454"/>
            <a:ext cx="1629646" cy="1971541"/>
          </a:xfrm>
        </p:spPr>
        <p:txBody>
          <a:bodyPr/>
          <a:lstStyle/>
          <a:p>
            <a:pPr lvl="0"/>
            <a:r>
              <a:rPr lang="pt-BR" noProof="1"/>
              <a:t>Click here and type the Headline</a:t>
            </a:r>
          </a:p>
          <a:p>
            <a:pPr lvl="2"/>
            <a:r>
              <a:rPr lang="pt-BR" noProof="1"/>
              <a:t>Enter and indent more for this style</a:t>
            </a:r>
          </a:p>
          <a:p>
            <a:pPr lvl="3"/>
            <a:r>
              <a:rPr lang="pt-BR" noProof="1"/>
              <a:t>This bullet point it's a second indent more option</a:t>
            </a:r>
          </a:p>
        </p:txBody>
      </p:sp>
      <p:sp>
        <p:nvSpPr>
          <p:cNvPr id="43" name="Picture Placeholder 42">
            <a:extLst>
              <a:ext uri="{FF2B5EF4-FFF2-40B4-BE49-F238E27FC236}">
                <a16:creationId xmlns:a16="http://schemas.microsoft.com/office/drawing/2014/main" id="{AF723ED0-06BF-D25D-FA87-F91F075C0BEE}"/>
              </a:ext>
            </a:extLst>
          </p:cNvPr>
          <p:cNvSpPr>
            <a:spLocks noGrp="1"/>
          </p:cNvSpPr>
          <p:nvPr>
            <p:ph type="pic" sz="quarter" idx="25"/>
          </p:nvPr>
        </p:nvSpPr>
        <p:spPr/>
        <p:txBody>
          <a:bodyPr/>
          <a:lstStyle/>
          <a:p>
            <a:endParaRPr lang="pt-BR" noProof="1"/>
          </a:p>
        </p:txBody>
      </p:sp>
      <p:sp>
        <p:nvSpPr>
          <p:cNvPr id="66" name="Text Placeholder 65">
            <a:extLst>
              <a:ext uri="{FF2B5EF4-FFF2-40B4-BE49-F238E27FC236}">
                <a16:creationId xmlns:a16="http://schemas.microsoft.com/office/drawing/2014/main" id="{9E592856-BB33-7F27-B107-5C83D1EC3262}"/>
              </a:ext>
            </a:extLst>
          </p:cNvPr>
          <p:cNvSpPr>
            <a:spLocks noGrp="1"/>
          </p:cNvSpPr>
          <p:nvPr>
            <p:ph type="body" sz="quarter" idx="29"/>
          </p:nvPr>
        </p:nvSpPr>
        <p:spPr>
          <a:xfrm>
            <a:off x="5287451" y="3648454"/>
            <a:ext cx="1629646" cy="1971541"/>
          </a:xfrm>
        </p:spPr>
        <p:txBody>
          <a:bodyPr/>
          <a:lstStyle/>
          <a:p>
            <a:pPr lvl="0"/>
            <a:r>
              <a:rPr lang="pt-BR" noProof="1"/>
              <a:t>Click here and type the Headline</a:t>
            </a:r>
          </a:p>
          <a:p>
            <a:pPr lvl="2"/>
            <a:r>
              <a:rPr lang="pt-BR" noProof="1"/>
              <a:t>Enter and indent more for this style</a:t>
            </a:r>
          </a:p>
          <a:p>
            <a:pPr lvl="3"/>
            <a:r>
              <a:rPr lang="pt-BR" noProof="1"/>
              <a:t>This bullet point it's a second indent more options</a:t>
            </a:r>
          </a:p>
          <a:p>
            <a:endParaRPr lang="pt-BR" noProof="1"/>
          </a:p>
        </p:txBody>
      </p:sp>
      <p:sp>
        <p:nvSpPr>
          <p:cNvPr id="44" name="Picture Placeholder 43">
            <a:extLst>
              <a:ext uri="{FF2B5EF4-FFF2-40B4-BE49-F238E27FC236}">
                <a16:creationId xmlns:a16="http://schemas.microsoft.com/office/drawing/2014/main" id="{018821F2-DBE1-55DA-EC2D-3A7656C2D40C}"/>
              </a:ext>
            </a:extLst>
          </p:cNvPr>
          <p:cNvSpPr>
            <a:spLocks noGrp="1"/>
          </p:cNvSpPr>
          <p:nvPr>
            <p:ph type="pic" sz="quarter" idx="26"/>
          </p:nvPr>
        </p:nvSpPr>
        <p:spPr/>
        <p:txBody>
          <a:bodyPr/>
          <a:lstStyle/>
          <a:p>
            <a:endParaRPr lang="pt-BR" noProof="1"/>
          </a:p>
        </p:txBody>
      </p:sp>
      <p:sp>
        <p:nvSpPr>
          <p:cNvPr id="68" name="Text Placeholder 67">
            <a:extLst>
              <a:ext uri="{FF2B5EF4-FFF2-40B4-BE49-F238E27FC236}">
                <a16:creationId xmlns:a16="http://schemas.microsoft.com/office/drawing/2014/main" id="{D4C3DC96-6371-25FF-4CC6-071BBE70F5ED}"/>
              </a:ext>
            </a:extLst>
          </p:cNvPr>
          <p:cNvSpPr>
            <a:spLocks noGrp="1"/>
          </p:cNvSpPr>
          <p:nvPr>
            <p:ph type="body" sz="quarter" idx="30"/>
          </p:nvPr>
        </p:nvSpPr>
        <p:spPr>
          <a:xfrm>
            <a:off x="7649471" y="3648454"/>
            <a:ext cx="1629646" cy="1971541"/>
          </a:xfrm>
        </p:spPr>
        <p:txBody>
          <a:bodyPr/>
          <a:lstStyle/>
          <a:p>
            <a:pPr lvl="0"/>
            <a:r>
              <a:rPr lang="pt-BR" noProof="1"/>
              <a:t>Click here and type the Headline</a:t>
            </a:r>
          </a:p>
          <a:p>
            <a:pPr lvl="2"/>
            <a:r>
              <a:rPr lang="pt-BR" noProof="1"/>
              <a:t>Enter and indent more for this style</a:t>
            </a:r>
          </a:p>
          <a:p>
            <a:pPr lvl="3"/>
            <a:r>
              <a:rPr lang="pt-BR" noProof="1"/>
              <a:t>This bullet point it's a second indent more option</a:t>
            </a:r>
          </a:p>
        </p:txBody>
      </p:sp>
      <p:sp>
        <p:nvSpPr>
          <p:cNvPr id="45" name="Picture Placeholder 44">
            <a:extLst>
              <a:ext uri="{FF2B5EF4-FFF2-40B4-BE49-F238E27FC236}">
                <a16:creationId xmlns:a16="http://schemas.microsoft.com/office/drawing/2014/main" id="{EBE254B2-D643-F6C9-4101-EC60FBFCA671}"/>
              </a:ext>
            </a:extLst>
          </p:cNvPr>
          <p:cNvSpPr>
            <a:spLocks noGrp="1"/>
          </p:cNvSpPr>
          <p:nvPr>
            <p:ph type="pic" sz="quarter" idx="27"/>
          </p:nvPr>
        </p:nvSpPr>
        <p:spPr/>
        <p:txBody>
          <a:bodyPr/>
          <a:lstStyle/>
          <a:p>
            <a:endParaRPr lang="pt-BR" noProof="1"/>
          </a:p>
        </p:txBody>
      </p:sp>
      <p:sp>
        <p:nvSpPr>
          <p:cNvPr id="70" name="Text Placeholder 69">
            <a:extLst>
              <a:ext uri="{FF2B5EF4-FFF2-40B4-BE49-F238E27FC236}">
                <a16:creationId xmlns:a16="http://schemas.microsoft.com/office/drawing/2014/main" id="{71FF069A-02C4-2DEE-ED5C-CC2815E863CF}"/>
              </a:ext>
            </a:extLst>
          </p:cNvPr>
          <p:cNvSpPr>
            <a:spLocks noGrp="1"/>
          </p:cNvSpPr>
          <p:nvPr>
            <p:ph type="body" sz="quarter" idx="31"/>
          </p:nvPr>
        </p:nvSpPr>
        <p:spPr>
          <a:xfrm>
            <a:off x="10011492" y="3648454"/>
            <a:ext cx="1629646" cy="1971541"/>
          </a:xfrm>
        </p:spPr>
        <p:txBody>
          <a:bodyPr/>
          <a:lstStyle/>
          <a:p>
            <a:pPr lvl="0"/>
            <a:r>
              <a:rPr lang="pt-BR" noProof="1"/>
              <a:t>Click here and type the Headline</a:t>
            </a:r>
          </a:p>
          <a:p>
            <a:pPr lvl="2"/>
            <a:r>
              <a:rPr lang="pt-BR" noProof="1"/>
              <a:t>Enter and indent more for this style</a:t>
            </a:r>
          </a:p>
          <a:p>
            <a:pPr lvl="3"/>
            <a:r>
              <a:rPr lang="pt-BR" noProof="1"/>
              <a:t>This bullet point it's a second indent more option</a:t>
            </a:r>
          </a:p>
        </p:txBody>
      </p:sp>
    </p:spTree>
    <p:extLst>
      <p:ext uri="{BB962C8B-B14F-4D97-AF65-F5344CB8AC3E}">
        <p14:creationId xmlns:p14="http://schemas.microsoft.com/office/powerpoint/2010/main" val="220638514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1099EBF3-4642-1188-8455-759D0EA46AA1}"/>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5BEF699-1A1C-BF58-9E6F-46085FF77F24}"/>
              </a:ext>
            </a:extLst>
          </p:cNvPr>
          <p:cNvGraphicFramePr>
            <a:graphicFrameLocks noChangeAspect="1"/>
          </p:cNvGraphicFramePr>
          <p:nvPr>
            <p:custDataLst>
              <p:tags r:id="rId1"/>
            </p:custDataLst>
            <p:extLst>
              <p:ext uri="{D42A27DB-BD31-4B8C-83A1-F6EECF244321}">
                <p14:modId xmlns:p14="http://schemas.microsoft.com/office/powerpoint/2010/main" val="3110954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2" name="think-cell data - do not delete" hidden="1">
                        <a:extLst>
                          <a:ext uri="{FF2B5EF4-FFF2-40B4-BE49-F238E27FC236}">
                            <a16:creationId xmlns:a16="http://schemas.microsoft.com/office/drawing/2014/main" id="{75BEF699-1A1C-BF58-9E6F-46085FF77F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B624AC2E-A92B-CD87-6A17-3C0B54D80E5E}"/>
              </a:ext>
            </a:extLst>
          </p:cNvPr>
          <p:cNvSpPr>
            <a:spLocks noGrp="1"/>
          </p:cNvSpPr>
          <p:nvPr>
            <p:ph type="title"/>
          </p:nvPr>
        </p:nvSpPr>
        <p:spPr>
          <a:xfrm>
            <a:off x="565461" y="376463"/>
            <a:ext cx="2285999" cy="931437"/>
          </a:xfrm>
        </p:spPr>
        <p:txBody>
          <a:bodyPr vert="horz"/>
          <a:lstStyle/>
          <a:p>
            <a:r>
              <a:rPr lang="pt-BR" noProof="1"/>
              <a:t>01</a:t>
            </a:r>
          </a:p>
        </p:txBody>
      </p:sp>
      <p:sp>
        <p:nvSpPr>
          <p:cNvPr id="9" name="Marcador de texto 8">
            <a:extLst>
              <a:ext uri="{FF2B5EF4-FFF2-40B4-BE49-F238E27FC236}">
                <a16:creationId xmlns:a16="http://schemas.microsoft.com/office/drawing/2014/main" id="{052FED19-19E9-7B2E-1789-B3C7A127B053}"/>
              </a:ext>
            </a:extLst>
          </p:cNvPr>
          <p:cNvSpPr>
            <a:spLocks noGrp="1"/>
          </p:cNvSpPr>
          <p:nvPr>
            <p:ph type="body" sz="quarter" idx="32"/>
          </p:nvPr>
        </p:nvSpPr>
        <p:spPr>
          <a:xfrm>
            <a:off x="571503" y="1472692"/>
            <a:ext cx="2286000" cy="1439333"/>
          </a:xfrm>
        </p:spPr>
        <p:txBody>
          <a:bodyPr/>
          <a:lstStyle/>
          <a:p>
            <a:r>
              <a:rPr lang="pt-BR" noProof="1"/>
              <a:t>Stat headline</a:t>
            </a:r>
          </a:p>
          <a:p>
            <a:pPr lvl="1"/>
            <a:r>
              <a:rPr lang="pt-BR" noProof="1"/>
              <a:t>Stat details</a:t>
            </a:r>
          </a:p>
          <a:p>
            <a:pPr lvl="2"/>
            <a:r>
              <a:rPr lang="pt-BR" noProof="1"/>
              <a:t>Bullet point</a:t>
            </a:r>
          </a:p>
        </p:txBody>
      </p:sp>
      <p:sp>
        <p:nvSpPr>
          <p:cNvPr id="4" name="Marcador de texto 3">
            <a:extLst>
              <a:ext uri="{FF2B5EF4-FFF2-40B4-BE49-F238E27FC236}">
                <a16:creationId xmlns:a16="http://schemas.microsoft.com/office/drawing/2014/main" id="{FB7F3E0D-C772-7A75-80B2-C4F4276FF95B}"/>
              </a:ext>
            </a:extLst>
          </p:cNvPr>
          <p:cNvSpPr>
            <a:spLocks noGrp="1"/>
          </p:cNvSpPr>
          <p:nvPr>
            <p:ph type="body" sz="quarter" idx="17"/>
          </p:nvPr>
        </p:nvSpPr>
        <p:spPr>
          <a:xfrm>
            <a:off x="3428995" y="381002"/>
            <a:ext cx="2285996" cy="912223"/>
          </a:xfrm>
        </p:spPr>
        <p:txBody>
          <a:bodyPr/>
          <a:lstStyle/>
          <a:p>
            <a:r>
              <a:rPr lang="pt-BR" noProof="1"/>
              <a:t>02</a:t>
            </a:r>
          </a:p>
        </p:txBody>
      </p:sp>
      <p:sp>
        <p:nvSpPr>
          <p:cNvPr id="8" name="Marcador de texto 7">
            <a:extLst>
              <a:ext uri="{FF2B5EF4-FFF2-40B4-BE49-F238E27FC236}">
                <a16:creationId xmlns:a16="http://schemas.microsoft.com/office/drawing/2014/main" id="{A55D3D48-72F4-E502-BACB-AEEA24AAEEEF}"/>
              </a:ext>
            </a:extLst>
          </p:cNvPr>
          <p:cNvSpPr>
            <a:spLocks noGrp="1"/>
          </p:cNvSpPr>
          <p:nvPr>
            <p:ph type="body" sz="quarter" idx="31"/>
          </p:nvPr>
        </p:nvSpPr>
        <p:spPr>
          <a:xfrm>
            <a:off x="3428995" y="1472692"/>
            <a:ext cx="2286000" cy="1439333"/>
          </a:xfrm>
        </p:spPr>
        <p:txBody>
          <a:bodyPr/>
          <a:lstStyle/>
          <a:p>
            <a:r>
              <a:rPr lang="pt-BR" noProof="1"/>
              <a:t>Stat headline</a:t>
            </a:r>
          </a:p>
          <a:p>
            <a:pPr lvl="1"/>
            <a:r>
              <a:rPr lang="pt-BR" noProof="1"/>
              <a:t>Stat details</a:t>
            </a:r>
          </a:p>
          <a:p>
            <a:pPr lvl="2"/>
            <a:r>
              <a:rPr lang="pt-BR" noProof="1"/>
              <a:t>Bullet point</a:t>
            </a:r>
          </a:p>
        </p:txBody>
      </p:sp>
      <p:sp>
        <p:nvSpPr>
          <p:cNvPr id="5" name="Marcador de texto 4">
            <a:extLst>
              <a:ext uri="{FF2B5EF4-FFF2-40B4-BE49-F238E27FC236}">
                <a16:creationId xmlns:a16="http://schemas.microsoft.com/office/drawing/2014/main" id="{34A06B16-AAC9-DBD9-76CE-B4904C4589C5}"/>
              </a:ext>
            </a:extLst>
          </p:cNvPr>
          <p:cNvSpPr>
            <a:spLocks noGrp="1"/>
          </p:cNvSpPr>
          <p:nvPr>
            <p:ph type="body" sz="quarter" idx="19"/>
          </p:nvPr>
        </p:nvSpPr>
        <p:spPr>
          <a:xfrm>
            <a:off x="571503" y="3398051"/>
            <a:ext cx="2285996" cy="912223"/>
          </a:xfrm>
        </p:spPr>
        <p:txBody>
          <a:bodyPr/>
          <a:lstStyle/>
          <a:p>
            <a:r>
              <a:rPr lang="pt-BR" noProof="1"/>
              <a:t>03</a:t>
            </a:r>
          </a:p>
        </p:txBody>
      </p:sp>
      <p:sp>
        <p:nvSpPr>
          <p:cNvPr id="3" name="Marcador de texto 2">
            <a:extLst>
              <a:ext uri="{FF2B5EF4-FFF2-40B4-BE49-F238E27FC236}">
                <a16:creationId xmlns:a16="http://schemas.microsoft.com/office/drawing/2014/main" id="{4C5D1CBF-F74D-813E-3C05-637756E34330}"/>
              </a:ext>
            </a:extLst>
          </p:cNvPr>
          <p:cNvSpPr>
            <a:spLocks noGrp="1"/>
          </p:cNvSpPr>
          <p:nvPr>
            <p:ph type="body" sz="quarter" idx="30"/>
          </p:nvPr>
        </p:nvSpPr>
        <p:spPr>
          <a:xfrm>
            <a:off x="571503" y="4508500"/>
            <a:ext cx="2286000" cy="1439333"/>
          </a:xfrm>
        </p:spPr>
        <p:txBody>
          <a:bodyPr/>
          <a:lstStyle/>
          <a:p>
            <a:r>
              <a:rPr lang="pt-BR" noProof="1"/>
              <a:t>Stat headline</a:t>
            </a:r>
          </a:p>
          <a:p>
            <a:pPr lvl="1"/>
            <a:r>
              <a:rPr lang="pt-BR" noProof="1"/>
              <a:t>Stat details</a:t>
            </a:r>
          </a:p>
          <a:p>
            <a:pPr lvl="2"/>
            <a:r>
              <a:rPr lang="pt-BR" noProof="1"/>
              <a:t>Bullet point</a:t>
            </a:r>
          </a:p>
        </p:txBody>
      </p:sp>
      <p:sp>
        <p:nvSpPr>
          <p:cNvPr id="6" name="Marcador de texto 5">
            <a:extLst>
              <a:ext uri="{FF2B5EF4-FFF2-40B4-BE49-F238E27FC236}">
                <a16:creationId xmlns:a16="http://schemas.microsoft.com/office/drawing/2014/main" id="{5624ADED-70F1-4E6A-578C-40240375B3CC}"/>
              </a:ext>
            </a:extLst>
          </p:cNvPr>
          <p:cNvSpPr>
            <a:spLocks noGrp="1"/>
          </p:cNvSpPr>
          <p:nvPr>
            <p:ph type="body" sz="quarter" idx="21"/>
          </p:nvPr>
        </p:nvSpPr>
        <p:spPr>
          <a:xfrm>
            <a:off x="3428995" y="3398051"/>
            <a:ext cx="2285996" cy="912223"/>
          </a:xfrm>
        </p:spPr>
        <p:txBody>
          <a:bodyPr/>
          <a:lstStyle/>
          <a:p>
            <a:r>
              <a:rPr lang="pt-BR" noProof="1"/>
              <a:t>04</a:t>
            </a:r>
          </a:p>
        </p:txBody>
      </p:sp>
      <p:sp>
        <p:nvSpPr>
          <p:cNvPr id="10" name="Marcador de texto 9">
            <a:extLst>
              <a:ext uri="{FF2B5EF4-FFF2-40B4-BE49-F238E27FC236}">
                <a16:creationId xmlns:a16="http://schemas.microsoft.com/office/drawing/2014/main" id="{5950C6E7-7368-4BB3-BD95-AFD87149AE12}"/>
              </a:ext>
            </a:extLst>
          </p:cNvPr>
          <p:cNvSpPr>
            <a:spLocks noGrp="1"/>
          </p:cNvSpPr>
          <p:nvPr>
            <p:ph type="body" sz="quarter" idx="29"/>
          </p:nvPr>
        </p:nvSpPr>
        <p:spPr>
          <a:xfrm>
            <a:off x="3428995" y="4508500"/>
            <a:ext cx="2286000" cy="1439333"/>
          </a:xfrm>
        </p:spPr>
        <p:txBody>
          <a:bodyPr/>
          <a:lstStyle/>
          <a:p>
            <a:r>
              <a:rPr lang="pt-BR" noProof="1"/>
              <a:t>Stat headline</a:t>
            </a:r>
          </a:p>
          <a:p>
            <a:pPr lvl="1"/>
            <a:r>
              <a:rPr lang="pt-BR" noProof="1"/>
              <a:t>Stat details</a:t>
            </a:r>
          </a:p>
          <a:p>
            <a:pPr lvl="2"/>
            <a:r>
              <a:rPr lang="pt-BR" noProof="1"/>
              <a:t>Bullet point</a:t>
            </a:r>
          </a:p>
        </p:txBody>
      </p:sp>
      <p:pic>
        <p:nvPicPr>
          <p:cNvPr id="17" name="Picture Placeholder 16">
            <a:extLst>
              <a:ext uri="{FF2B5EF4-FFF2-40B4-BE49-F238E27FC236}">
                <a16:creationId xmlns:a16="http://schemas.microsoft.com/office/drawing/2014/main" id="{DD5AE12F-C32A-6C13-BFF4-C2B9871BA56D}"/>
              </a:ext>
              <a:ext uri="{C183D7F6-B498-43B3-948B-1728B52AA6E4}">
                <adec:decorative xmlns:adec="http://schemas.microsoft.com/office/drawing/2017/decorative" val="1"/>
              </a:ext>
            </a:extLst>
          </p:cNvPr>
          <p:cNvPicPr>
            <a:picLocks noGrp="1" noChangeAspect="1"/>
          </p:cNvPicPr>
          <p:nvPr>
            <p:ph type="pic" sz="quarter" idx="16"/>
          </p:nvPr>
        </p:nvPicPr>
        <p:blipFill>
          <a:blip r:embed="rId6" cstate="screen">
            <a:extLst>
              <a:ext uri="{28A0092B-C50C-407E-A947-70E740481C1C}">
                <a14:useLocalDpi xmlns:a14="http://schemas.microsoft.com/office/drawing/2010/main"/>
              </a:ext>
            </a:extLst>
          </a:blip>
          <a:srcRect t="23" b="23"/>
          <a:stretch/>
        </p:blipFill>
        <p:spPr>
          <a:xfrm>
            <a:off x="6095992" y="0"/>
            <a:ext cx="6096008" cy="6129340"/>
          </a:xfrm>
        </p:spPr>
      </p:pic>
    </p:spTree>
    <p:extLst>
      <p:ext uri="{BB962C8B-B14F-4D97-AF65-F5344CB8AC3E}">
        <p14:creationId xmlns:p14="http://schemas.microsoft.com/office/powerpoint/2010/main" val="427214807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2207D04E-020C-D224-F822-1D705C14B8B5}"/>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21EC303-7ABF-F4A9-7962-85518467609F}"/>
              </a:ext>
            </a:extLst>
          </p:cNvPr>
          <p:cNvGraphicFramePr>
            <a:graphicFrameLocks noChangeAspect="1"/>
          </p:cNvGraphicFramePr>
          <p:nvPr>
            <p:custDataLst>
              <p:tags r:id="rId1"/>
            </p:custDataLst>
            <p:extLst>
              <p:ext uri="{D42A27DB-BD31-4B8C-83A1-F6EECF244321}">
                <p14:modId xmlns:p14="http://schemas.microsoft.com/office/powerpoint/2010/main" val="27105760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2" name="think-cell data - do not delete" hidden="1">
                        <a:extLst>
                          <a:ext uri="{FF2B5EF4-FFF2-40B4-BE49-F238E27FC236}">
                            <a16:creationId xmlns:a16="http://schemas.microsoft.com/office/drawing/2014/main" id="{021EC303-7ABF-F4A9-7962-8551846760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9" name="Title 38">
            <a:extLst>
              <a:ext uri="{FF2B5EF4-FFF2-40B4-BE49-F238E27FC236}">
                <a16:creationId xmlns:a16="http://schemas.microsoft.com/office/drawing/2014/main" id="{4F3F53EB-DF90-A24D-318B-5197C3B04A5A}"/>
              </a:ext>
            </a:extLst>
          </p:cNvPr>
          <p:cNvSpPr>
            <a:spLocks noGrp="1"/>
          </p:cNvSpPr>
          <p:nvPr>
            <p:ph type="title"/>
          </p:nvPr>
        </p:nvSpPr>
        <p:spPr>
          <a:xfrm>
            <a:off x="565461" y="376463"/>
            <a:ext cx="2285999" cy="931437"/>
          </a:xfrm>
        </p:spPr>
        <p:txBody>
          <a:bodyPr vert="horz"/>
          <a:lstStyle/>
          <a:p>
            <a:r>
              <a:rPr lang="pt-BR" noProof="1"/>
              <a:t>01</a:t>
            </a:r>
            <a:r>
              <a:rPr lang="pt-BR" noProof="1">
                <a:solidFill>
                  <a:srgbClr val="000000"/>
                </a:solidFill>
              </a:rPr>
              <a:t>a</a:t>
            </a:r>
          </a:p>
        </p:txBody>
      </p:sp>
      <p:sp>
        <p:nvSpPr>
          <p:cNvPr id="10" name="Marcador de texto 9">
            <a:extLst>
              <a:ext uri="{FF2B5EF4-FFF2-40B4-BE49-F238E27FC236}">
                <a16:creationId xmlns:a16="http://schemas.microsoft.com/office/drawing/2014/main" id="{2A398882-59B1-A60D-90C6-9B02D26B8305}"/>
              </a:ext>
            </a:extLst>
          </p:cNvPr>
          <p:cNvSpPr>
            <a:spLocks noGrp="1"/>
          </p:cNvSpPr>
          <p:nvPr>
            <p:ph type="body" sz="quarter" idx="32"/>
          </p:nvPr>
        </p:nvSpPr>
        <p:spPr>
          <a:xfrm>
            <a:off x="571503" y="1472692"/>
            <a:ext cx="2286000" cy="1439333"/>
          </a:xfrm>
        </p:spPr>
        <p:txBody>
          <a:bodyPr/>
          <a:lstStyle/>
          <a:p>
            <a:r>
              <a:rPr lang="pt-BR" noProof="1"/>
              <a:t>Stat headline</a:t>
            </a:r>
          </a:p>
          <a:p>
            <a:pPr lvl="1"/>
            <a:r>
              <a:rPr lang="pt-BR" noProof="1"/>
              <a:t>Stat details</a:t>
            </a:r>
          </a:p>
          <a:p>
            <a:pPr lvl="2"/>
            <a:r>
              <a:rPr lang="pt-BR" noProof="1"/>
              <a:t>Bullet point</a:t>
            </a:r>
          </a:p>
        </p:txBody>
      </p:sp>
      <p:sp>
        <p:nvSpPr>
          <p:cNvPr id="4" name="Marcador de texto 3">
            <a:extLst>
              <a:ext uri="{FF2B5EF4-FFF2-40B4-BE49-F238E27FC236}">
                <a16:creationId xmlns:a16="http://schemas.microsoft.com/office/drawing/2014/main" id="{5FF2AA2C-3F91-1AEF-E73F-29E5398DBB7B}"/>
              </a:ext>
            </a:extLst>
          </p:cNvPr>
          <p:cNvSpPr>
            <a:spLocks noGrp="1"/>
          </p:cNvSpPr>
          <p:nvPr>
            <p:ph type="body" sz="quarter" idx="17"/>
          </p:nvPr>
        </p:nvSpPr>
        <p:spPr>
          <a:xfrm>
            <a:off x="3428995" y="381002"/>
            <a:ext cx="2285996" cy="912223"/>
          </a:xfrm>
        </p:spPr>
        <p:txBody>
          <a:bodyPr/>
          <a:lstStyle/>
          <a:p>
            <a:r>
              <a:rPr lang="pt-BR" noProof="1"/>
              <a:t>02</a:t>
            </a:r>
          </a:p>
        </p:txBody>
      </p:sp>
      <p:sp>
        <p:nvSpPr>
          <p:cNvPr id="9" name="Marcador de texto 8">
            <a:extLst>
              <a:ext uri="{FF2B5EF4-FFF2-40B4-BE49-F238E27FC236}">
                <a16:creationId xmlns:a16="http://schemas.microsoft.com/office/drawing/2014/main" id="{DB0D2367-3385-9741-6A9E-03A6256EEB0C}"/>
              </a:ext>
            </a:extLst>
          </p:cNvPr>
          <p:cNvSpPr>
            <a:spLocks noGrp="1"/>
          </p:cNvSpPr>
          <p:nvPr>
            <p:ph type="body" sz="quarter" idx="31"/>
          </p:nvPr>
        </p:nvSpPr>
        <p:spPr>
          <a:xfrm>
            <a:off x="3428995" y="1472692"/>
            <a:ext cx="2286000" cy="1439333"/>
          </a:xfrm>
        </p:spPr>
        <p:txBody>
          <a:bodyPr/>
          <a:lstStyle/>
          <a:p>
            <a:r>
              <a:rPr lang="pt-BR" noProof="1"/>
              <a:t>Stat headline 15</a:t>
            </a:r>
          </a:p>
          <a:p>
            <a:pPr lvl="1"/>
            <a:r>
              <a:rPr lang="pt-BR" noProof="1"/>
              <a:t>Stat details</a:t>
            </a:r>
          </a:p>
          <a:p>
            <a:pPr lvl="2"/>
            <a:r>
              <a:rPr lang="pt-BR" noProof="1"/>
              <a:t>Bullet point</a:t>
            </a:r>
          </a:p>
        </p:txBody>
      </p:sp>
      <p:sp>
        <p:nvSpPr>
          <p:cNvPr id="5" name="Marcador de texto 4">
            <a:extLst>
              <a:ext uri="{FF2B5EF4-FFF2-40B4-BE49-F238E27FC236}">
                <a16:creationId xmlns:a16="http://schemas.microsoft.com/office/drawing/2014/main" id="{1D0E5DCB-1752-F66A-17D1-A346641D68C6}"/>
              </a:ext>
            </a:extLst>
          </p:cNvPr>
          <p:cNvSpPr>
            <a:spLocks noGrp="1"/>
          </p:cNvSpPr>
          <p:nvPr>
            <p:ph type="body" sz="quarter" idx="19"/>
          </p:nvPr>
        </p:nvSpPr>
        <p:spPr>
          <a:xfrm>
            <a:off x="571503" y="3398051"/>
            <a:ext cx="2285996" cy="912223"/>
          </a:xfrm>
        </p:spPr>
        <p:txBody>
          <a:bodyPr/>
          <a:lstStyle/>
          <a:p>
            <a:r>
              <a:rPr lang="pt-BR" noProof="1"/>
              <a:t>03</a:t>
            </a:r>
          </a:p>
        </p:txBody>
      </p:sp>
      <p:sp>
        <p:nvSpPr>
          <p:cNvPr id="8" name="Marcador de texto 7">
            <a:extLst>
              <a:ext uri="{FF2B5EF4-FFF2-40B4-BE49-F238E27FC236}">
                <a16:creationId xmlns:a16="http://schemas.microsoft.com/office/drawing/2014/main" id="{FAD13446-0B98-1E26-553D-2679FFEFE2B3}"/>
              </a:ext>
            </a:extLst>
          </p:cNvPr>
          <p:cNvSpPr>
            <a:spLocks noGrp="1"/>
          </p:cNvSpPr>
          <p:nvPr>
            <p:ph type="body" sz="quarter" idx="30"/>
          </p:nvPr>
        </p:nvSpPr>
        <p:spPr>
          <a:xfrm>
            <a:off x="571503" y="4508500"/>
            <a:ext cx="2286000" cy="1439333"/>
          </a:xfrm>
        </p:spPr>
        <p:txBody>
          <a:bodyPr/>
          <a:lstStyle/>
          <a:p>
            <a:r>
              <a:rPr lang="pt-BR" noProof="1"/>
              <a:t>Stat headline</a:t>
            </a:r>
          </a:p>
          <a:p>
            <a:pPr lvl="1"/>
            <a:r>
              <a:rPr lang="pt-BR" noProof="1"/>
              <a:t>Stat details</a:t>
            </a:r>
          </a:p>
          <a:p>
            <a:pPr lvl="2"/>
            <a:r>
              <a:rPr lang="pt-BR" noProof="1"/>
              <a:t>Bullet point</a:t>
            </a:r>
          </a:p>
        </p:txBody>
      </p:sp>
      <p:sp>
        <p:nvSpPr>
          <p:cNvPr id="6" name="Marcador de texto 5">
            <a:extLst>
              <a:ext uri="{FF2B5EF4-FFF2-40B4-BE49-F238E27FC236}">
                <a16:creationId xmlns:a16="http://schemas.microsoft.com/office/drawing/2014/main" id="{FDB7DCAF-AB82-605D-E76B-229AF8DFBF02}"/>
              </a:ext>
            </a:extLst>
          </p:cNvPr>
          <p:cNvSpPr>
            <a:spLocks noGrp="1"/>
          </p:cNvSpPr>
          <p:nvPr>
            <p:ph type="body" sz="quarter" idx="21"/>
          </p:nvPr>
        </p:nvSpPr>
        <p:spPr>
          <a:xfrm>
            <a:off x="3428995" y="3398051"/>
            <a:ext cx="2285996" cy="912223"/>
          </a:xfrm>
        </p:spPr>
        <p:txBody>
          <a:bodyPr/>
          <a:lstStyle/>
          <a:p>
            <a:r>
              <a:rPr lang="pt-BR" noProof="1"/>
              <a:t>04</a:t>
            </a:r>
          </a:p>
        </p:txBody>
      </p:sp>
      <p:sp>
        <p:nvSpPr>
          <p:cNvPr id="3" name="Marcador de texto 2">
            <a:extLst>
              <a:ext uri="{FF2B5EF4-FFF2-40B4-BE49-F238E27FC236}">
                <a16:creationId xmlns:a16="http://schemas.microsoft.com/office/drawing/2014/main" id="{23D78D54-7AF8-C3FE-0E14-B84327F20922}"/>
              </a:ext>
            </a:extLst>
          </p:cNvPr>
          <p:cNvSpPr>
            <a:spLocks noGrp="1"/>
          </p:cNvSpPr>
          <p:nvPr>
            <p:ph type="body" sz="quarter" idx="29"/>
          </p:nvPr>
        </p:nvSpPr>
        <p:spPr>
          <a:xfrm>
            <a:off x="3428995" y="4508500"/>
            <a:ext cx="2286000" cy="1439333"/>
          </a:xfrm>
        </p:spPr>
        <p:txBody>
          <a:bodyPr/>
          <a:lstStyle/>
          <a:p>
            <a:r>
              <a:rPr lang="pt-BR" noProof="1"/>
              <a:t>Stat headline</a:t>
            </a:r>
          </a:p>
          <a:p>
            <a:pPr lvl="1"/>
            <a:r>
              <a:rPr lang="pt-BR" noProof="1"/>
              <a:t>Stat details</a:t>
            </a:r>
          </a:p>
          <a:p>
            <a:pPr lvl="2"/>
            <a:r>
              <a:rPr lang="pt-BR" noProof="1"/>
              <a:t>Bullet point</a:t>
            </a:r>
          </a:p>
        </p:txBody>
      </p:sp>
      <p:pic>
        <p:nvPicPr>
          <p:cNvPr id="13" name="Picture Placeholder 12">
            <a:extLst>
              <a:ext uri="{FF2B5EF4-FFF2-40B4-BE49-F238E27FC236}">
                <a16:creationId xmlns:a16="http://schemas.microsoft.com/office/drawing/2014/main" id="{4DEC72FE-FADD-2470-C46E-7BAF5D5DCE4B}"/>
              </a:ext>
              <a:ext uri="{C183D7F6-B498-43B3-948B-1728B52AA6E4}">
                <adec:decorative xmlns:adec="http://schemas.microsoft.com/office/drawing/2017/decorative" val="1"/>
              </a:ext>
            </a:extLst>
          </p:cNvPr>
          <p:cNvPicPr>
            <a:picLocks noGrp="1" noChangeAspect="1"/>
          </p:cNvPicPr>
          <p:nvPr>
            <p:ph type="pic" sz="quarter" idx="16"/>
          </p:nvPr>
        </p:nvPicPr>
        <p:blipFill>
          <a:blip r:embed="rId6" cstate="screen">
            <a:extLst>
              <a:ext uri="{28A0092B-C50C-407E-A947-70E740481C1C}">
                <a14:useLocalDpi xmlns:a14="http://schemas.microsoft.com/office/drawing/2010/main"/>
              </a:ext>
            </a:extLst>
          </a:blip>
          <a:srcRect t="126" b="126"/>
          <a:stretch/>
        </p:blipFill>
        <p:spPr>
          <a:xfrm>
            <a:off x="6095992" y="0"/>
            <a:ext cx="6096008" cy="6129340"/>
          </a:xfrm>
        </p:spPr>
      </p:pic>
    </p:spTree>
    <p:extLst>
      <p:ext uri="{BB962C8B-B14F-4D97-AF65-F5344CB8AC3E}">
        <p14:creationId xmlns:p14="http://schemas.microsoft.com/office/powerpoint/2010/main" val="324230572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96FD569A-213E-F8BE-17B4-AFFED44AE598}"/>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CDEAB55-D2E1-90A6-D5EA-9CCD9FBC177E}"/>
              </a:ext>
            </a:extLst>
          </p:cNvPr>
          <p:cNvGraphicFramePr>
            <a:graphicFrameLocks noChangeAspect="1"/>
          </p:cNvGraphicFramePr>
          <p:nvPr>
            <p:custDataLst>
              <p:tags r:id="rId1"/>
            </p:custDataLst>
            <p:extLst>
              <p:ext uri="{D42A27DB-BD31-4B8C-83A1-F6EECF244321}">
                <p14:modId xmlns:p14="http://schemas.microsoft.com/office/powerpoint/2010/main" val="460533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3" name="think-cell data - do not delete" hidden="1">
                        <a:extLst>
                          <a:ext uri="{FF2B5EF4-FFF2-40B4-BE49-F238E27FC236}">
                            <a16:creationId xmlns:a16="http://schemas.microsoft.com/office/drawing/2014/main" id="{ACDEAB55-D2E1-90A6-D5EA-9CCD9FBC177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Title 21">
            <a:extLst>
              <a:ext uri="{FF2B5EF4-FFF2-40B4-BE49-F238E27FC236}">
                <a16:creationId xmlns:a16="http://schemas.microsoft.com/office/drawing/2014/main" id="{802BD646-04C4-ED68-9086-414B5BE79800}"/>
              </a:ext>
            </a:extLst>
          </p:cNvPr>
          <p:cNvSpPr>
            <a:spLocks noGrp="1"/>
          </p:cNvSpPr>
          <p:nvPr>
            <p:ph type="title"/>
          </p:nvPr>
        </p:nvSpPr>
        <p:spPr>
          <a:xfrm>
            <a:off x="561601" y="839311"/>
            <a:ext cx="5292575" cy="1477328"/>
          </a:xfrm>
        </p:spPr>
        <p:txBody>
          <a:bodyPr vert="horz"/>
          <a:lstStyle/>
          <a:p>
            <a:pPr lvl="0"/>
            <a:r>
              <a:rPr lang="pt-BR" noProof="1"/>
              <a:t>Place headline here in Graphik semibold</a:t>
            </a:r>
            <a:br>
              <a:rPr lang="pt-BR" noProof="1"/>
            </a:br>
            <a:r>
              <a:rPr lang="pt-BR" noProof="1"/>
              <a:t>#20</a:t>
            </a:r>
          </a:p>
        </p:txBody>
      </p:sp>
      <p:pic>
        <p:nvPicPr>
          <p:cNvPr id="38" name="Picture Placeholder 37">
            <a:extLst>
              <a:ext uri="{FF2B5EF4-FFF2-40B4-BE49-F238E27FC236}">
                <a16:creationId xmlns:a16="http://schemas.microsoft.com/office/drawing/2014/main" id="{52E897BB-B7BD-9E62-C1BF-3616AC557504}"/>
              </a:ext>
              <a:ext uri="{C183D7F6-B498-43B3-948B-1728B52AA6E4}">
                <adec:decorative xmlns:adec="http://schemas.microsoft.com/office/drawing/2017/decorative" val="1"/>
              </a:ext>
            </a:extLst>
          </p:cNvPr>
          <p:cNvPicPr>
            <a:picLocks noGrp="1" noChangeAspect="1"/>
          </p:cNvPicPr>
          <p:nvPr>
            <p:ph type="pic" sz="quarter" idx="16"/>
          </p:nvPr>
        </p:nvPicPr>
        <p:blipFill>
          <a:blip r:embed="rId6" cstate="screen">
            <a:extLst>
              <a:ext uri="{28A0092B-C50C-407E-A947-70E740481C1C}">
                <a14:useLocalDpi xmlns:a14="http://schemas.microsoft.com/office/drawing/2010/main"/>
              </a:ext>
            </a:extLst>
          </a:blip>
          <a:srcRect t="23" b="23"/>
          <a:stretch/>
        </p:blipFill>
        <p:spPr>
          <a:xfrm>
            <a:off x="6095976" y="0"/>
            <a:ext cx="3048024" cy="3089456"/>
          </a:xfrm>
        </p:spPr>
      </p:pic>
      <p:sp>
        <p:nvSpPr>
          <p:cNvPr id="4" name="Marcador de texto 3">
            <a:extLst>
              <a:ext uri="{FF2B5EF4-FFF2-40B4-BE49-F238E27FC236}">
                <a16:creationId xmlns:a16="http://schemas.microsoft.com/office/drawing/2014/main" id="{1DC9C06F-B42F-8DFF-7D4C-DA596B127947}"/>
              </a:ext>
            </a:extLst>
          </p:cNvPr>
          <p:cNvSpPr>
            <a:spLocks noGrp="1"/>
          </p:cNvSpPr>
          <p:nvPr>
            <p:ph type="body" sz="quarter" idx="17"/>
          </p:nvPr>
        </p:nvSpPr>
        <p:spPr>
          <a:xfrm>
            <a:off x="9525005" y="319269"/>
            <a:ext cx="2285996" cy="912223"/>
          </a:xfrm>
        </p:spPr>
        <p:txBody>
          <a:bodyPr/>
          <a:lstStyle/>
          <a:p>
            <a:r>
              <a:rPr lang="pt-BR" noProof="1"/>
              <a:t>XX%</a:t>
            </a:r>
          </a:p>
        </p:txBody>
      </p:sp>
      <p:sp>
        <p:nvSpPr>
          <p:cNvPr id="12" name="Marcador de texto 11">
            <a:extLst>
              <a:ext uri="{FF2B5EF4-FFF2-40B4-BE49-F238E27FC236}">
                <a16:creationId xmlns:a16="http://schemas.microsoft.com/office/drawing/2014/main" id="{F6E06D80-E903-6ABF-DE6C-303DEFD881EF}"/>
              </a:ext>
            </a:extLst>
          </p:cNvPr>
          <p:cNvSpPr>
            <a:spLocks noGrp="1"/>
          </p:cNvSpPr>
          <p:nvPr>
            <p:ph type="body" sz="quarter" idx="32"/>
          </p:nvPr>
        </p:nvSpPr>
        <p:spPr>
          <a:xfrm>
            <a:off x="9525004" y="1472692"/>
            <a:ext cx="2286000" cy="1439333"/>
          </a:xfrm>
        </p:spPr>
        <p:txBody>
          <a:bodyPr/>
          <a:lstStyle/>
          <a:p>
            <a:r>
              <a:rPr lang="pt-BR" noProof="1"/>
              <a:t>Stat headline</a:t>
            </a:r>
          </a:p>
          <a:p>
            <a:pPr lvl="1"/>
            <a:r>
              <a:rPr lang="pt-BR" noProof="1"/>
              <a:t>Stat detail</a:t>
            </a:r>
          </a:p>
          <a:p>
            <a:pPr lvl="2"/>
            <a:r>
              <a:rPr lang="pt-BR" noProof="1"/>
              <a:t>Bullet point</a:t>
            </a:r>
          </a:p>
        </p:txBody>
      </p:sp>
      <p:pic>
        <p:nvPicPr>
          <p:cNvPr id="13" name="Picture Placeholder 15">
            <a:extLst>
              <a:ext uri="{FF2B5EF4-FFF2-40B4-BE49-F238E27FC236}">
                <a16:creationId xmlns:a16="http://schemas.microsoft.com/office/drawing/2014/main" id="{75EB8480-A2A4-D0CF-9FF8-1E9A51080763}"/>
              </a:ext>
              <a:ext uri="{C183D7F6-B498-43B3-948B-1728B52AA6E4}">
                <adec:decorative xmlns:adec="http://schemas.microsoft.com/office/drawing/2017/decorative" val="1"/>
              </a:ext>
            </a:extLst>
          </p:cNvPr>
          <p:cNvPicPr>
            <a:picLocks noGrp="1" noChangeAspect="1"/>
          </p:cNvPicPr>
          <p:nvPr>
            <p:ph type="pic" sz="quarter" idx="23"/>
          </p:nvPr>
        </p:nvPicPr>
        <p:blipFill>
          <a:blip r:embed="rId7" cstate="screen">
            <a:extLst>
              <a:ext uri="{28A0092B-C50C-407E-A947-70E740481C1C}">
                <a14:useLocalDpi xmlns:a14="http://schemas.microsoft.com/office/drawing/2010/main"/>
              </a:ext>
            </a:extLst>
          </a:blip>
          <a:srcRect l="190" r="190"/>
          <a:stretch/>
        </p:blipFill>
        <p:spPr>
          <a:xfrm>
            <a:off x="0" y="3089456"/>
            <a:ext cx="3048000" cy="3039884"/>
          </a:xfrm>
        </p:spPr>
      </p:pic>
      <p:sp>
        <p:nvSpPr>
          <p:cNvPr id="7" name="Marcador de texto 6">
            <a:extLst>
              <a:ext uri="{FF2B5EF4-FFF2-40B4-BE49-F238E27FC236}">
                <a16:creationId xmlns:a16="http://schemas.microsoft.com/office/drawing/2014/main" id="{9D00DBB0-D3DB-1630-579A-7D471D5D8AD7}"/>
              </a:ext>
            </a:extLst>
          </p:cNvPr>
          <p:cNvSpPr>
            <a:spLocks noGrp="1"/>
          </p:cNvSpPr>
          <p:nvPr>
            <p:ph type="body" sz="quarter" idx="19"/>
          </p:nvPr>
        </p:nvSpPr>
        <p:spPr>
          <a:xfrm>
            <a:off x="3428989" y="3384433"/>
            <a:ext cx="2285996" cy="912223"/>
          </a:xfrm>
        </p:spPr>
        <p:txBody>
          <a:bodyPr/>
          <a:lstStyle/>
          <a:p>
            <a:r>
              <a:rPr lang="pt-BR" noProof="1"/>
              <a:t>XX%</a:t>
            </a:r>
          </a:p>
        </p:txBody>
      </p:sp>
      <p:sp>
        <p:nvSpPr>
          <p:cNvPr id="8" name="Marcador de texto 7">
            <a:extLst>
              <a:ext uri="{FF2B5EF4-FFF2-40B4-BE49-F238E27FC236}">
                <a16:creationId xmlns:a16="http://schemas.microsoft.com/office/drawing/2014/main" id="{E4C689E1-0931-FADE-D147-783B9A4289C3}"/>
              </a:ext>
            </a:extLst>
          </p:cNvPr>
          <p:cNvSpPr>
            <a:spLocks noGrp="1"/>
          </p:cNvSpPr>
          <p:nvPr>
            <p:ph type="body" sz="quarter" idx="30"/>
          </p:nvPr>
        </p:nvSpPr>
        <p:spPr>
          <a:xfrm>
            <a:off x="3428948" y="4508500"/>
            <a:ext cx="2286000" cy="1439333"/>
          </a:xfrm>
        </p:spPr>
        <p:txBody>
          <a:bodyPr/>
          <a:lstStyle/>
          <a:p>
            <a:r>
              <a:rPr lang="pt-BR" noProof="1"/>
              <a:t>Stat headline</a:t>
            </a:r>
          </a:p>
          <a:p>
            <a:pPr lvl="1"/>
            <a:r>
              <a:rPr lang="pt-BR" noProof="1"/>
              <a:t>Stat details</a:t>
            </a:r>
          </a:p>
          <a:p>
            <a:pPr lvl="2"/>
            <a:r>
              <a:rPr lang="pt-BR" noProof="1"/>
              <a:t>Bullet point</a:t>
            </a:r>
          </a:p>
        </p:txBody>
      </p:sp>
      <p:sp>
        <p:nvSpPr>
          <p:cNvPr id="9" name="Marcador de texto 8">
            <a:extLst>
              <a:ext uri="{FF2B5EF4-FFF2-40B4-BE49-F238E27FC236}">
                <a16:creationId xmlns:a16="http://schemas.microsoft.com/office/drawing/2014/main" id="{DBAAA72C-8A0C-9F4C-90D8-28F4062A1927}"/>
              </a:ext>
            </a:extLst>
          </p:cNvPr>
          <p:cNvSpPr>
            <a:spLocks noGrp="1"/>
          </p:cNvSpPr>
          <p:nvPr>
            <p:ph type="body" sz="quarter" idx="21"/>
          </p:nvPr>
        </p:nvSpPr>
        <p:spPr>
          <a:xfrm>
            <a:off x="6476999" y="3384433"/>
            <a:ext cx="2285996" cy="912223"/>
          </a:xfrm>
        </p:spPr>
        <p:txBody>
          <a:bodyPr/>
          <a:lstStyle/>
          <a:p>
            <a:r>
              <a:rPr lang="pt-BR" noProof="1"/>
              <a:t>XX%</a:t>
            </a:r>
          </a:p>
        </p:txBody>
      </p:sp>
      <p:sp>
        <p:nvSpPr>
          <p:cNvPr id="5" name="Marcador de texto 4">
            <a:extLst>
              <a:ext uri="{FF2B5EF4-FFF2-40B4-BE49-F238E27FC236}">
                <a16:creationId xmlns:a16="http://schemas.microsoft.com/office/drawing/2014/main" id="{38A4E1F2-3D13-A356-A80C-BF295B94E880}"/>
              </a:ext>
            </a:extLst>
          </p:cNvPr>
          <p:cNvSpPr>
            <a:spLocks noGrp="1"/>
          </p:cNvSpPr>
          <p:nvPr>
            <p:ph type="body" sz="quarter" idx="29"/>
          </p:nvPr>
        </p:nvSpPr>
        <p:spPr>
          <a:xfrm>
            <a:off x="6476916" y="4508500"/>
            <a:ext cx="2286000" cy="1439333"/>
          </a:xfrm>
        </p:spPr>
        <p:txBody>
          <a:bodyPr/>
          <a:lstStyle/>
          <a:p>
            <a:r>
              <a:rPr lang="pt-BR" noProof="1"/>
              <a:t>Stat headline</a:t>
            </a:r>
          </a:p>
          <a:p>
            <a:pPr lvl="1"/>
            <a:r>
              <a:rPr lang="pt-BR" noProof="1"/>
              <a:t>Stat detail</a:t>
            </a:r>
          </a:p>
          <a:p>
            <a:pPr lvl="2"/>
            <a:r>
              <a:rPr lang="pt-BR" noProof="1"/>
              <a:t>Bullet point</a:t>
            </a:r>
          </a:p>
        </p:txBody>
      </p:sp>
      <p:sp>
        <p:nvSpPr>
          <p:cNvPr id="11" name="Marcador de texto 10">
            <a:extLst>
              <a:ext uri="{FF2B5EF4-FFF2-40B4-BE49-F238E27FC236}">
                <a16:creationId xmlns:a16="http://schemas.microsoft.com/office/drawing/2014/main" id="{4ACFD8B8-9563-6E31-AB9A-D097D067AB62}"/>
              </a:ext>
            </a:extLst>
          </p:cNvPr>
          <p:cNvSpPr>
            <a:spLocks noGrp="1"/>
          </p:cNvSpPr>
          <p:nvPr>
            <p:ph type="body" sz="quarter" idx="24"/>
          </p:nvPr>
        </p:nvSpPr>
        <p:spPr>
          <a:xfrm>
            <a:off x="9525005" y="3384433"/>
            <a:ext cx="2285996" cy="912223"/>
          </a:xfrm>
        </p:spPr>
        <p:txBody>
          <a:bodyPr/>
          <a:lstStyle/>
          <a:p>
            <a:r>
              <a:rPr lang="pt-BR" noProof="1"/>
              <a:t>XX%</a:t>
            </a:r>
          </a:p>
        </p:txBody>
      </p:sp>
      <p:sp>
        <p:nvSpPr>
          <p:cNvPr id="10" name="Marcador de texto 9">
            <a:extLst>
              <a:ext uri="{FF2B5EF4-FFF2-40B4-BE49-F238E27FC236}">
                <a16:creationId xmlns:a16="http://schemas.microsoft.com/office/drawing/2014/main" id="{BCFC2B4F-BF94-DAA8-43CB-C1C5AAC7CDB6}"/>
              </a:ext>
            </a:extLst>
          </p:cNvPr>
          <p:cNvSpPr>
            <a:spLocks noGrp="1"/>
          </p:cNvSpPr>
          <p:nvPr>
            <p:ph type="body" sz="quarter" idx="31"/>
          </p:nvPr>
        </p:nvSpPr>
        <p:spPr>
          <a:xfrm>
            <a:off x="9525004" y="4508500"/>
            <a:ext cx="2286000" cy="1439333"/>
          </a:xfrm>
        </p:spPr>
        <p:txBody>
          <a:bodyPr/>
          <a:lstStyle/>
          <a:p>
            <a:r>
              <a:rPr lang="pt-BR" noProof="1"/>
              <a:t>Stat headline</a:t>
            </a:r>
          </a:p>
          <a:p>
            <a:pPr lvl="1"/>
            <a:r>
              <a:rPr lang="pt-BR" noProof="1"/>
              <a:t>Stat detail</a:t>
            </a:r>
          </a:p>
          <a:p>
            <a:pPr lvl="2"/>
            <a:r>
              <a:rPr lang="pt-BR" noProof="1"/>
              <a:t>Bullet point</a:t>
            </a:r>
          </a:p>
        </p:txBody>
      </p:sp>
    </p:spTree>
    <p:extLst>
      <p:ext uri="{BB962C8B-B14F-4D97-AF65-F5344CB8AC3E}">
        <p14:creationId xmlns:p14="http://schemas.microsoft.com/office/powerpoint/2010/main" val="419822124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6633A849-E5FC-1743-CD98-288F97F463D6}"/>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24EAD1B-71CD-5253-EB3D-AB7AF722463A}"/>
              </a:ext>
            </a:extLst>
          </p:cNvPr>
          <p:cNvGraphicFramePr>
            <a:graphicFrameLocks noChangeAspect="1"/>
          </p:cNvGraphicFramePr>
          <p:nvPr>
            <p:custDataLst>
              <p:tags r:id="rId1"/>
            </p:custDataLst>
            <p:extLst>
              <p:ext uri="{D42A27DB-BD31-4B8C-83A1-F6EECF244321}">
                <p14:modId xmlns:p14="http://schemas.microsoft.com/office/powerpoint/2010/main" val="39967070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3" name="think-cell data - do not delete" hidden="1">
                        <a:extLst>
                          <a:ext uri="{FF2B5EF4-FFF2-40B4-BE49-F238E27FC236}">
                            <a16:creationId xmlns:a16="http://schemas.microsoft.com/office/drawing/2014/main" id="{624EAD1B-71CD-5253-EB3D-AB7AF72246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Title 22">
            <a:extLst>
              <a:ext uri="{FF2B5EF4-FFF2-40B4-BE49-F238E27FC236}">
                <a16:creationId xmlns:a16="http://schemas.microsoft.com/office/drawing/2014/main" id="{01217764-BD8B-C1EC-5685-168B05049132}"/>
              </a:ext>
            </a:extLst>
          </p:cNvPr>
          <p:cNvSpPr>
            <a:spLocks noGrp="1"/>
          </p:cNvSpPr>
          <p:nvPr>
            <p:ph type="title"/>
          </p:nvPr>
        </p:nvSpPr>
        <p:spPr>
          <a:xfrm>
            <a:off x="561601" y="839311"/>
            <a:ext cx="5312727" cy="1477328"/>
          </a:xfrm>
        </p:spPr>
        <p:txBody>
          <a:bodyPr vert="horz"/>
          <a:lstStyle/>
          <a:p>
            <a:pPr lvl="0"/>
            <a:r>
              <a:rPr lang="pt-BR" noProof="1"/>
              <a:t>Place headline here in Graphik semibold</a:t>
            </a:r>
            <a:br>
              <a:rPr lang="pt-BR" noProof="1"/>
            </a:br>
            <a:r>
              <a:rPr lang="pt-BR" noProof="1"/>
              <a:t>#21</a:t>
            </a:r>
          </a:p>
        </p:txBody>
      </p:sp>
      <p:pic>
        <p:nvPicPr>
          <p:cNvPr id="19" name="Picture Placeholder 18">
            <a:extLst>
              <a:ext uri="{FF2B5EF4-FFF2-40B4-BE49-F238E27FC236}">
                <a16:creationId xmlns:a16="http://schemas.microsoft.com/office/drawing/2014/main" id="{7F2DD95F-AC2B-2156-E2B0-18A85195BE37}"/>
              </a:ext>
              <a:ext uri="{C183D7F6-B498-43B3-948B-1728B52AA6E4}">
                <adec:decorative xmlns:adec="http://schemas.microsoft.com/office/drawing/2017/decorative" val="1"/>
              </a:ext>
            </a:extLst>
          </p:cNvPr>
          <p:cNvPicPr>
            <a:picLocks noGrp="1" noChangeAspect="1"/>
          </p:cNvPicPr>
          <p:nvPr>
            <p:ph type="pic" sz="quarter" idx="16"/>
          </p:nvPr>
        </p:nvPicPr>
        <p:blipFill>
          <a:blip r:embed="rId6" cstate="screen">
            <a:extLst>
              <a:ext uri="{28A0092B-C50C-407E-A947-70E740481C1C}">
                <a14:useLocalDpi xmlns:a14="http://schemas.microsoft.com/office/drawing/2010/main"/>
              </a:ext>
            </a:extLst>
          </a:blip>
          <a:srcRect t="87" b="87"/>
          <a:stretch/>
        </p:blipFill>
        <p:spPr>
          <a:xfrm>
            <a:off x="6096032" y="-1"/>
            <a:ext cx="3048024" cy="3074023"/>
          </a:xfrm>
        </p:spPr>
      </p:pic>
      <p:sp>
        <p:nvSpPr>
          <p:cNvPr id="4" name="Marcador de texto 3">
            <a:extLst>
              <a:ext uri="{FF2B5EF4-FFF2-40B4-BE49-F238E27FC236}">
                <a16:creationId xmlns:a16="http://schemas.microsoft.com/office/drawing/2014/main" id="{A2E8F6E2-D600-EE03-F011-0F43E879547A}"/>
              </a:ext>
            </a:extLst>
          </p:cNvPr>
          <p:cNvSpPr>
            <a:spLocks noGrp="1"/>
          </p:cNvSpPr>
          <p:nvPr>
            <p:ph type="body" sz="quarter" idx="17"/>
          </p:nvPr>
        </p:nvSpPr>
        <p:spPr>
          <a:xfrm>
            <a:off x="9525010" y="303835"/>
            <a:ext cx="2285996" cy="912223"/>
          </a:xfrm>
        </p:spPr>
        <p:txBody>
          <a:bodyPr/>
          <a:lstStyle/>
          <a:p>
            <a:r>
              <a:rPr lang="pt-BR" noProof="1"/>
              <a:t>XX%</a:t>
            </a:r>
          </a:p>
        </p:txBody>
      </p:sp>
      <p:sp>
        <p:nvSpPr>
          <p:cNvPr id="12" name="Marcador de texto 11">
            <a:extLst>
              <a:ext uri="{FF2B5EF4-FFF2-40B4-BE49-F238E27FC236}">
                <a16:creationId xmlns:a16="http://schemas.microsoft.com/office/drawing/2014/main" id="{91929C6A-DD6B-02DC-600A-516F1082F4E1}"/>
              </a:ext>
            </a:extLst>
          </p:cNvPr>
          <p:cNvSpPr>
            <a:spLocks noGrp="1"/>
          </p:cNvSpPr>
          <p:nvPr>
            <p:ph type="body" sz="quarter" idx="32"/>
          </p:nvPr>
        </p:nvSpPr>
        <p:spPr>
          <a:xfrm>
            <a:off x="9525004" y="1472692"/>
            <a:ext cx="2286000" cy="1439333"/>
          </a:xfrm>
        </p:spPr>
        <p:txBody>
          <a:bodyPr/>
          <a:lstStyle/>
          <a:p>
            <a:r>
              <a:rPr lang="pt-BR" noProof="1"/>
              <a:t>Stat headline</a:t>
            </a:r>
          </a:p>
          <a:p>
            <a:pPr lvl="1"/>
            <a:r>
              <a:rPr lang="pt-BR" noProof="1"/>
              <a:t>Stat detail</a:t>
            </a:r>
          </a:p>
          <a:p>
            <a:pPr lvl="2"/>
            <a:r>
              <a:rPr lang="pt-BR" noProof="1"/>
              <a:t>Bullet point</a:t>
            </a:r>
          </a:p>
        </p:txBody>
      </p:sp>
      <p:pic>
        <p:nvPicPr>
          <p:cNvPr id="17" name="Picture Placeholder 16">
            <a:extLst>
              <a:ext uri="{FF2B5EF4-FFF2-40B4-BE49-F238E27FC236}">
                <a16:creationId xmlns:a16="http://schemas.microsoft.com/office/drawing/2014/main" id="{9AB92F36-5F2B-8D9D-09B1-1FB859833538}"/>
              </a:ext>
              <a:ext uri="{C183D7F6-B498-43B3-948B-1728B52AA6E4}">
                <adec:decorative xmlns:adec="http://schemas.microsoft.com/office/drawing/2017/decorative" val="1"/>
              </a:ext>
            </a:extLst>
          </p:cNvPr>
          <p:cNvPicPr>
            <a:picLocks noGrp="1" noChangeAspect="1"/>
          </p:cNvPicPr>
          <p:nvPr>
            <p:ph type="pic" sz="quarter" idx="23"/>
          </p:nvPr>
        </p:nvPicPr>
        <p:blipFill>
          <a:blip r:embed="rId7" cstate="screen">
            <a:extLst>
              <a:ext uri="{28A0092B-C50C-407E-A947-70E740481C1C}">
                <a14:useLocalDpi xmlns:a14="http://schemas.microsoft.com/office/drawing/2010/main"/>
              </a:ext>
            </a:extLst>
          </a:blip>
          <a:srcRect l="529" r="529"/>
          <a:stretch/>
        </p:blipFill>
        <p:spPr>
          <a:xfrm>
            <a:off x="0" y="3074022"/>
            <a:ext cx="3048000" cy="3055316"/>
          </a:xfrm>
        </p:spPr>
      </p:pic>
      <p:sp>
        <p:nvSpPr>
          <p:cNvPr id="7" name="Marcador de texto 6">
            <a:extLst>
              <a:ext uri="{FF2B5EF4-FFF2-40B4-BE49-F238E27FC236}">
                <a16:creationId xmlns:a16="http://schemas.microsoft.com/office/drawing/2014/main" id="{0A55FFD3-DB51-DA60-3F14-E75CC71CB5FD}"/>
              </a:ext>
            </a:extLst>
          </p:cNvPr>
          <p:cNvSpPr>
            <a:spLocks noGrp="1"/>
          </p:cNvSpPr>
          <p:nvPr>
            <p:ph type="body" sz="quarter" idx="19"/>
          </p:nvPr>
        </p:nvSpPr>
        <p:spPr>
          <a:xfrm>
            <a:off x="3428989" y="3384433"/>
            <a:ext cx="2285996" cy="912223"/>
          </a:xfrm>
        </p:spPr>
        <p:txBody>
          <a:bodyPr/>
          <a:lstStyle/>
          <a:p>
            <a:r>
              <a:rPr lang="pt-BR" noProof="1"/>
              <a:t>XX%</a:t>
            </a:r>
          </a:p>
        </p:txBody>
      </p:sp>
      <p:sp>
        <p:nvSpPr>
          <p:cNvPr id="8" name="Marcador de texto 7">
            <a:extLst>
              <a:ext uri="{FF2B5EF4-FFF2-40B4-BE49-F238E27FC236}">
                <a16:creationId xmlns:a16="http://schemas.microsoft.com/office/drawing/2014/main" id="{374205F0-556B-2B8C-B485-2BA27273478A}"/>
              </a:ext>
            </a:extLst>
          </p:cNvPr>
          <p:cNvSpPr>
            <a:spLocks noGrp="1"/>
          </p:cNvSpPr>
          <p:nvPr>
            <p:ph type="body" sz="quarter" idx="30"/>
          </p:nvPr>
        </p:nvSpPr>
        <p:spPr>
          <a:xfrm>
            <a:off x="3428948" y="4508500"/>
            <a:ext cx="2286000" cy="1439333"/>
          </a:xfrm>
        </p:spPr>
        <p:txBody>
          <a:bodyPr/>
          <a:lstStyle/>
          <a:p>
            <a:r>
              <a:rPr lang="pt-BR" noProof="1"/>
              <a:t>Stat headline</a:t>
            </a:r>
          </a:p>
          <a:p>
            <a:pPr lvl="1"/>
            <a:r>
              <a:rPr lang="pt-BR" noProof="1"/>
              <a:t>Stat detail</a:t>
            </a:r>
          </a:p>
          <a:p>
            <a:pPr lvl="2"/>
            <a:r>
              <a:rPr lang="pt-BR" noProof="1"/>
              <a:t>Bullet point</a:t>
            </a:r>
          </a:p>
        </p:txBody>
      </p:sp>
      <p:sp>
        <p:nvSpPr>
          <p:cNvPr id="9" name="Marcador de texto 8">
            <a:extLst>
              <a:ext uri="{FF2B5EF4-FFF2-40B4-BE49-F238E27FC236}">
                <a16:creationId xmlns:a16="http://schemas.microsoft.com/office/drawing/2014/main" id="{BB704BF9-D071-1126-EDD3-E188982C8F59}"/>
              </a:ext>
            </a:extLst>
          </p:cNvPr>
          <p:cNvSpPr>
            <a:spLocks noGrp="1"/>
          </p:cNvSpPr>
          <p:nvPr>
            <p:ph type="body" sz="quarter" idx="21"/>
          </p:nvPr>
        </p:nvSpPr>
        <p:spPr>
          <a:xfrm>
            <a:off x="6476999" y="3384433"/>
            <a:ext cx="2285996" cy="912223"/>
          </a:xfrm>
        </p:spPr>
        <p:txBody>
          <a:bodyPr/>
          <a:lstStyle/>
          <a:p>
            <a:r>
              <a:rPr lang="pt-BR" noProof="1"/>
              <a:t>XX%</a:t>
            </a:r>
          </a:p>
        </p:txBody>
      </p:sp>
      <p:sp>
        <p:nvSpPr>
          <p:cNvPr id="5" name="Marcador de texto 4">
            <a:extLst>
              <a:ext uri="{FF2B5EF4-FFF2-40B4-BE49-F238E27FC236}">
                <a16:creationId xmlns:a16="http://schemas.microsoft.com/office/drawing/2014/main" id="{2357DC55-252C-B83E-4680-5C26DF830AF8}"/>
              </a:ext>
            </a:extLst>
          </p:cNvPr>
          <p:cNvSpPr>
            <a:spLocks noGrp="1"/>
          </p:cNvSpPr>
          <p:nvPr>
            <p:ph type="body" sz="quarter" idx="29"/>
          </p:nvPr>
        </p:nvSpPr>
        <p:spPr>
          <a:xfrm>
            <a:off x="6476916" y="4508500"/>
            <a:ext cx="2286000" cy="1439333"/>
          </a:xfrm>
        </p:spPr>
        <p:txBody>
          <a:bodyPr/>
          <a:lstStyle/>
          <a:p>
            <a:r>
              <a:rPr lang="pt-BR" noProof="1"/>
              <a:t>Stat headline</a:t>
            </a:r>
          </a:p>
          <a:p>
            <a:pPr lvl="1"/>
            <a:r>
              <a:rPr lang="pt-BR" noProof="1"/>
              <a:t>Stat detail</a:t>
            </a:r>
          </a:p>
          <a:p>
            <a:pPr lvl="2"/>
            <a:r>
              <a:rPr lang="pt-BR" noProof="1"/>
              <a:t>Bullet point</a:t>
            </a:r>
          </a:p>
        </p:txBody>
      </p:sp>
      <p:sp>
        <p:nvSpPr>
          <p:cNvPr id="11" name="Marcador de texto 10">
            <a:extLst>
              <a:ext uri="{FF2B5EF4-FFF2-40B4-BE49-F238E27FC236}">
                <a16:creationId xmlns:a16="http://schemas.microsoft.com/office/drawing/2014/main" id="{8C450B22-59C1-188A-64B2-3102C1A73A1A}"/>
              </a:ext>
            </a:extLst>
          </p:cNvPr>
          <p:cNvSpPr>
            <a:spLocks noGrp="1"/>
          </p:cNvSpPr>
          <p:nvPr>
            <p:ph type="body" sz="quarter" idx="24"/>
          </p:nvPr>
        </p:nvSpPr>
        <p:spPr>
          <a:xfrm>
            <a:off x="9525005" y="3384433"/>
            <a:ext cx="2285996" cy="912223"/>
          </a:xfrm>
        </p:spPr>
        <p:txBody>
          <a:bodyPr/>
          <a:lstStyle/>
          <a:p>
            <a:r>
              <a:rPr lang="pt-BR" noProof="1"/>
              <a:t>XX%</a:t>
            </a:r>
          </a:p>
        </p:txBody>
      </p:sp>
      <p:sp>
        <p:nvSpPr>
          <p:cNvPr id="10" name="Marcador de texto 9">
            <a:extLst>
              <a:ext uri="{FF2B5EF4-FFF2-40B4-BE49-F238E27FC236}">
                <a16:creationId xmlns:a16="http://schemas.microsoft.com/office/drawing/2014/main" id="{2A350CF1-A3FD-A436-77C3-CF43DC04896C}"/>
              </a:ext>
            </a:extLst>
          </p:cNvPr>
          <p:cNvSpPr>
            <a:spLocks noGrp="1"/>
          </p:cNvSpPr>
          <p:nvPr>
            <p:ph type="body" sz="quarter" idx="31"/>
          </p:nvPr>
        </p:nvSpPr>
        <p:spPr>
          <a:xfrm>
            <a:off x="9525004" y="4508500"/>
            <a:ext cx="2286000" cy="1439333"/>
          </a:xfrm>
        </p:spPr>
        <p:txBody>
          <a:bodyPr/>
          <a:lstStyle/>
          <a:p>
            <a:r>
              <a:rPr lang="pt-BR" noProof="1"/>
              <a:t>Stat headline</a:t>
            </a:r>
          </a:p>
          <a:p>
            <a:pPr lvl="1"/>
            <a:r>
              <a:rPr lang="pt-BR" noProof="1"/>
              <a:t>Stat detail</a:t>
            </a:r>
          </a:p>
          <a:p>
            <a:pPr lvl="2"/>
            <a:r>
              <a:rPr lang="pt-BR" noProof="1"/>
              <a:t>Bullet point</a:t>
            </a:r>
          </a:p>
        </p:txBody>
      </p:sp>
    </p:spTree>
    <p:extLst>
      <p:ext uri="{BB962C8B-B14F-4D97-AF65-F5344CB8AC3E}">
        <p14:creationId xmlns:p14="http://schemas.microsoft.com/office/powerpoint/2010/main" val="245337226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13B612E-A5C7-1D0C-C31D-3C8B7175C543}"/>
              </a:ext>
            </a:extLst>
          </p:cNvPr>
          <p:cNvGraphicFramePr>
            <a:graphicFrameLocks noChangeAspect="1"/>
          </p:cNvGraphicFramePr>
          <p:nvPr>
            <p:custDataLst>
              <p:tags r:id="rId1"/>
            </p:custDataLst>
            <p:extLst>
              <p:ext uri="{D42A27DB-BD31-4B8C-83A1-F6EECF244321}">
                <p14:modId xmlns:p14="http://schemas.microsoft.com/office/powerpoint/2010/main" val="2618604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2" name="think-cell data - do not delete" hidden="1">
                        <a:extLst>
                          <a:ext uri="{FF2B5EF4-FFF2-40B4-BE49-F238E27FC236}">
                            <a16:creationId xmlns:a16="http://schemas.microsoft.com/office/drawing/2014/main" id="{F13B612E-A5C7-1D0C-C31D-3C8B7175C5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A4FD688-AC5A-3D22-C93D-83B0761FDA4C}"/>
              </a:ext>
            </a:extLst>
          </p:cNvPr>
          <p:cNvSpPr>
            <a:spLocks noGrp="1"/>
          </p:cNvSpPr>
          <p:nvPr>
            <p:ph type="ctrTitle"/>
          </p:nvPr>
        </p:nvSpPr>
        <p:spPr>
          <a:xfrm>
            <a:off x="1182795" y="4441608"/>
            <a:ext cx="6831047" cy="664797"/>
          </a:xfrm>
        </p:spPr>
        <p:txBody>
          <a:bodyPr vert="horz"/>
          <a:lstStyle/>
          <a:p>
            <a:r>
              <a:rPr lang="pt-BR" noProof="1"/>
              <a:t>Infographics</a:t>
            </a:r>
          </a:p>
        </p:txBody>
      </p:sp>
      <p:sp>
        <p:nvSpPr>
          <p:cNvPr id="11" name="Subtitle 10">
            <a:extLst>
              <a:ext uri="{FF2B5EF4-FFF2-40B4-BE49-F238E27FC236}">
                <a16:creationId xmlns:a16="http://schemas.microsoft.com/office/drawing/2014/main" id="{5270B4B9-2AAB-C169-3CAE-FE94D0200A72}"/>
              </a:ext>
            </a:extLst>
          </p:cNvPr>
          <p:cNvSpPr>
            <a:spLocks noGrp="1"/>
          </p:cNvSpPr>
          <p:nvPr>
            <p:ph type="subTitle" idx="1"/>
          </p:nvPr>
        </p:nvSpPr>
        <p:spPr>
          <a:xfrm>
            <a:off x="1182795" y="5219056"/>
            <a:ext cx="6831047" cy="1092845"/>
          </a:xfrm>
        </p:spPr>
        <p:txBody>
          <a:bodyPr/>
          <a:lstStyle/>
          <a:p>
            <a:r>
              <a:rPr lang="pt-BR" noProof="1"/>
              <a:t>Make your ideas visually engaging</a:t>
            </a:r>
          </a:p>
        </p:txBody>
      </p:sp>
    </p:spTree>
    <p:extLst>
      <p:ext uri="{BB962C8B-B14F-4D97-AF65-F5344CB8AC3E}">
        <p14:creationId xmlns:p14="http://schemas.microsoft.com/office/powerpoint/2010/main" val="7370811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1C7CE8-70AA-2666-491E-4444FE3DB456}"/>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6AE67B5-F743-4212-4750-2D4C7FE49CD5}"/>
              </a:ext>
            </a:extLst>
          </p:cNvPr>
          <p:cNvGraphicFramePr>
            <a:graphicFrameLocks noChangeAspect="1"/>
          </p:cNvGraphicFramePr>
          <p:nvPr>
            <p:custDataLst>
              <p:tags r:id="rId1"/>
            </p:custDataLst>
            <p:extLst>
              <p:ext uri="{D42A27DB-BD31-4B8C-83A1-F6EECF244321}">
                <p14:modId xmlns:p14="http://schemas.microsoft.com/office/powerpoint/2010/main" val="89330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4" name="think-cell data - do not delete" hidden="1">
                        <a:extLst>
                          <a:ext uri="{FF2B5EF4-FFF2-40B4-BE49-F238E27FC236}">
                            <a16:creationId xmlns:a16="http://schemas.microsoft.com/office/drawing/2014/main" id="{B6AE67B5-F743-4212-4750-2D4C7FE49CD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ítulo 5">
            <a:extLst>
              <a:ext uri="{FF2B5EF4-FFF2-40B4-BE49-F238E27FC236}">
                <a16:creationId xmlns:a16="http://schemas.microsoft.com/office/drawing/2014/main" id="{E538A9F8-491F-A1D9-F64D-3C84E5061785}"/>
              </a:ext>
            </a:extLst>
          </p:cNvPr>
          <p:cNvSpPr>
            <a:spLocks noGrp="1"/>
          </p:cNvSpPr>
          <p:nvPr>
            <p:ph type="title"/>
          </p:nvPr>
        </p:nvSpPr>
        <p:spPr>
          <a:xfrm>
            <a:off x="556467" y="572600"/>
            <a:ext cx="6898434" cy="393954"/>
          </a:xfrm>
        </p:spPr>
        <p:txBody>
          <a:bodyPr vert="horz"/>
          <a:lstStyle/>
          <a:p>
            <a:r>
              <a:rPr kumimoji="0" lang="pt-BR" sz="3200" b="1" i="0" u="none" strike="noStrike" kern="1200" cap="none" spc="0" normalizeH="0" baseline="0" noProof="1">
                <a:ln>
                  <a:noFill/>
                </a:ln>
                <a:solidFill>
                  <a:schemeClr val="tx1"/>
                </a:solidFill>
                <a:effectLst/>
                <a:uLnTx/>
                <a:uFillTx/>
                <a:latin typeface="Graphik Semibold" panose="020B0503030202060203" pitchFamily="34" charset="77"/>
                <a:ea typeface="+mj-ea"/>
                <a:cs typeface="+mj-cs"/>
              </a:rPr>
              <a:t>Objetivo do Trabalho</a:t>
            </a:r>
            <a:endParaRPr lang="pt-BR" noProof="1"/>
          </a:p>
        </p:txBody>
      </p:sp>
      <p:sp>
        <p:nvSpPr>
          <p:cNvPr id="3" name="Marcador de contenido 2">
            <a:extLst>
              <a:ext uri="{FF2B5EF4-FFF2-40B4-BE49-F238E27FC236}">
                <a16:creationId xmlns:a16="http://schemas.microsoft.com/office/drawing/2014/main" id="{FE659060-22E7-3596-29F4-A66B4FA24E5E}"/>
              </a:ext>
            </a:extLst>
          </p:cNvPr>
          <p:cNvSpPr>
            <a:spLocks noGrp="1"/>
          </p:cNvSpPr>
          <p:nvPr>
            <p:ph sz="half" idx="23"/>
          </p:nvPr>
        </p:nvSpPr>
        <p:spPr/>
        <p:txBody>
          <a:bodyPr/>
          <a:lstStyle/>
          <a:p>
            <a:pPr lvl="0"/>
            <a:r>
              <a:rPr lang="pt-BR" noProof="1"/>
              <a:t>Desenvolver um framework híbrido que integra VEM, Deep Learning e quantificação de incerteza para identificar regiões críticas e guiar refinamento adaptativo de malha, aprimorando progressivamente a solução estrutural.</a:t>
            </a:r>
          </a:p>
          <a:p>
            <a:pPr marL="285750" lvl="0" indent="-285750">
              <a:buClr>
                <a:srgbClr val="460073"/>
              </a:buClr>
              <a:buFont typeface="Arial" panose="020B0604020202020204" pitchFamily="34" charset="0"/>
              <a:buChar char="•"/>
            </a:pPr>
            <a:r>
              <a:rPr lang="pt-BR" noProof="1"/>
              <a:t>Combina precisão numérica e velocidade computacional</a:t>
            </a:r>
          </a:p>
          <a:p>
            <a:pPr marL="285750" lvl="0" indent="-285750">
              <a:buClr>
                <a:srgbClr val="460073"/>
              </a:buClr>
              <a:buFont typeface="Arial" panose="020B0604020202020204" pitchFamily="34" charset="0"/>
              <a:buChar char="•"/>
            </a:pPr>
            <a:r>
              <a:rPr lang="pt-BR" noProof="1"/>
              <a:t>Permite aprimoramento progressivo da solução estrutural</a:t>
            </a:r>
          </a:p>
        </p:txBody>
      </p:sp>
      <p:sp>
        <p:nvSpPr>
          <p:cNvPr id="5" name="Marcador de texto 1">
            <a:extLst>
              <a:ext uri="{FF2B5EF4-FFF2-40B4-BE49-F238E27FC236}">
                <a16:creationId xmlns:a16="http://schemas.microsoft.com/office/drawing/2014/main" id="{23103FCA-B26C-E27E-C172-9FFB17DC03D0}"/>
              </a:ext>
            </a:extLst>
          </p:cNvPr>
          <p:cNvSpPr txBox="1">
            <a:spLocks/>
          </p:cNvSpPr>
          <p:nvPr/>
        </p:nvSpPr>
        <p:spPr>
          <a:xfrm>
            <a:off x="563411" y="1109663"/>
            <a:ext cx="5075389" cy="384048"/>
          </a:xfrm>
          <a:prstGeom prst="rect">
            <a:avLst/>
          </a:prstGeom>
        </p:spPr>
        <p:txBody>
          <a:bodyPr/>
          <a:lstStyle>
            <a:lvl1pPr marL="0" indent="0" algn="l" defTabSz="228594" rtl="0" eaLnBrk="1" latinLnBrk="0" hangingPunct="1">
              <a:lnSpc>
                <a:spcPct val="100000"/>
              </a:lnSpc>
              <a:spcBef>
                <a:spcPts val="0"/>
              </a:spcBef>
              <a:spcAft>
                <a:spcPts val="1200"/>
              </a:spcAft>
              <a:buFont typeface="Arial" panose="020B0604020202020204" pitchFamily="34" charset="0"/>
              <a:buNone/>
              <a:defRPr sz="1400" b="0" kern="1200">
                <a:solidFill>
                  <a:schemeClr val="tx1"/>
                </a:solidFill>
                <a:latin typeface="+mn-lt"/>
                <a:ea typeface="+mn-ea"/>
                <a:cs typeface="+mn-cs"/>
              </a:defRPr>
            </a:lvl1pPr>
            <a:lvl2pPr marL="228594" indent="-228594" algn="l" defTabSz="228594" rtl="0" eaLnBrk="1" latinLnBrk="0" hangingPunct="1">
              <a:lnSpc>
                <a:spcPct val="100000"/>
              </a:lnSpc>
              <a:spcBef>
                <a:spcPts val="0"/>
              </a:spcBef>
              <a:spcAft>
                <a:spcPts val="1200"/>
              </a:spcAft>
              <a:buClrTx/>
              <a:buFont typeface="Arial" panose="020B0604020202020204" pitchFamily="34" charset="0"/>
              <a:buChar char="•"/>
              <a:defRPr sz="1200" kern="1200">
                <a:solidFill>
                  <a:schemeClr val="tx1"/>
                </a:solidFill>
                <a:latin typeface="+mn-lt"/>
                <a:ea typeface="+mn-ea"/>
                <a:cs typeface="+mn-cs"/>
              </a:defRPr>
            </a:lvl2pPr>
            <a:lvl3pPr marL="457189" indent="-228594" algn="l" defTabSz="228594" rtl="0" eaLnBrk="1" latinLnBrk="0" hangingPunct="1">
              <a:lnSpc>
                <a:spcPct val="100000"/>
              </a:lnSpc>
              <a:spcBef>
                <a:spcPts val="0"/>
              </a:spcBef>
              <a:spcAft>
                <a:spcPts val="1200"/>
              </a:spcAft>
              <a:buFont typeface="System Font"/>
              <a:buChar char="–"/>
              <a:defRPr sz="1200" kern="1200">
                <a:solidFill>
                  <a:schemeClr val="tx1"/>
                </a:solidFill>
                <a:latin typeface="+mn-lt"/>
                <a:ea typeface="+mn-ea"/>
                <a:cs typeface="+mn-cs"/>
              </a:defRPr>
            </a:lvl3pPr>
            <a:lvl4pPr marL="685783" indent="-228594" algn="l" defTabSz="228594" rtl="0" eaLnBrk="1" latinLnBrk="0" hangingPunct="1">
              <a:lnSpc>
                <a:spcPct val="100000"/>
              </a:lnSpc>
              <a:spcBef>
                <a:spcPts val="0"/>
              </a:spcBef>
              <a:spcAft>
                <a:spcPts val="1200"/>
              </a:spcAft>
              <a:buFont typeface="Arial" panose="020B0604020202020204" pitchFamily="34" charset="0"/>
              <a:buChar char="•"/>
              <a:defRPr sz="1100" kern="1200">
                <a:solidFill>
                  <a:schemeClr val="tx1"/>
                </a:solidFill>
                <a:latin typeface="+mn-lt"/>
                <a:ea typeface="+mn-ea"/>
                <a:cs typeface="+mn-cs"/>
              </a:defRPr>
            </a:lvl4pPr>
            <a:lvl5pPr marL="914377" indent="-228594" algn="l" defTabSz="228594" rtl="0" eaLnBrk="1" latinLnBrk="0" hangingPunct="1">
              <a:lnSpc>
                <a:spcPct val="100000"/>
              </a:lnSpc>
              <a:spcBef>
                <a:spcPts val="0"/>
              </a:spcBef>
              <a:spcAft>
                <a:spcPts val="1200"/>
              </a:spcAft>
              <a:buFont typeface="System Font"/>
              <a:buChar char="–"/>
              <a:defRPr sz="1100" kern="1200">
                <a:solidFill>
                  <a:schemeClr val="tx1"/>
                </a:solidFill>
                <a:latin typeface="+mn-lt"/>
                <a:ea typeface="+mn-ea"/>
                <a:cs typeface="+mn-cs"/>
              </a:defRPr>
            </a:lvl5pPr>
            <a:lvl6pPr marL="11113" indent="0" algn="l" defTabSz="228594" rtl="0" eaLnBrk="1" latinLnBrk="0" hangingPunct="1">
              <a:lnSpc>
                <a:spcPct val="90000"/>
              </a:lnSpc>
              <a:spcBef>
                <a:spcPts val="0"/>
              </a:spcBef>
              <a:spcAft>
                <a:spcPts val="1200"/>
              </a:spcAft>
              <a:buFont typeface="Graphik" panose="020B0503030202060203" pitchFamily="34" charset="0"/>
              <a:buNone/>
              <a:tabLst/>
              <a:defRPr sz="1200" kern="1200">
                <a:solidFill>
                  <a:schemeClr val="tx1"/>
                </a:solidFill>
                <a:latin typeface="+mn-lt"/>
                <a:ea typeface="+mn-ea"/>
                <a:cs typeface="+mn-cs"/>
              </a:defRPr>
            </a:lvl6pPr>
            <a:lvl7pPr marL="0" indent="0" algn="l" defTabSz="22859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mn-lt"/>
                <a:ea typeface="+mn-ea"/>
                <a:cs typeface="+mn-cs"/>
              </a:defRPr>
            </a:lvl7pPr>
            <a:lvl8pPr marL="0" indent="0" algn="l" defTabSz="22859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mn-lt"/>
                <a:ea typeface="+mn-ea"/>
                <a:cs typeface="+mn-cs"/>
              </a:defRPr>
            </a:lvl8pPr>
            <a:lvl9pPr marL="0" indent="0" algn="l" defTabSz="22859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mn-lt"/>
                <a:ea typeface="+mn-ea"/>
                <a:cs typeface="+mn-cs"/>
              </a:defRPr>
            </a:lvl9pPr>
          </a:lstStyle>
          <a:p>
            <a:r>
              <a:rPr lang="pt-BR" sz="1800" noProof="1">
                <a:solidFill>
                  <a:schemeClr val="bg2"/>
                </a:solidFill>
                <a:latin typeface="Graphik" panose="020B0503030202060203" pitchFamily="34" charset="0"/>
              </a:rPr>
              <a:t>Propósito central da abordagem proposta</a:t>
            </a:r>
          </a:p>
        </p:txBody>
      </p:sp>
      <p:grpSp>
        <p:nvGrpSpPr>
          <p:cNvPr id="100" name="Group 99">
            <a:extLst>
              <a:ext uri="{FF2B5EF4-FFF2-40B4-BE49-F238E27FC236}">
                <a16:creationId xmlns:a16="http://schemas.microsoft.com/office/drawing/2014/main" id="{16D5FE86-ABDC-9330-2110-7B901D5E6F14}"/>
              </a:ext>
            </a:extLst>
          </p:cNvPr>
          <p:cNvGrpSpPr/>
          <p:nvPr/>
        </p:nvGrpSpPr>
        <p:grpSpPr>
          <a:xfrm>
            <a:off x="7996258" y="690869"/>
            <a:ext cx="4020251" cy="5594531"/>
            <a:chOff x="4465658" y="493578"/>
            <a:chExt cx="4020251" cy="5594531"/>
          </a:xfrm>
        </p:grpSpPr>
        <p:grpSp>
          <p:nvGrpSpPr>
            <p:cNvPr id="101" name="Group 100">
              <a:extLst>
                <a:ext uri="{FF2B5EF4-FFF2-40B4-BE49-F238E27FC236}">
                  <a16:creationId xmlns:a16="http://schemas.microsoft.com/office/drawing/2014/main" id="{B9D25C7B-D110-7A4D-6256-5319790E9C19}"/>
                </a:ext>
              </a:extLst>
            </p:cNvPr>
            <p:cNvGrpSpPr/>
            <p:nvPr/>
          </p:nvGrpSpPr>
          <p:grpSpPr>
            <a:xfrm>
              <a:off x="7218709" y="3281511"/>
              <a:ext cx="1267200" cy="738664"/>
              <a:chOff x="8500643" y="3220691"/>
              <a:chExt cx="1267200" cy="738664"/>
            </a:xfrm>
          </p:grpSpPr>
          <p:sp>
            <p:nvSpPr>
              <p:cNvPr id="117" name="Text Placeholder 14">
                <a:extLst>
                  <a:ext uri="{FF2B5EF4-FFF2-40B4-BE49-F238E27FC236}">
                    <a16:creationId xmlns:a16="http://schemas.microsoft.com/office/drawing/2014/main" id="{C52CF7C2-112F-A32C-AC07-0C476BDF23EC}"/>
                  </a:ext>
                </a:extLst>
              </p:cNvPr>
              <p:cNvSpPr txBox="1">
                <a:spLocks/>
              </p:cNvSpPr>
              <p:nvPr/>
            </p:nvSpPr>
            <p:spPr>
              <a:xfrm>
                <a:off x="8500643" y="3220691"/>
                <a:ext cx="1267200" cy="307777"/>
              </a:xfrm>
              <a:prstGeom prst="rect">
                <a:avLst/>
              </a:prstGeom>
            </p:spPr>
            <p:txBody>
              <a:bodyPr wrap="square" anchor="ctr" anchorCtr="1">
                <a:spAutoFit/>
              </a:bodyPr>
              <a:lstStyle>
                <a:lvl1pPr marL="0" indent="0" algn="l" defTabSz="228594" rtl="0" eaLnBrk="1" latinLnBrk="0" hangingPunct="1">
                  <a:lnSpc>
                    <a:spcPct val="100000"/>
                  </a:lnSpc>
                  <a:spcBef>
                    <a:spcPts val="0"/>
                  </a:spcBef>
                  <a:spcAft>
                    <a:spcPts val="1200"/>
                  </a:spcAft>
                  <a:buFont typeface="Arial" panose="020B0604020202020204" pitchFamily="34" charset="0"/>
                  <a:buNone/>
                  <a:defRPr sz="1400" b="0" kern="1200">
                    <a:solidFill>
                      <a:schemeClr val="tx1"/>
                    </a:solidFill>
                    <a:latin typeface="+mn-lt"/>
                    <a:ea typeface="+mn-ea"/>
                    <a:cs typeface="+mn-cs"/>
                  </a:defRPr>
                </a:lvl1pPr>
                <a:lvl2pPr marL="228594" indent="-228594" algn="l" defTabSz="228594" rtl="0" eaLnBrk="1" latinLnBrk="0" hangingPunct="1">
                  <a:lnSpc>
                    <a:spcPct val="100000"/>
                  </a:lnSpc>
                  <a:spcBef>
                    <a:spcPts val="0"/>
                  </a:spcBef>
                  <a:spcAft>
                    <a:spcPts val="1200"/>
                  </a:spcAft>
                  <a:buClrTx/>
                  <a:buFont typeface="Arial" panose="020B0604020202020204" pitchFamily="34" charset="0"/>
                  <a:buChar char="•"/>
                  <a:defRPr sz="1200" kern="1200">
                    <a:solidFill>
                      <a:schemeClr val="tx1"/>
                    </a:solidFill>
                    <a:latin typeface="+mn-lt"/>
                    <a:ea typeface="+mn-ea"/>
                    <a:cs typeface="+mn-cs"/>
                  </a:defRPr>
                </a:lvl2pPr>
                <a:lvl3pPr marL="457189" indent="-228594" algn="l" defTabSz="228594" rtl="0" eaLnBrk="1" latinLnBrk="0" hangingPunct="1">
                  <a:lnSpc>
                    <a:spcPct val="100000"/>
                  </a:lnSpc>
                  <a:spcBef>
                    <a:spcPts val="0"/>
                  </a:spcBef>
                  <a:spcAft>
                    <a:spcPts val="1200"/>
                  </a:spcAft>
                  <a:buFont typeface="System Font"/>
                  <a:buChar char="–"/>
                  <a:defRPr sz="1200" kern="1200">
                    <a:solidFill>
                      <a:schemeClr val="tx1"/>
                    </a:solidFill>
                    <a:latin typeface="+mn-lt"/>
                    <a:ea typeface="+mn-ea"/>
                    <a:cs typeface="+mn-cs"/>
                  </a:defRPr>
                </a:lvl3pPr>
                <a:lvl4pPr marL="685783" indent="-228594" algn="l" defTabSz="228594" rtl="0" eaLnBrk="1" latinLnBrk="0" hangingPunct="1">
                  <a:lnSpc>
                    <a:spcPct val="100000"/>
                  </a:lnSpc>
                  <a:spcBef>
                    <a:spcPts val="0"/>
                  </a:spcBef>
                  <a:spcAft>
                    <a:spcPts val="1200"/>
                  </a:spcAft>
                  <a:buFont typeface="Arial" panose="020B0604020202020204" pitchFamily="34" charset="0"/>
                  <a:buChar char="•"/>
                  <a:defRPr sz="1100" kern="1200">
                    <a:solidFill>
                      <a:schemeClr val="tx1"/>
                    </a:solidFill>
                    <a:latin typeface="+mn-lt"/>
                    <a:ea typeface="+mn-ea"/>
                    <a:cs typeface="+mn-cs"/>
                  </a:defRPr>
                </a:lvl4pPr>
                <a:lvl5pPr marL="914377" indent="-228594" algn="l" defTabSz="228594" rtl="0" eaLnBrk="1" latinLnBrk="0" hangingPunct="1">
                  <a:lnSpc>
                    <a:spcPct val="100000"/>
                  </a:lnSpc>
                  <a:spcBef>
                    <a:spcPts val="0"/>
                  </a:spcBef>
                  <a:spcAft>
                    <a:spcPts val="1200"/>
                  </a:spcAft>
                  <a:buFont typeface="System Font"/>
                  <a:buChar char="–"/>
                  <a:defRPr sz="1100" kern="1200">
                    <a:solidFill>
                      <a:schemeClr val="tx1"/>
                    </a:solidFill>
                    <a:latin typeface="+mn-lt"/>
                    <a:ea typeface="+mn-ea"/>
                    <a:cs typeface="+mn-cs"/>
                  </a:defRPr>
                </a:lvl5pPr>
                <a:lvl6pPr marL="11113" indent="0" algn="l" defTabSz="228594" rtl="0" eaLnBrk="1" latinLnBrk="0" hangingPunct="1">
                  <a:lnSpc>
                    <a:spcPct val="90000"/>
                  </a:lnSpc>
                  <a:spcBef>
                    <a:spcPts val="0"/>
                  </a:spcBef>
                  <a:spcAft>
                    <a:spcPts val="1200"/>
                  </a:spcAft>
                  <a:buFont typeface="Graphik" panose="020B0503030202060203" pitchFamily="34" charset="0"/>
                  <a:buNone/>
                  <a:tabLst/>
                  <a:defRPr sz="1200" kern="1200">
                    <a:solidFill>
                      <a:schemeClr val="tx1"/>
                    </a:solidFill>
                    <a:latin typeface="+mn-lt"/>
                    <a:ea typeface="+mn-ea"/>
                    <a:cs typeface="+mn-cs"/>
                  </a:defRPr>
                </a:lvl6pPr>
                <a:lvl7pPr marL="0" indent="0" algn="l" defTabSz="22859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mn-lt"/>
                    <a:ea typeface="+mn-ea"/>
                    <a:cs typeface="+mn-cs"/>
                  </a:defRPr>
                </a:lvl7pPr>
                <a:lvl8pPr marL="0" indent="0" algn="l" defTabSz="22859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mn-lt"/>
                    <a:ea typeface="+mn-ea"/>
                    <a:cs typeface="+mn-cs"/>
                  </a:defRPr>
                </a:lvl8pPr>
                <a:lvl9pPr marL="0" indent="0" algn="l" defTabSz="22859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mn-lt"/>
                    <a:ea typeface="+mn-ea"/>
                    <a:cs typeface="+mn-cs"/>
                  </a:defRPr>
                </a:lvl9pPr>
              </a:lstStyle>
              <a:p>
                <a:pPr algn="ctr"/>
                <a:r>
                  <a:rPr lang="pt-BR" b="1" noProof="1">
                    <a:solidFill>
                      <a:schemeClr val="bg1"/>
                    </a:solidFill>
                  </a:rPr>
                  <a:t>Refinamento</a:t>
                </a:r>
              </a:p>
            </p:txBody>
          </p:sp>
          <p:sp>
            <p:nvSpPr>
              <p:cNvPr id="118" name="Text Placeholder 14">
                <a:extLst>
                  <a:ext uri="{FF2B5EF4-FFF2-40B4-BE49-F238E27FC236}">
                    <a16:creationId xmlns:a16="http://schemas.microsoft.com/office/drawing/2014/main" id="{5E768180-9E11-407D-781E-8A16567FEF21}"/>
                  </a:ext>
                </a:extLst>
              </p:cNvPr>
              <p:cNvSpPr txBox="1">
                <a:spLocks/>
              </p:cNvSpPr>
              <p:nvPr/>
            </p:nvSpPr>
            <p:spPr>
              <a:xfrm>
                <a:off x="8532244" y="3528468"/>
                <a:ext cx="1203999" cy="430887"/>
              </a:xfrm>
              <a:prstGeom prst="rect">
                <a:avLst/>
              </a:prstGeom>
            </p:spPr>
            <p:txBody>
              <a:bodyPr wrap="square" anchor="ctr" anchorCtr="1">
                <a:spAutoFit/>
              </a:bodyPr>
              <a:lstStyle>
                <a:lvl1pPr marL="0" indent="0" algn="l" defTabSz="228594" rtl="0" eaLnBrk="1" latinLnBrk="0" hangingPunct="1">
                  <a:lnSpc>
                    <a:spcPct val="100000"/>
                  </a:lnSpc>
                  <a:spcBef>
                    <a:spcPts val="0"/>
                  </a:spcBef>
                  <a:spcAft>
                    <a:spcPts val="1200"/>
                  </a:spcAft>
                  <a:buFont typeface="Arial" panose="020B0604020202020204" pitchFamily="34" charset="0"/>
                  <a:buNone/>
                  <a:defRPr sz="1400" b="0" kern="1200">
                    <a:solidFill>
                      <a:schemeClr val="tx1"/>
                    </a:solidFill>
                    <a:latin typeface="+mn-lt"/>
                    <a:ea typeface="+mn-ea"/>
                    <a:cs typeface="+mn-cs"/>
                  </a:defRPr>
                </a:lvl1pPr>
                <a:lvl2pPr marL="228594" indent="-228594" algn="l" defTabSz="228594" rtl="0" eaLnBrk="1" latinLnBrk="0" hangingPunct="1">
                  <a:lnSpc>
                    <a:spcPct val="100000"/>
                  </a:lnSpc>
                  <a:spcBef>
                    <a:spcPts val="0"/>
                  </a:spcBef>
                  <a:spcAft>
                    <a:spcPts val="1200"/>
                  </a:spcAft>
                  <a:buClrTx/>
                  <a:buFont typeface="Arial" panose="020B0604020202020204" pitchFamily="34" charset="0"/>
                  <a:buChar char="•"/>
                  <a:defRPr sz="1200" kern="1200">
                    <a:solidFill>
                      <a:schemeClr val="tx1"/>
                    </a:solidFill>
                    <a:latin typeface="+mn-lt"/>
                    <a:ea typeface="+mn-ea"/>
                    <a:cs typeface="+mn-cs"/>
                  </a:defRPr>
                </a:lvl2pPr>
                <a:lvl3pPr marL="457189" indent="-228594" algn="l" defTabSz="228594" rtl="0" eaLnBrk="1" latinLnBrk="0" hangingPunct="1">
                  <a:lnSpc>
                    <a:spcPct val="100000"/>
                  </a:lnSpc>
                  <a:spcBef>
                    <a:spcPts val="0"/>
                  </a:spcBef>
                  <a:spcAft>
                    <a:spcPts val="1200"/>
                  </a:spcAft>
                  <a:buFont typeface="System Font"/>
                  <a:buChar char="–"/>
                  <a:defRPr sz="1200" kern="1200">
                    <a:solidFill>
                      <a:schemeClr val="tx1"/>
                    </a:solidFill>
                    <a:latin typeface="+mn-lt"/>
                    <a:ea typeface="+mn-ea"/>
                    <a:cs typeface="+mn-cs"/>
                  </a:defRPr>
                </a:lvl3pPr>
                <a:lvl4pPr marL="685783" indent="-228594" algn="l" defTabSz="228594" rtl="0" eaLnBrk="1" latinLnBrk="0" hangingPunct="1">
                  <a:lnSpc>
                    <a:spcPct val="100000"/>
                  </a:lnSpc>
                  <a:spcBef>
                    <a:spcPts val="0"/>
                  </a:spcBef>
                  <a:spcAft>
                    <a:spcPts val="1200"/>
                  </a:spcAft>
                  <a:buFont typeface="Arial" panose="020B0604020202020204" pitchFamily="34" charset="0"/>
                  <a:buChar char="•"/>
                  <a:defRPr sz="1100" kern="1200">
                    <a:solidFill>
                      <a:schemeClr val="tx1"/>
                    </a:solidFill>
                    <a:latin typeface="+mn-lt"/>
                    <a:ea typeface="+mn-ea"/>
                    <a:cs typeface="+mn-cs"/>
                  </a:defRPr>
                </a:lvl4pPr>
                <a:lvl5pPr marL="914377" indent="-228594" algn="l" defTabSz="228594" rtl="0" eaLnBrk="1" latinLnBrk="0" hangingPunct="1">
                  <a:lnSpc>
                    <a:spcPct val="100000"/>
                  </a:lnSpc>
                  <a:spcBef>
                    <a:spcPts val="0"/>
                  </a:spcBef>
                  <a:spcAft>
                    <a:spcPts val="1200"/>
                  </a:spcAft>
                  <a:buFont typeface="System Font"/>
                  <a:buChar char="–"/>
                  <a:defRPr sz="1100" kern="1200">
                    <a:solidFill>
                      <a:schemeClr val="tx1"/>
                    </a:solidFill>
                    <a:latin typeface="+mn-lt"/>
                    <a:ea typeface="+mn-ea"/>
                    <a:cs typeface="+mn-cs"/>
                  </a:defRPr>
                </a:lvl5pPr>
                <a:lvl6pPr marL="11113" indent="0" algn="l" defTabSz="228594" rtl="0" eaLnBrk="1" latinLnBrk="0" hangingPunct="1">
                  <a:lnSpc>
                    <a:spcPct val="90000"/>
                  </a:lnSpc>
                  <a:spcBef>
                    <a:spcPts val="0"/>
                  </a:spcBef>
                  <a:spcAft>
                    <a:spcPts val="1200"/>
                  </a:spcAft>
                  <a:buFont typeface="Graphik" panose="020B0503030202060203" pitchFamily="34" charset="0"/>
                  <a:buNone/>
                  <a:tabLst/>
                  <a:defRPr sz="1200" kern="1200">
                    <a:solidFill>
                      <a:schemeClr val="tx1"/>
                    </a:solidFill>
                    <a:latin typeface="+mn-lt"/>
                    <a:ea typeface="+mn-ea"/>
                    <a:cs typeface="+mn-cs"/>
                  </a:defRPr>
                </a:lvl6pPr>
                <a:lvl7pPr marL="0" indent="0" algn="l" defTabSz="22859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mn-lt"/>
                    <a:ea typeface="+mn-ea"/>
                    <a:cs typeface="+mn-cs"/>
                  </a:defRPr>
                </a:lvl7pPr>
                <a:lvl8pPr marL="0" indent="0" algn="l" defTabSz="22859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mn-lt"/>
                    <a:ea typeface="+mn-ea"/>
                    <a:cs typeface="+mn-cs"/>
                  </a:defRPr>
                </a:lvl8pPr>
                <a:lvl9pPr marL="0" indent="0" algn="l" defTabSz="22859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mn-lt"/>
                    <a:ea typeface="+mn-ea"/>
                    <a:cs typeface="+mn-cs"/>
                  </a:defRPr>
                </a:lvl9pPr>
              </a:lstStyle>
              <a:p>
                <a:pPr algn="ctr"/>
                <a:r>
                  <a:rPr lang="pt-BR" sz="1100" noProof="1">
                    <a:solidFill>
                      <a:schemeClr val="bg1"/>
                    </a:solidFill>
                  </a:rPr>
                  <a:t>(alimentar novo VEM)</a:t>
                </a:r>
              </a:p>
            </p:txBody>
          </p:sp>
        </p:grpSp>
        <p:pic>
          <p:nvPicPr>
            <p:cNvPr id="102" name="Picture 101" descr="A black and white square with white lines&#10;&#10;AI-generated content may be incorrect.">
              <a:extLst>
                <a:ext uri="{FF2B5EF4-FFF2-40B4-BE49-F238E27FC236}">
                  <a16:creationId xmlns:a16="http://schemas.microsoft.com/office/drawing/2014/main" id="{988D5395-3787-43B0-558A-75C2E7946D65}"/>
                </a:ext>
              </a:extLst>
            </p:cNvPr>
            <p:cNvPicPr>
              <a:picLocks noChangeAspect="1"/>
            </p:cNvPicPr>
            <p:nvPr/>
          </p:nvPicPr>
          <p:blipFill>
            <a:blip r:embed="rId6"/>
            <a:stretch>
              <a:fillRect/>
            </a:stretch>
          </p:blipFill>
          <p:spPr>
            <a:xfrm>
              <a:off x="5353909" y="493578"/>
              <a:ext cx="720000" cy="720000"/>
            </a:xfrm>
            <a:prstGeom prst="rect">
              <a:avLst/>
            </a:prstGeom>
          </p:spPr>
        </p:pic>
        <p:cxnSp>
          <p:nvCxnSpPr>
            <p:cNvPr id="103" name="Straight Arrow Connector 102">
              <a:extLst>
                <a:ext uri="{FF2B5EF4-FFF2-40B4-BE49-F238E27FC236}">
                  <a16:creationId xmlns:a16="http://schemas.microsoft.com/office/drawing/2014/main" id="{88C122DD-590A-47F0-63B5-2E2E3F9974D9}"/>
                </a:ext>
              </a:extLst>
            </p:cNvPr>
            <p:cNvCxnSpPr>
              <a:cxnSpLocks/>
            </p:cNvCxnSpPr>
            <p:nvPr/>
          </p:nvCxnSpPr>
          <p:spPr>
            <a:xfrm flipH="1">
              <a:off x="5713909" y="2083658"/>
              <a:ext cx="1" cy="351516"/>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a:extLst>
                <a:ext uri="{FF2B5EF4-FFF2-40B4-BE49-F238E27FC236}">
                  <a16:creationId xmlns:a16="http://schemas.microsoft.com/office/drawing/2014/main" id="{CEE5F53B-6B56-D23D-6540-DA95AE832775}"/>
                </a:ext>
              </a:extLst>
            </p:cNvPr>
            <p:cNvCxnSpPr>
              <a:cxnSpLocks/>
            </p:cNvCxnSpPr>
            <p:nvPr/>
          </p:nvCxnSpPr>
          <p:spPr>
            <a:xfrm flipH="1">
              <a:off x="5713909" y="4156670"/>
              <a:ext cx="1" cy="341357"/>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pic>
          <p:nvPicPr>
            <p:cNvPr id="105" name="Picture 104" descr="A white question mark in a circle&#10;&#10;AI-generated content may be incorrect.">
              <a:extLst>
                <a:ext uri="{FF2B5EF4-FFF2-40B4-BE49-F238E27FC236}">
                  <a16:creationId xmlns:a16="http://schemas.microsoft.com/office/drawing/2014/main" id="{22623ED7-F0D0-86C1-6DAB-7505CBEF5140}"/>
                </a:ext>
              </a:extLst>
            </p:cNvPr>
            <p:cNvPicPr>
              <a:picLocks noChangeAspect="1"/>
            </p:cNvPicPr>
            <p:nvPr/>
          </p:nvPicPr>
          <p:blipFill>
            <a:blip r:embed="rId7"/>
            <a:stretch>
              <a:fillRect/>
            </a:stretch>
          </p:blipFill>
          <p:spPr>
            <a:xfrm>
              <a:off x="5353909" y="4629445"/>
              <a:ext cx="720000" cy="720000"/>
            </a:xfrm>
            <a:prstGeom prst="rect">
              <a:avLst/>
            </a:prstGeom>
          </p:spPr>
        </p:pic>
        <p:grpSp>
          <p:nvGrpSpPr>
            <p:cNvPr id="106" name="Group 105">
              <a:extLst>
                <a:ext uri="{FF2B5EF4-FFF2-40B4-BE49-F238E27FC236}">
                  <a16:creationId xmlns:a16="http://schemas.microsoft.com/office/drawing/2014/main" id="{4D3114DD-4B7C-6DF0-4241-B5A725169962}"/>
                </a:ext>
              </a:extLst>
            </p:cNvPr>
            <p:cNvGrpSpPr/>
            <p:nvPr/>
          </p:nvGrpSpPr>
          <p:grpSpPr>
            <a:xfrm>
              <a:off x="4465658" y="5349445"/>
              <a:ext cx="2496502" cy="738664"/>
              <a:chOff x="4165390" y="4967005"/>
              <a:chExt cx="2496502" cy="738664"/>
            </a:xfrm>
          </p:grpSpPr>
          <p:sp>
            <p:nvSpPr>
              <p:cNvPr id="115" name="Text Placeholder 16">
                <a:extLst>
                  <a:ext uri="{FF2B5EF4-FFF2-40B4-BE49-F238E27FC236}">
                    <a16:creationId xmlns:a16="http://schemas.microsoft.com/office/drawing/2014/main" id="{5DC64927-EA13-AB1C-C86F-3DFE32721129}"/>
                  </a:ext>
                </a:extLst>
              </p:cNvPr>
              <p:cNvSpPr txBox="1">
                <a:spLocks/>
              </p:cNvSpPr>
              <p:nvPr/>
            </p:nvSpPr>
            <p:spPr>
              <a:xfrm>
                <a:off x="4165390" y="4967005"/>
                <a:ext cx="2496502" cy="307777"/>
              </a:xfrm>
              <a:prstGeom prst="rect">
                <a:avLst/>
              </a:prstGeom>
            </p:spPr>
            <p:txBody>
              <a:bodyPr wrap="square" anchor="ctr" anchorCtr="1">
                <a:spAutoFit/>
              </a:bodyPr>
              <a:lstStyle>
                <a:lvl1pPr marL="0" indent="0" algn="l" defTabSz="228594" rtl="0" eaLnBrk="1" latinLnBrk="0" hangingPunct="1">
                  <a:lnSpc>
                    <a:spcPct val="100000"/>
                  </a:lnSpc>
                  <a:spcBef>
                    <a:spcPts val="0"/>
                  </a:spcBef>
                  <a:spcAft>
                    <a:spcPts val="1200"/>
                  </a:spcAft>
                  <a:buFont typeface="Arial" panose="020B0604020202020204" pitchFamily="34" charset="0"/>
                  <a:buNone/>
                  <a:defRPr sz="1400" b="0" kern="1200">
                    <a:solidFill>
                      <a:schemeClr val="tx1"/>
                    </a:solidFill>
                    <a:latin typeface="+mn-lt"/>
                    <a:ea typeface="+mn-ea"/>
                    <a:cs typeface="+mn-cs"/>
                  </a:defRPr>
                </a:lvl1pPr>
                <a:lvl2pPr marL="228594" indent="-228594" algn="l" defTabSz="228594" rtl="0" eaLnBrk="1" latinLnBrk="0" hangingPunct="1">
                  <a:lnSpc>
                    <a:spcPct val="100000"/>
                  </a:lnSpc>
                  <a:spcBef>
                    <a:spcPts val="0"/>
                  </a:spcBef>
                  <a:spcAft>
                    <a:spcPts val="1200"/>
                  </a:spcAft>
                  <a:buClrTx/>
                  <a:buFont typeface="Arial" panose="020B0604020202020204" pitchFamily="34" charset="0"/>
                  <a:buChar char="•"/>
                  <a:defRPr sz="1200" kern="1200">
                    <a:solidFill>
                      <a:schemeClr val="tx1"/>
                    </a:solidFill>
                    <a:latin typeface="+mn-lt"/>
                    <a:ea typeface="+mn-ea"/>
                    <a:cs typeface="+mn-cs"/>
                  </a:defRPr>
                </a:lvl2pPr>
                <a:lvl3pPr marL="457189" indent="-228594" algn="l" defTabSz="228594" rtl="0" eaLnBrk="1" latinLnBrk="0" hangingPunct="1">
                  <a:lnSpc>
                    <a:spcPct val="100000"/>
                  </a:lnSpc>
                  <a:spcBef>
                    <a:spcPts val="0"/>
                  </a:spcBef>
                  <a:spcAft>
                    <a:spcPts val="1200"/>
                  </a:spcAft>
                  <a:buFont typeface="System Font"/>
                  <a:buChar char="–"/>
                  <a:defRPr sz="1200" kern="1200">
                    <a:solidFill>
                      <a:schemeClr val="tx1"/>
                    </a:solidFill>
                    <a:latin typeface="+mn-lt"/>
                    <a:ea typeface="+mn-ea"/>
                    <a:cs typeface="+mn-cs"/>
                  </a:defRPr>
                </a:lvl3pPr>
                <a:lvl4pPr marL="685783" indent="-228594" algn="l" defTabSz="228594" rtl="0" eaLnBrk="1" latinLnBrk="0" hangingPunct="1">
                  <a:lnSpc>
                    <a:spcPct val="100000"/>
                  </a:lnSpc>
                  <a:spcBef>
                    <a:spcPts val="0"/>
                  </a:spcBef>
                  <a:spcAft>
                    <a:spcPts val="1200"/>
                  </a:spcAft>
                  <a:buFont typeface="Arial" panose="020B0604020202020204" pitchFamily="34" charset="0"/>
                  <a:buChar char="•"/>
                  <a:defRPr sz="1100" kern="1200">
                    <a:solidFill>
                      <a:schemeClr val="tx1"/>
                    </a:solidFill>
                    <a:latin typeface="+mn-lt"/>
                    <a:ea typeface="+mn-ea"/>
                    <a:cs typeface="+mn-cs"/>
                  </a:defRPr>
                </a:lvl4pPr>
                <a:lvl5pPr marL="914377" indent="-228594" algn="l" defTabSz="228594" rtl="0" eaLnBrk="1" latinLnBrk="0" hangingPunct="1">
                  <a:lnSpc>
                    <a:spcPct val="100000"/>
                  </a:lnSpc>
                  <a:spcBef>
                    <a:spcPts val="0"/>
                  </a:spcBef>
                  <a:spcAft>
                    <a:spcPts val="1200"/>
                  </a:spcAft>
                  <a:buFont typeface="System Font"/>
                  <a:buChar char="–"/>
                  <a:defRPr sz="1100" kern="1200">
                    <a:solidFill>
                      <a:schemeClr val="tx1"/>
                    </a:solidFill>
                    <a:latin typeface="+mn-lt"/>
                    <a:ea typeface="+mn-ea"/>
                    <a:cs typeface="+mn-cs"/>
                  </a:defRPr>
                </a:lvl5pPr>
                <a:lvl6pPr marL="11113" indent="0" algn="l" defTabSz="228594" rtl="0" eaLnBrk="1" latinLnBrk="0" hangingPunct="1">
                  <a:lnSpc>
                    <a:spcPct val="90000"/>
                  </a:lnSpc>
                  <a:spcBef>
                    <a:spcPts val="0"/>
                  </a:spcBef>
                  <a:spcAft>
                    <a:spcPts val="1200"/>
                  </a:spcAft>
                  <a:buFont typeface="Graphik" panose="020B0503030202060203" pitchFamily="34" charset="0"/>
                  <a:buNone/>
                  <a:tabLst/>
                  <a:defRPr sz="1200" kern="1200">
                    <a:solidFill>
                      <a:schemeClr val="tx1"/>
                    </a:solidFill>
                    <a:latin typeface="+mn-lt"/>
                    <a:ea typeface="+mn-ea"/>
                    <a:cs typeface="+mn-cs"/>
                  </a:defRPr>
                </a:lvl6pPr>
                <a:lvl7pPr marL="0" indent="0" algn="l" defTabSz="22859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mn-lt"/>
                    <a:ea typeface="+mn-ea"/>
                    <a:cs typeface="+mn-cs"/>
                  </a:defRPr>
                </a:lvl7pPr>
                <a:lvl8pPr marL="0" indent="0" algn="l" defTabSz="22859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mn-lt"/>
                    <a:ea typeface="+mn-ea"/>
                    <a:cs typeface="+mn-cs"/>
                  </a:defRPr>
                </a:lvl8pPr>
                <a:lvl9pPr marL="0" indent="0" algn="l" defTabSz="22859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mn-lt"/>
                    <a:ea typeface="+mn-ea"/>
                    <a:cs typeface="+mn-cs"/>
                  </a:defRPr>
                </a:lvl9pPr>
              </a:lstStyle>
              <a:p>
                <a:pPr algn="ctr"/>
                <a:r>
                  <a:rPr lang="pt-BR" b="1" noProof="1">
                    <a:solidFill>
                      <a:schemeClr val="bg1"/>
                    </a:solidFill>
                  </a:rPr>
                  <a:t>Quantificação da Incerteza</a:t>
                </a:r>
              </a:p>
            </p:txBody>
          </p:sp>
          <p:sp>
            <p:nvSpPr>
              <p:cNvPr id="116" name="Text Placeholder 14">
                <a:extLst>
                  <a:ext uri="{FF2B5EF4-FFF2-40B4-BE49-F238E27FC236}">
                    <a16:creationId xmlns:a16="http://schemas.microsoft.com/office/drawing/2014/main" id="{3C5E74B8-D040-7D7F-3214-06CB9D064833}"/>
                  </a:ext>
                </a:extLst>
              </p:cNvPr>
              <p:cNvSpPr txBox="1">
                <a:spLocks/>
              </p:cNvSpPr>
              <p:nvPr/>
            </p:nvSpPr>
            <p:spPr>
              <a:xfrm>
                <a:off x="4644893" y="5274782"/>
                <a:ext cx="1537496" cy="430887"/>
              </a:xfrm>
              <a:prstGeom prst="rect">
                <a:avLst/>
              </a:prstGeom>
            </p:spPr>
            <p:txBody>
              <a:bodyPr wrap="square" anchor="ctr" anchorCtr="1">
                <a:spAutoFit/>
              </a:bodyPr>
              <a:lstStyle>
                <a:lvl1pPr marL="0" indent="0" algn="l" defTabSz="228594" rtl="0" eaLnBrk="1" latinLnBrk="0" hangingPunct="1">
                  <a:lnSpc>
                    <a:spcPct val="100000"/>
                  </a:lnSpc>
                  <a:spcBef>
                    <a:spcPts val="0"/>
                  </a:spcBef>
                  <a:spcAft>
                    <a:spcPts val="1200"/>
                  </a:spcAft>
                  <a:buFont typeface="Arial" panose="020B0604020202020204" pitchFamily="34" charset="0"/>
                  <a:buNone/>
                  <a:defRPr sz="1400" b="0" kern="1200">
                    <a:solidFill>
                      <a:schemeClr val="tx1"/>
                    </a:solidFill>
                    <a:latin typeface="+mn-lt"/>
                    <a:ea typeface="+mn-ea"/>
                    <a:cs typeface="+mn-cs"/>
                  </a:defRPr>
                </a:lvl1pPr>
                <a:lvl2pPr marL="228594" indent="-228594" algn="l" defTabSz="228594" rtl="0" eaLnBrk="1" latinLnBrk="0" hangingPunct="1">
                  <a:lnSpc>
                    <a:spcPct val="100000"/>
                  </a:lnSpc>
                  <a:spcBef>
                    <a:spcPts val="0"/>
                  </a:spcBef>
                  <a:spcAft>
                    <a:spcPts val="1200"/>
                  </a:spcAft>
                  <a:buClrTx/>
                  <a:buFont typeface="Arial" panose="020B0604020202020204" pitchFamily="34" charset="0"/>
                  <a:buChar char="•"/>
                  <a:defRPr sz="1200" kern="1200">
                    <a:solidFill>
                      <a:schemeClr val="tx1"/>
                    </a:solidFill>
                    <a:latin typeface="+mn-lt"/>
                    <a:ea typeface="+mn-ea"/>
                    <a:cs typeface="+mn-cs"/>
                  </a:defRPr>
                </a:lvl2pPr>
                <a:lvl3pPr marL="457189" indent="-228594" algn="l" defTabSz="228594" rtl="0" eaLnBrk="1" latinLnBrk="0" hangingPunct="1">
                  <a:lnSpc>
                    <a:spcPct val="100000"/>
                  </a:lnSpc>
                  <a:spcBef>
                    <a:spcPts val="0"/>
                  </a:spcBef>
                  <a:spcAft>
                    <a:spcPts val="1200"/>
                  </a:spcAft>
                  <a:buFont typeface="System Font"/>
                  <a:buChar char="–"/>
                  <a:defRPr sz="1200" kern="1200">
                    <a:solidFill>
                      <a:schemeClr val="tx1"/>
                    </a:solidFill>
                    <a:latin typeface="+mn-lt"/>
                    <a:ea typeface="+mn-ea"/>
                    <a:cs typeface="+mn-cs"/>
                  </a:defRPr>
                </a:lvl3pPr>
                <a:lvl4pPr marL="685783" indent="-228594" algn="l" defTabSz="228594" rtl="0" eaLnBrk="1" latinLnBrk="0" hangingPunct="1">
                  <a:lnSpc>
                    <a:spcPct val="100000"/>
                  </a:lnSpc>
                  <a:spcBef>
                    <a:spcPts val="0"/>
                  </a:spcBef>
                  <a:spcAft>
                    <a:spcPts val="1200"/>
                  </a:spcAft>
                  <a:buFont typeface="Arial" panose="020B0604020202020204" pitchFamily="34" charset="0"/>
                  <a:buChar char="•"/>
                  <a:defRPr sz="1100" kern="1200">
                    <a:solidFill>
                      <a:schemeClr val="tx1"/>
                    </a:solidFill>
                    <a:latin typeface="+mn-lt"/>
                    <a:ea typeface="+mn-ea"/>
                    <a:cs typeface="+mn-cs"/>
                  </a:defRPr>
                </a:lvl4pPr>
                <a:lvl5pPr marL="914377" indent="-228594" algn="l" defTabSz="228594" rtl="0" eaLnBrk="1" latinLnBrk="0" hangingPunct="1">
                  <a:lnSpc>
                    <a:spcPct val="100000"/>
                  </a:lnSpc>
                  <a:spcBef>
                    <a:spcPts val="0"/>
                  </a:spcBef>
                  <a:spcAft>
                    <a:spcPts val="1200"/>
                  </a:spcAft>
                  <a:buFont typeface="System Font"/>
                  <a:buChar char="–"/>
                  <a:defRPr sz="1100" kern="1200">
                    <a:solidFill>
                      <a:schemeClr val="tx1"/>
                    </a:solidFill>
                    <a:latin typeface="+mn-lt"/>
                    <a:ea typeface="+mn-ea"/>
                    <a:cs typeface="+mn-cs"/>
                  </a:defRPr>
                </a:lvl5pPr>
                <a:lvl6pPr marL="11113" indent="0" algn="l" defTabSz="228594" rtl="0" eaLnBrk="1" latinLnBrk="0" hangingPunct="1">
                  <a:lnSpc>
                    <a:spcPct val="90000"/>
                  </a:lnSpc>
                  <a:spcBef>
                    <a:spcPts val="0"/>
                  </a:spcBef>
                  <a:spcAft>
                    <a:spcPts val="1200"/>
                  </a:spcAft>
                  <a:buFont typeface="Graphik" panose="020B0503030202060203" pitchFamily="34" charset="0"/>
                  <a:buNone/>
                  <a:tabLst/>
                  <a:defRPr sz="1200" kern="1200">
                    <a:solidFill>
                      <a:schemeClr val="tx1"/>
                    </a:solidFill>
                    <a:latin typeface="+mn-lt"/>
                    <a:ea typeface="+mn-ea"/>
                    <a:cs typeface="+mn-cs"/>
                  </a:defRPr>
                </a:lvl6pPr>
                <a:lvl7pPr marL="0" indent="0" algn="l" defTabSz="22859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mn-lt"/>
                    <a:ea typeface="+mn-ea"/>
                    <a:cs typeface="+mn-cs"/>
                  </a:defRPr>
                </a:lvl7pPr>
                <a:lvl8pPr marL="0" indent="0" algn="l" defTabSz="22859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mn-lt"/>
                    <a:ea typeface="+mn-ea"/>
                    <a:cs typeface="+mn-cs"/>
                  </a:defRPr>
                </a:lvl8pPr>
                <a:lvl9pPr marL="0" indent="0" algn="l" defTabSz="22859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mn-lt"/>
                    <a:ea typeface="+mn-ea"/>
                    <a:cs typeface="+mn-cs"/>
                  </a:defRPr>
                </a:lvl9pPr>
              </a:lstStyle>
              <a:p>
                <a:pPr algn="ctr"/>
                <a:r>
                  <a:rPr lang="pt-BR" sz="1100" noProof="1">
                    <a:solidFill>
                      <a:schemeClr val="bg1"/>
                    </a:solidFill>
                  </a:rPr>
                  <a:t>(avaliar onde a rede é menos confiável)</a:t>
                </a:r>
              </a:p>
            </p:txBody>
          </p:sp>
        </p:grpSp>
        <p:grpSp>
          <p:nvGrpSpPr>
            <p:cNvPr id="107" name="Group 106">
              <a:extLst>
                <a:ext uri="{FF2B5EF4-FFF2-40B4-BE49-F238E27FC236}">
                  <a16:creationId xmlns:a16="http://schemas.microsoft.com/office/drawing/2014/main" id="{1C856ABE-8618-DCCA-6F6F-A3003FB997FF}"/>
                </a:ext>
              </a:extLst>
            </p:cNvPr>
            <p:cNvGrpSpPr/>
            <p:nvPr/>
          </p:nvGrpSpPr>
          <p:grpSpPr>
            <a:xfrm>
              <a:off x="4945161" y="1213578"/>
              <a:ext cx="1537496" cy="738664"/>
              <a:chOff x="4644893" y="1229492"/>
              <a:chExt cx="1537496" cy="738664"/>
            </a:xfrm>
          </p:grpSpPr>
          <p:sp>
            <p:nvSpPr>
              <p:cNvPr id="113" name="Text Placeholder 14">
                <a:extLst>
                  <a:ext uri="{FF2B5EF4-FFF2-40B4-BE49-F238E27FC236}">
                    <a16:creationId xmlns:a16="http://schemas.microsoft.com/office/drawing/2014/main" id="{D33CDA47-627B-BFD0-3FF5-ADA19A28D988}"/>
                  </a:ext>
                </a:extLst>
              </p:cNvPr>
              <p:cNvSpPr txBox="1">
                <a:spLocks/>
              </p:cNvSpPr>
              <p:nvPr/>
            </p:nvSpPr>
            <p:spPr>
              <a:xfrm>
                <a:off x="5095616" y="1229492"/>
                <a:ext cx="636051" cy="307777"/>
              </a:xfrm>
              <a:prstGeom prst="rect">
                <a:avLst/>
              </a:prstGeom>
            </p:spPr>
            <p:txBody>
              <a:bodyPr wrap="square" anchor="ctr" anchorCtr="1">
                <a:spAutoFit/>
              </a:bodyPr>
              <a:lstStyle>
                <a:lvl1pPr marL="0" indent="0" algn="l" defTabSz="228594" rtl="0" eaLnBrk="1" latinLnBrk="0" hangingPunct="1">
                  <a:lnSpc>
                    <a:spcPct val="100000"/>
                  </a:lnSpc>
                  <a:spcBef>
                    <a:spcPts val="0"/>
                  </a:spcBef>
                  <a:spcAft>
                    <a:spcPts val="1200"/>
                  </a:spcAft>
                  <a:buFont typeface="Arial" panose="020B0604020202020204" pitchFamily="34" charset="0"/>
                  <a:buNone/>
                  <a:defRPr sz="1400" b="0" kern="1200">
                    <a:solidFill>
                      <a:schemeClr val="tx1"/>
                    </a:solidFill>
                    <a:latin typeface="+mn-lt"/>
                    <a:ea typeface="+mn-ea"/>
                    <a:cs typeface="+mn-cs"/>
                  </a:defRPr>
                </a:lvl1pPr>
                <a:lvl2pPr marL="228594" indent="-228594" algn="l" defTabSz="228594" rtl="0" eaLnBrk="1" latinLnBrk="0" hangingPunct="1">
                  <a:lnSpc>
                    <a:spcPct val="100000"/>
                  </a:lnSpc>
                  <a:spcBef>
                    <a:spcPts val="0"/>
                  </a:spcBef>
                  <a:spcAft>
                    <a:spcPts val="1200"/>
                  </a:spcAft>
                  <a:buClrTx/>
                  <a:buFont typeface="Arial" panose="020B0604020202020204" pitchFamily="34" charset="0"/>
                  <a:buChar char="•"/>
                  <a:defRPr sz="1200" kern="1200">
                    <a:solidFill>
                      <a:schemeClr val="tx1"/>
                    </a:solidFill>
                    <a:latin typeface="+mn-lt"/>
                    <a:ea typeface="+mn-ea"/>
                    <a:cs typeface="+mn-cs"/>
                  </a:defRPr>
                </a:lvl2pPr>
                <a:lvl3pPr marL="457189" indent="-228594" algn="l" defTabSz="228594" rtl="0" eaLnBrk="1" latinLnBrk="0" hangingPunct="1">
                  <a:lnSpc>
                    <a:spcPct val="100000"/>
                  </a:lnSpc>
                  <a:spcBef>
                    <a:spcPts val="0"/>
                  </a:spcBef>
                  <a:spcAft>
                    <a:spcPts val="1200"/>
                  </a:spcAft>
                  <a:buFont typeface="System Font"/>
                  <a:buChar char="–"/>
                  <a:defRPr sz="1200" kern="1200">
                    <a:solidFill>
                      <a:schemeClr val="tx1"/>
                    </a:solidFill>
                    <a:latin typeface="+mn-lt"/>
                    <a:ea typeface="+mn-ea"/>
                    <a:cs typeface="+mn-cs"/>
                  </a:defRPr>
                </a:lvl3pPr>
                <a:lvl4pPr marL="685783" indent="-228594" algn="l" defTabSz="228594" rtl="0" eaLnBrk="1" latinLnBrk="0" hangingPunct="1">
                  <a:lnSpc>
                    <a:spcPct val="100000"/>
                  </a:lnSpc>
                  <a:spcBef>
                    <a:spcPts val="0"/>
                  </a:spcBef>
                  <a:spcAft>
                    <a:spcPts val="1200"/>
                  </a:spcAft>
                  <a:buFont typeface="Arial" panose="020B0604020202020204" pitchFamily="34" charset="0"/>
                  <a:buChar char="•"/>
                  <a:defRPr sz="1100" kern="1200">
                    <a:solidFill>
                      <a:schemeClr val="tx1"/>
                    </a:solidFill>
                    <a:latin typeface="+mn-lt"/>
                    <a:ea typeface="+mn-ea"/>
                    <a:cs typeface="+mn-cs"/>
                  </a:defRPr>
                </a:lvl4pPr>
                <a:lvl5pPr marL="914377" indent="-228594" algn="l" defTabSz="228594" rtl="0" eaLnBrk="1" latinLnBrk="0" hangingPunct="1">
                  <a:lnSpc>
                    <a:spcPct val="100000"/>
                  </a:lnSpc>
                  <a:spcBef>
                    <a:spcPts val="0"/>
                  </a:spcBef>
                  <a:spcAft>
                    <a:spcPts val="1200"/>
                  </a:spcAft>
                  <a:buFont typeface="System Font"/>
                  <a:buChar char="–"/>
                  <a:defRPr sz="1100" kern="1200">
                    <a:solidFill>
                      <a:schemeClr val="tx1"/>
                    </a:solidFill>
                    <a:latin typeface="+mn-lt"/>
                    <a:ea typeface="+mn-ea"/>
                    <a:cs typeface="+mn-cs"/>
                  </a:defRPr>
                </a:lvl5pPr>
                <a:lvl6pPr marL="11113" indent="0" algn="l" defTabSz="228594" rtl="0" eaLnBrk="1" latinLnBrk="0" hangingPunct="1">
                  <a:lnSpc>
                    <a:spcPct val="90000"/>
                  </a:lnSpc>
                  <a:spcBef>
                    <a:spcPts val="0"/>
                  </a:spcBef>
                  <a:spcAft>
                    <a:spcPts val="1200"/>
                  </a:spcAft>
                  <a:buFont typeface="Graphik" panose="020B0503030202060203" pitchFamily="34" charset="0"/>
                  <a:buNone/>
                  <a:tabLst/>
                  <a:defRPr sz="1200" kern="1200">
                    <a:solidFill>
                      <a:schemeClr val="tx1"/>
                    </a:solidFill>
                    <a:latin typeface="+mn-lt"/>
                    <a:ea typeface="+mn-ea"/>
                    <a:cs typeface="+mn-cs"/>
                  </a:defRPr>
                </a:lvl6pPr>
                <a:lvl7pPr marL="0" indent="0" algn="l" defTabSz="22859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mn-lt"/>
                    <a:ea typeface="+mn-ea"/>
                    <a:cs typeface="+mn-cs"/>
                  </a:defRPr>
                </a:lvl7pPr>
                <a:lvl8pPr marL="0" indent="0" algn="l" defTabSz="22859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mn-lt"/>
                    <a:ea typeface="+mn-ea"/>
                    <a:cs typeface="+mn-cs"/>
                  </a:defRPr>
                </a:lvl8pPr>
                <a:lvl9pPr marL="0" indent="0" algn="l" defTabSz="22859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mn-lt"/>
                    <a:ea typeface="+mn-ea"/>
                    <a:cs typeface="+mn-cs"/>
                  </a:defRPr>
                </a:lvl9pPr>
              </a:lstStyle>
              <a:p>
                <a:pPr algn="ctr"/>
                <a:r>
                  <a:rPr lang="pt-BR" b="1" noProof="1">
                    <a:solidFill>
                      <a:schemeClr val="bg1"/>
                    </a:solidFill>
                  </a:rPr>
                  <a:t>VEM</a:t>
                </a:r>
              </a:p>
            </p:txBody>
          </p:sp>
          <p:sp>
            <p:nvSpPr>
              <p:cNvPr id="114" name="Text Placeholder 14">
                <a:extLst>
                  <a:ext uri="{FF2B5EF4-FFF2-40B4-BE49-F238E27FC236}">
                    <a16:creationId xmlns:a16="http://schemas.microsoft.com/office/drawing/2014/main" id="{F63EDB69-1EF5-E971-8EAB-CD3706AB0B36}"/>
                  </a:ext>
                </a:extLst>
              </p:cNvPr>
              <p:cNvSpPr txBox="1">
                <a:spLocks/>
              </p:cNvSpPr>
              <p:nvPr/>
            </p:nvSpPr>
            <p:spPr>
              <a:xfrm>
                <a:off x="4644893" y="1537269"/>
                <a:ext cx="1537496" cy="430887"/>
              </a:xfrm>
              <a:prstGeom prst="rect">
                <a:avLst/>
              </a:prstGeom>
            </p:spPr>
            <p:txBody>
              <a:bodyPr wrap="square" anchor="ctr" anchorCtr="1">
                <a:spAutoFit/>
              </a:bodyPr>
              <a:lstStyle>
                <a:lvl1pPr marL="0" indent="0" algn="l" defTabSz="228594" rtl="0" eaLnBrk="1" latinLnBrk="0" hangingPunct="1">
                  <a:lnSpc>
                    <a:spcPct val="100000"/>
                  </a:lnSpc>
                  <a:spcBef>
                    <a:spcPts val="0"/>
                  </a:spcBef>
                  <a:spcAft>
                    <a:spcPts val="1200"/>
                  </a:spcAft>
                  <a:buFont typeface="Arial" panose="020B0604020202020204" pitchFamily="34" charset="0"/>
                  <a:buNone/>
                  <a:defRPr sz="1400" b="0" kern="1200">
                    <a:solidFill>
                      <a:schemeClr val="tx1"/>
                    </a:solidFill>
                    <a:latin typeface="+mn-lt"/>
                    <a:ea typeface="+mn-ea"/>
                    <a:cs typeface="+mn-cs"/>
                  </a:defRPr>
                </a:lvl1pPr>
                <a:lvl2pPr marL="228594" indent="-228594" algn="l" defTabSz="228594" rtl="0" eaLnBrk="1" latinLnBrk="0" hangingPunct="1">
                  <a:lnSpc>
                    <a:spcPct val="100000"/>
                  </a:lnSpc>
                  <a:spcBef>
                    <a:spcPts val="0"/>
                  </a:spcBef>
                  <a:spcAft>
                    <a:spcPts val="1200"/>
                  </a:spcAft>
                  <a:buClrTx/>
                  <a:buFont typeface="Arial" panose="020B0604020202020204" pitchFamily="34" charset="0"/>
                  <a:buChar char="•"/>
                  <a:defRPr sz="1200" kern="1200">
                    <a:solidFill>
                      <a:schemeClr val="tx1"/>
                    </a:solidFill>
                    <a:latin typeface="+mn-lt"/>
                    <a:ea typeface="+mn-ea"/>
                    <a:cs typeface="+mn-cs"/>
                  </a:defRPr>
                </a:lvl2pPr>
                <a:lvl3pPr marL="457189" indent="-228594" algn="l" defTabSz="228594" rtl="0" eaLnBrk="1" latinLnBrk="0" hangingPunct="1">
                  <a:lnSpc>
                    <a:spcPct val="100000"/>
                  </a:lnSpc>
                  <a:spcBef>
                    <a:spcPts val="0"/>
                  </a:spcBef>
                  <a:spcAft>
                    <a:spcPts val="1200"/>
                  </a:spcAft>
                  <a:buFont typeface="System Font"/>
                  <a:buChar char="–"/>
                  <a:defRPr sz="1200" kern="1200">
                    <a:solidFill>
                      <a:schemeClr val="tx1"/>
                    </a:solidFill>
                    <a:latin typeface="+mn-lt"/>
                    <a:ea typeface="+mn-ea"/>
                    <a:cs typeface="+mn-cs"/>
                  </a:defRPr>
                </a:lvl3pPr>
                <a:lvl4pPr marL="685783" indent="-228594" algn="l" defTabSz="228594" rtl="0" eaLnBrk="1" latinLnBrk="0" hangingPunct="1">
                  <a:lnSpc>
                    <a:spcPct val="100000"/>
                  </a:lnSpc>
                  <a:spcBef>
                    <a:spcPts val="0"/>
                  </a:spcBef>
                  <a:spcAft>
                    <a:spcPts val="1200"/>
                  </a:spcAft>
                  <a:buFont typeface="Arial" panose="020B0604020202020204" pitchFamily="34" charset="0"/>
                  <a:buChar char="•"/>
                  <a:defRPr sz="1100" kern="1200">
                    <a:solidFill>
                      <a:schemeClr val="tx1"/>
                    </a:solidFill>
                    <a:latin typeface="+mn-lt"/>
                    <a:ea typeface="+mn-ea"/>
                    <a:cs typeface="+mn-cs"/>
                  </a:defRPr>
                </a:lvl4pPr>
                <a:lvl5pPr marL="914377" indent="-228594" algn="l" defTabSz="228594" rtl="0" eaLnBrk="1" latinLnBrk="0" hangingPunct="1">
                  <a:lnSpc>
                    <a:spcPct val="100000"/>
                  </a:lnSpc>
                  <a:spcBef>
                    <a:spcPts val="0"/>
                  </a:spcBef>
                  <a:spcAft>
                    <a:spcPts val="1200"/>
                  </a:spcAft>
                  <a:buFont typeface="System Font"/>
                  <a:buChar char="–"/>
                  <a:defRPr sz="1100" kern="1200">
                    <a:solidFill>
                      <a:schemeClr val="tx1"/>
                    </a:solidFill>
                    <a:latin typeface="+mn-lt"/>
                    <a:ea typeface="+mn-ea"/>
                    <a:cs typeface="+mn-cs"/>
                  </a:defRPr>
                </a:lvl5pPr>
                <a:lvl6pPr marL="11113" indent="0" algn="l" defTabSz="228594" rtl="0" eaLnBrk="1" latinLnBrk="0" hangingPunct="1">
                  <a:lnSpc>
                    <a:spcPct val="90000"/>
                  </a:lnSpc>
                  <a:spcBef>
                    <a:spcPts val="0"/>
                  </a:spcBef>
                  <a:spcAft>
                    <a:spcPts val="1200"/>
                  </a:spcAft>
                  <a:buFont typeface="Graphik" panose="020B0503030202060203" pitchFamily="34" charset="0"/>
                  <a:buNone/>
                  <a:tabLst/>
                  <a:defRPr sz="1200" kern="1200">
                    <a:solidFill>
                      <a:schemeClr val="tx1"/>
                    </a:solidFill>
                    <a:latin typeface="+mn-lt"/>
                    <a:ea typeface="+mn-ea"/>
                    <a:cs typeface="+mn-cs"/>
                  </a:defRPr>
                </a:lvl6pPr>
                <a:lvl7pPr marL="0" indent="0" algn="l" defTabSz="22859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mn-lt"/>
                    <a:ea typeface="+mn-ea"/>
                    <a:cs typeface="+mn-cs"/>
                  </a:defRPr>
                </a:lvl7pPr>
                <a:lvl8pPr marL="0" indent="0" algn="l" defTabSz="22859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mn-lt"/>
                    <a:ea typeface="+mn-ea"/>
                    <a:cs typeface="+mn-cs"/>
                  </a:defRPr>
                </a:lvl8pPr>
                <a:lvl9pPr marL="0" indent="0" algn="l" defTabSz="22859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mn-lt"/>
                    <a:ea typeface="+mn-ea"/>
                    <a:cs typeface="+mn-cs"/>
                  </a:defRPr>
                </a:lvl9pPr>
              </a:lstStyle>
              <a:p>
                <a:pPr algn="ctr"/>
                <a:r>
                  <a:rPr lang="pt-BR" sz="1100" noProof="1">
                    <a:solidFill>
                      <a:schemeClr val="bg1"/>
                    </a:solidFill>
                  </a:rPr>
                  <a:t>(dados precisos da solução estrutural)</a:t>
                </a:r>
              </a:p>
            </p:txBody>
          </p:sp>
        </p:grpSp>
        <p:pic>
          <p:nvPicPr>
            <p:cNvPr id="108" name="Picture 107" descr="A white lines with circles and arrows&#10;&#10;AI-generated content may be incorrect.">
              <a:extLst>
                <a:ext uri="{FF2B5EF4-FFF2-40B4-BE49-F238E27FC236}">
                  <a16:creationId xmlns:a16="http://schemas.microsoft.com/office/drawing/2014/main" id="{66FE6972-6E27-D49C-BF42-D938C7081685}"/>
                </a:ext>
              </a:extLst>
            </p:cNvPr>
            <p:cNvPicPr>
              <a:picLocks noChangeAspect="1"/>
            </p:cNvPicPr>
            <p:nvPr/>
          </p:nvPicPr>
          <p:blipFill>
            <a:blip r:embed="rId8"/>
            <a:stretch>
              <a:fillRect/>
            </a:stretch>
          </p:blipFill>
          <p:spPr>
            <a:xfrm>
              <a:off x="5353909" y="2566590"/>
              <a:ext cx="720000" cy="720000"/>
            </a:xfrm>
            <a:prstGeom prst="rect">
              <a:avLst/>
            </a:prstGeom>
          </p:spPr>
        </p:pic>
        <p:grpSp>
          <p:nvGrpSpPr>
            <p:cNvPr id="109" name="Group 108">
              <a:extLst>
                <a:ext uri="{FF2B5EF4-FFF2-40B4-BE49-F238E27FC236}">
                  <a16:creationId xmlns:a16="http://schemas.microsoft.com/office/drawing/2014/main" id="{CBE3EE62-7EFB-68ED-F475-F40EB54EBD77}"/>
                </a:ext>
              </a:extLst>
            </p:cNvPr>
            <p:cNvGrpSpPr/>
            <p:nvPr/>
          </p:nvGrpSpPr>
          <p:grpSpPr>
            <a:xfrm>
              <a:off x="4989484" y="3286590"/>
              <a:ext cx="1448851" cy="738664"/>
              <a:chOff x="4689216" y="3103328"/>
              <a:chExt cx="1448851" cy="738664"/>
            </a:xfrm>
          </p:grpSpPr>
          <p:sp>
            <p:nvSpPr>
              <p:cNvPr id="111" name="Text Placeholder 15">
                <a:extLst>
                  <a:ext uri="{FF2B5EF4-FFF2-40B4-BE49-F238E27FC236}">
                    <a16:creationId xmlns:a16="http://schemas.microsoft.com/office/drawing/2014/main" id="{89805A61-3AAE-0173-74B9-4EF0F1F2F63E}"/>
                  </a:ext>
                </a:extLst>
              </p:cNvPr>
              <p:cNvSpPr txBox="1">
                <a:spLocks/>
              </p:cNvSpPr>
              <p:nvPr/>
            </p:nvSpPr>
            <p:spPr>
              <a:xfrm>
                <a:off x="4689216" y="3103328"/>
                <a:ext cx="1448851" cy="307777"/>
              </a:xfrm>
              <a:prstGeom prst="rect">
                <a:avLst/>
              </a:prstGeom>
            </p:spPr>
            <p:txBody>
              <a:bodyPr wrap="square" anchor="ctr" anchorCtr="1">
                <a:spAutoFit/>
              </a:bodyPr>
              <a:lstStyle>
                <a:lvl1pPr marL="0" indent="0" algn="l" defTabSz="228594" rtl="0" eaLnBrk="1" latinLnBrk="0" hangingPunct="1">
                  <a:lnSpc>
                    <a:spcPct val="100000"/>
                  </a:lnSpc>
                  <a:spcBef>
                    <a:spcPts val="0"/>
                  </a:spcBef>
                  <a:spcAft>
                    <a:spcPts val="1200"/>
                  </a:spcAft>
                  <a:buFont typeface="Arial" panose="020B0604020202020204" pitchFamily="34" charset="0"/>
                  <a:buNone/>
                  <a:defRPr sz="1400" b="0" kern="1200">
                    <a:solidFill>
                      <a:schemeClr val="tx1"/>
                    </a:solidFill>
                    <a:latin typeface="+mn-lt"/>
                    <a:ea typeface="+mn-ea"/>
                    <a:cs typeface="+mn-cs"/>
                  </a:defRPr>
                </a:lvl1pPr>
                <a:lvl2pPr marL="228594" indent="-228594" algn="l" defTabSz="228594" rtl="0" eaLnBrk="1" latinLnBrk="0" hangingPunct="1">
                  <a:lnSpc>
                    <a:spcPct val="100000"/>
                  </a:lnSpc>
                  <a:spcBef>
                    <a:spcPts val="0"/>
                  </a:spcBef>
                  <a:spcAft>
                    <a:spcPts val="1200"/>
                  </a:spcAft>
                  <a:buClrTx/>
                  <a:buFont typeface="Arial" panose="020B0604020202020204" pitchFamily="34" charset="0"/>
                  <a:buChar char="•"/>
                  <a:defRPr sz="1200" kern="1200">
                    <a:solidFill>
                      <a:schemeClr val="tx1"/>
                    </a:solidFill>
                    <a:latin typeface="+mn-lt"/>
                    <a:ea typeface="+mn-ea"/>
                    <a:cs typeface="+mn-cs"/>
                  </a:defRPr>
                </a:lvl2pPr>
                <a:lvl3pPr marL="457189" indent="-228594" algn="l" defTabSz="228594" rtl="0" eaLnBrk="1" latinLnBrk="0" hangingPunct="1">
                  <a:lnSpc>
                    <a:spcPct val="100000"/>
                  </a:lnSpc>
                  <a:spcBef>
                    <a:spcPts val="0"/>
                  </a:spcBef>
                  <a:spcAft>
                    <a:spcPts val="1200"/>
                  </a:spcAft>
                  <a:buFont typeface="System Font"/>
                  <a:buChar char="–"/>
                  <a:defRPr sz="1200" kern="1200">
                    <a:solidFill>
                      <a:schemeClr val="tx1"/>
                    </a:solidFill>
                    <a:latin typeface="+mn-lt"/>
                    <a:ea typeface="+mn-ea"/>
                    <a:cs typeface="+mn-cs"/>
                  </a:defRPr>
                </a:lvl3pPr>
                <a:lvl4pPr marL="685783" indent="-228594" algn="l" defTabSz="228594" rtl="0" eaLnBrk="1" latinLnBrk="0" hangingPunct="1">
                  <a:lnSpc>
                    <a:spcPct val="100000"/>
                  </a:lnSpc>
                  <a:spcBef>
                    <a:spcPts val="0"/>
                  </a:spcBef>
                  <a:spcAft>
                    <a:spcPts val="1200"/>
                  </a:spcAft>
                  <a:buFont typeface="Arial" panose="020B0604020202020204" pitchFamily="34" charset="0"/>
                  <a:buChar char="•"/>
                  <a:defRPr sz="1100" kern="1200">
                    <a:solidFill>
                      <a:schemeClr val="tx1"/>
                    </a:solidFill>
                    <a:latin typeface="+mn-lt"/>
                    <a:ea typeface="+mn-ea"/>
                    <a:cs typeface="+mn-cs"/>
                  </a:defRPr>
                </a:lvl4pPr>
                <a:lvl5pPr marL="914377" indent="-228594" algn="l" defTabSz="228594" rtl="0" eaLnBrk="1" latinLnBrk="0" hangingPunct="1">
                  <a:lnSpc>
                    <a:spcPct val="100000"/>
                  </a:lnSpc>
                  <a:spcBef>
                    <a:spcPts val="0"/>
                  </a:spcBef>
                  <a:spcAft>
                    <a:spcPts val="1200"/>
                  </a:spcAft>
                  <a:buFont typeface="System Font"/>
                  <a:buChar char="–"/>
                  <a:defRPr sz="1100" kern="1200">
                    <a:solidFill>
                      <a:schemeClr val="tx1"/>
                    </a:solidFill>
                    <a:latin typeface="+mn-lt"/>
                    <a:ea typeface="+mn-ea"/>
                    <a:cs typeface="+mn-cs"/>
                  </a:defRPr>
                </a:lvl5pPr>
                <a:lvl6pPr marL="11113" indent="0" algn="l" defTabSz="228594" rtl="0" eaLnBrk="1" latinLnBrk="0" hangingPunct="1">
                  <a:lnSpc>
                    <a:spcPct val="90000"/>
                  </a:lnSpc>
                  <a:spcBef>
                    <a:spcPts val="0"/>
                  </a:spcBef>
                  <a:spcAft>
                    <a:spcPts val="1200"/>
                  </a:spcAft>
                  <a:buFont typeface="Graphik" panose="020B0503030202060203" pitchFamily="34" charset="0"/>
                  <a:buNone/>
                  <a:tabLst/>
                  <a:defRPr sz="1200" kern="1200">
                    <a:solidFill>
                      <a:schemeClr val="tx1"/>
                    </a:solidFill>
                    <a:latin typeface="+mn-lt"/>
                    <a:ea typeface="+mn-ea"/>
                    <a:cs typeface="+mn-cs"/>
                  </a:defRPr>
                </a:lvl6pPr>
                <a:lvl7pPr marL="0" indent="0" algn="l" defTabSz="22859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mn-lt"/>
                    <a:ea typeface="+mn-ea"/>
                    <a:cs typeface="+mn-cs"/>
                  </a:defRPr>
                </a:lvl7pPr>
                <a:lvl8pPr marL="0" indent="0" algn="l" defTabSz="22859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mn-lt"/>
                    <a:ea typeface="+mn-ea"/>
                    <a:cs typeface="+mn-cs"/>
                  </a:defRPr>
                </a:lvl8pPr>
                <a:lvl9pPr marL="0" indent="0" algn="l" defTabSz="22859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mn-lt"/>
                    <a:ea typeface="+mn-ea"/>
                    <a:cs typeface="+mn-cs"/>
                  </a:defRPr>
                </a:lvl9pPr>
              </a:lstStyle>
              <a:p>
                <a:pPr algn="ctr"/>
                <a:r>
                  <a:rPr lang="pt-BR" b="1" noProof="1">
                    <a:solidFill>
                      <a:schemeClr val="bg1"/>
                    </a:solidFill>
                  </a:rPr>
                  <a:t>Deep Learning</a:t>
                </a:r>
              </a:p>
            </p:txBody>
          </p:sp>
          <p:sp>
            <p:nvSpPr>
              <p:cNvPr id="112" name="Text Placeholder 14">
                <a:extLst>
                  <a:ext uri="{FF2B5EF4-FFF2-40B4-BE49-F238E27FC236}">
                    <a16:creationId xmlns:a16="http://schemas.microsoft.com/office/drawing/2014/main" id="{E10B508F-A9D5-BE6D-3563-F27F038082F8}"/>
                  </a:ext>
                </a:extLst>
              </p:cNvPr>
              <p:cNvSpPr txBox="1">
                <a:spLocks/>
              </p:cNvSpPr>
              <p:nvPr/>
            </p:nvSpPr>
            <p:spPr>
              <a:xfrm>
                <a:off x="4689216" y="3411105"/>
                <a:ext cx="1448851" cy="430887"/>
              </a:xfrm>
              <a:prstGeom prst="rect">
                <a:avLst/>
              </a:prstGeom>
            </p:spPr>
            <p:txBody>
              <a:bodyPr wrap="square" anchor="ctr" anchorCtr="1">
                <a:spAutoFit/>
              </a:bodyPr>
              <a:lstStyle>
                <a:lvl1pPr marL="0" indent="0" algn="l" defTabSz="228594" rtl="0" eaLnBrk="1" latinLnBrk="0" hangingPunct="1">
                  <a:lnSpc>
                    <a:spcPct val="100000"/>
                  </a:lnSpc>
                  <a:spcBef>
                    <a:spcPts val="0"/>
                  </a:spcBef>
                  <a:spcAft>
                    <a:spcPts val="1200"/>
                  </a:spcAft>
                  <a:buFont typeface="Arial" panose="020B0604020202020204" pitchFamily="34" charset="0"/>
                  <a:buNone/>
                  <a:defRPr sz="1400" b="0" kern="1200">
                    <a:solidFill>
                      <a:schemeClr val="tx1"/>
                    </a:solidFill>
                    <a:latin typeface="+mn-lt"/>
                    <a:ea typeface="+mn-ea"/>
                    <a:cs typeface="+mn-cs"/>
                  </a:defRPr>
                </a:lvl1pPr>
                <a:lvl2pPr marL="228594" indent="-228594" algn="l" defTabSz="228594" rtl="0" eaLnBrk="1" latinLnBrk="0" hangingPunct="1">
                  <a:lnSpc>
                    <a:spcPct val="100000"/>
                  </a:lnSpc>
                  <a:spcBef>
                    <a:spcPts val="0"/>
                  </a:spcBef>
                  <a:spcAft>
                    <a:spcPts val="1200"/>
                  </a:spcAft>
                  <a:buClrTx/>
                  <a:buFont typeface="Arial" panose="020B0604020202020204" pitchFamily="34" charset="0"/>
                  <a:buChar char="•"/>
                  <a:defRPr sz="1200" kern="1200">
                    <a:solidFill>
                      <a:schemeClr val="tx1"/>
                    </a:solidFill>
                    <a:latin typeface="+mn-lt"/>
                    <a:ea typeface="+mn-ea"/>
                    <a:cs typeface="+mn-cs"/>
                  </a:defRPr>
                </a:lvl2pPr>
                <a:lvl3pPr marL="457189" indent="-228594" algn="l" defTabSz="228594" rtl="0" eaLnBrk="1" latinLnBrk="0" hangingPunct="1">
                  <a:lnSpc>
                    <a:spcPct val="100000"/>
                  </a:lnSpc>
                  <a:spcBef>
                    <a:spcPts val="0"/>
                  </a:spcBef>
                  <a:spcAft>
                    <a:spcPts val="1200"/>
                  </a:spcAft>
                  <a:buFont typeface="System Font"/>
                  <a:buChar char="–"/>
                  <a:defRPr sz="1200" kern="1200">
                    <a:solidFill>
                      <a:schemeClr val="tx1"/>
                    </a:solidFill>
                    <a:latin typeface="+mn-lt"/>
                    <a:ea typeface="+mn-ea"/>
                    <a:cs typeface="+mn-cs"/>
                  </a:defRPr>
                </a:lvl3pPr>
                <a:lvl4pPr marL="685783" indent="-228594" algn="l" defTabSz="228594" rtl="0" eaLnBrk="1" latinLnBrk="0" hangingPunct="1">
                  <a:lnSpc>
                    <a:spcPct val="100000"/>
                  </a:lnSpc>
                  <a:spcBef>
                    <a:spcPts val="0"/>
                  </a:spcBef>
                  <a:spcAft>
                    <a:spcPts val="1200"/>
                  </a:spcAft>
                  <a:buFont typeface="Arial" panose="020B0604020202020204" pitchFamily="34" charset="0"/>
                  <a:buChar char="•"/>
                  <a:defRPr sz="1100" kern="1200">
                    <a:solidFill>
                      <a:schemeClr val="tx1"/>
                    </a:solidFill>
                    <a:latin typeface="+mn-lt"/>
                    <a:ea typeface="+mn-ea"/>
                    <a:cs typeface="+mn-cs"/>
                  </a:defRPr>
                </a:lvl4pPr>
                <a:lvl5pPr marL="914377" indent="-228594" algn="l" defTabSz="228594" rtl="0" eaLnBrk="1" latinLnBrk="0" hangingPunct="1">
                  <a:lnSpc>
                    <a:spcPct val="100000"/>
                  </a:lnSpc>
                  <a:spcBef>
                    <a:spcPts val="0"/>
                  </a:spcBef>
                  <a:spcAft>
                    <a:spcPts val="1200"/>
                  </a:spcAft>
                  <a:buFont typeface="System Font"/>
                  <a:buChar char="–"/>
                  <a:defRPr sz="1100" kern="1200">
                    <a:solidFill>
                      <a:schemeClr val="tx1"/>
                    </a:solidFill>
                    <a:latin typeface="+mn-lt"/>
                    <a:ea typeface="+mn-ea"/>
                    <a:cs typeface="+mn-cs"/>
                  </a:defRPr>
                </a:lvl5pPr>
                <a:lvl6pPr marL="11113" indent="0" algn="l" defTabSz="228594" rtl="0" eaLnBrk="1" latinLnBrk="0" hangingPunct="1">
                  <a:lnSpc>
                    <a:spcPct val="90000"/>
                  </a:lnSpc>
                  <a:spcBef>
                    <a:spcPts val="0"/>
                  </a:spcBef>
                  <a:spcAft>
                    <a:spcPts val="1200"/>
                  </a:spcAft>
                  <a:buFont typeface="Graphik" panose="020B0503030202060203" pitchFamily="34" charset="0"/>
                  <a:buNone/>
                  <a:tabLst/>
                  <a:defRPr sz="1200" kern="1200">
                    <a:solidFill>
                      <a:schemeClr val="tx1"/>
                    </a:solidFill>
                    <a:latin typeface="+mn-lt"/>
                    <a:ea typeface="+mn-ea"/>
                    <a:cs typeface="+mn-cs"/>
                  </a:defRPr>
                </a:lvl6pPr>
                <a:lvl7pPr marL="0" indent="0" algn="l" defTabSz="22859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mn-lt"/>
                    <a:ea typeface="+mn-ea"/>
                    <a:cs typeface="+mn-cs"/>
                  </a:defRPr>
                </a:lvl7pPr>
                <a:lvl8pPr marL="0" indent="0" algn="l" defTabSz="22859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mn-lt"/>
                    <a:ea typeface="+mn-ea"/>
                    <a:cs typeface="+mn-cs"/>
                  </a:defRPr>
                </a:lvl8pPr>
                <a:lvl9pPr marL="0" indent="0" algn="l" defTabSz="22859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mn-lt"/>
                    <a:ea typeface="+mn-ea"/>
                    <a:cs typeface="+mn-cs"/>
                  </a:defRPr>
                </a:lvl9pPr>
              </a:lstStyle>
              <a:p>
                <a:pPr algn="ctr"/>
                <a:r>
                  <a:rPr lang="pt-BR" sz="1100" noProof="1">
                    <a:solidFill>
                      <a:schemeClr val="bg1"/>
                    </a:solidFill>
                  </a:rPr>
                  <a:t>(aproximação rápida da solução)</a:t>
                </a:r>
              </a:p>
            </p:txBody>
          </p:sp>
        </p:grpSp>
        <p:cxnSp>
          <p:nvCxnSpPr>
            <p:cNvPr id="110" name="Connector: Elbow 109">
              <a:extLst>
                <a:ext uri="{FF2B5EF4-FFF2-40B4-BE49-F238E27FC236}">
                  <a16:creationId xmlns:a16="http://schemas.microsoft.com/office/drawing/2014/main" id="{4505115D-1986-B5BF-5F63-61BE8356DDEE}"/>
                </a:ext>
              </a:extLst>
            </p:cNvPr>
            <p:cNvCxnSpPr>
              <a:cxnSpLocks/>
            </p:cNvCxnSpPr>
            <p:nvPr/>
          </p:nvCxnSpPr>
          <p:spPr>
            <a:xfrm flipV="1">
              <a:off x="6963109" y="1582910"/>
              <a:ext cx="12700" cy="4135867"/>
            </a:xfrm>
            <a:prstGeom prst="bentConnector3">
              <a:avLst>
                <a:gd name="adj1" fmla="val 1800000"/>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7932867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0820AF3-A5E4-492B-1608-694764D30222}"/>
              </a:ext>
            </a:extLst>
          </p:cNvPr>
          <p:cNvGraphicFramePr>
            <a:graphicFrameLocks noChangeAspect="1"/>
          </p:cNvGraphicFramePr>
          <p:nvPr>
            <p:custDataLst>
              <p:tags r:id="rId1"/>
            </p:custDataLst>
            <p:extLst>
              <p:ext uri="{D42A27DB-BD31-4B8C-83A1-F6EECF244321}">
                <p14:modId xmlns:p14="http://schemas.microsoft.com/office/powerpoint/2010/main" val="2927540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3" name="think-cell data - do not delete" hidden="1">
                        <a:extLst>
                          <a:ext uri="{FF2B5EF4-FFF2-40B4-BE49-F238E27FC236}">
                            <a16:creationId xmlns:a16="http://schemas.microsoft.com/office/drawing/2014/main" id="{20820AF3-A5E4-492B-1608-694764D3022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6FBE84C-E5B6-452D-A67C-6435F4B76A12}"/>
              </a:ext>
            </a:extLst>
          </p:cNvPr>
          <p:cNvSpPr>
            <a:spLocks noGrp="1"/>
          </p:cNvSpPr>
          <p:nvPr>
            <p:ph type="title"/>
          </p:nvPr>
        </p:nvSpPr>
        <p:spPr>
          <a:xfrm>
            <a:off x="556468" y="572600"/>
            <a:ext cx="3984536" cy="393954"/>
          </a:xfrm>
        </p:spPr>
        <p:txBody>
          <a:bodyPr vert="horz"/>
          <a:lstStyle/>
          <a:p>
            <a:r>
              <a:rPr lang="pt-BR" noProof="1"/>
              <a:t>Graphics</a:t>
            </a:r>
          </a:p>
        </p:txBody>
      </p:sp>
      <p:sp>
        <p:nvSpPr>
          <p:cNvPr id="6" name="Text Placeholder 5">
            <a:extLst>
              <a:ext uri="{FF2B5EF4-FFF2-40B4-BE49-F238E27FC236}">
                <a16:creationId xmlns:a16="http://schemas.microsoft.com/office/drawing/2014/main" id="{002E3EBC-3F3C-0B24-AD9B-AFB5775FE9FC}"/>
              </a:ext>
            </a:extLst>
          </p:cNvPr>
          <p:cNvSpPr>
            <a:spLocks noGrp="1"/>
          </p:cNvSpPr>
          <p:nvPr>
            <p:ph type="body" sz="quarter" idx="28"/>
          </p:nvPr>
        </p:nvSpPr>
        <p:spPr>
          <a:xfrm>
            <a:off x="556468" y="1966977"/>
            <a:ext cx="3148429" cy="1077218"/>
          </a:xfrm>
        </p:spPr>
        <p:txBody>
          <a:bodyPr/>
          <a:lstStyle/>
          <a:p>
            <a:r>
              <a:rPr lang="pt-BR" noProof="1"/>
              <a:t>Keep consistency by using predefined styles and layouts.</a:t>
            </a:r>
          </a:p>
          <a:p>
            <a:r>
              <a:rPr lang="pt-BR" noProof="1"/>
              <a:t>When creating visuals, ensure they align with the brand’s visual identity and maintain legibility across different formats.</a:t>
            </a:r>
          </a:p>
        </p:txBody>
      </p:sp>
      <p:pic>
        <p:nvPicPr>
          <p:cNvPr id="7" name="Imagen 6" descr="Screenshot of the Power Point panel to select a chart.">
            <a:extLst>
              <a:ext uri="{FF2B5EF4-FFF2-40B4-BE49-F238E27FC236}">
                <a16:creationId xmlns:a16="http://schemas.microsoft.com/office/drawing/2014/main" id="{B2DB890E-1D09-3F6D-AAD0-F39D8F7EEF52}"/>
              </a:ext>
              <a:ext uri="{C183D7F6-B498-43B3-948B-1728B52AA6E4}">
                <adec:decorative xmlns:adec="http://schemas.microsoft.com/office/drawing/2017/decorative" val="0"/>
              </a:ext>
            </a:extLst>
          </p:cNvPr>
          <p:cNvPicPr>
            <a:picLocks noChangeAspect="1"/>
          </p:cNvPicPr>
          <p:nvPr/>
        </p:nvPicPr>
        <p:blipFill>
          <a:blip r:embed="rId6"/>
          <a:srcRect l="3423" r="3308" b="1437"/>
          <a:stretch/>
        </p:blipFill>
        <p:spPr>
          <a:xfrm>
            <a:off x="5921746" y="1454714"/>
            <a:ext cx="1933281" cy="2931777"/>
          </a:xfrm>
          <a:prstGeom prst="rect">
            <a:avLst/>
          </a:prstGeom>
        </p:spPr>
      </p:pic>
      <p:sp>
        <p:nvSpPr>
          <p:cNvPr id="13" name="TextBox 3">
            <a:extLst>
              <a:ext uri="{FF2B5EF4-FFF2-40B4-BE49-F238E27FC236}">
                <a16:creationId xmlns:a16="http://schemas.microsoft.com/office/drawing/2014/main" id="{88B61A55-140F-3135-A9D3-B0EB37C0B144}"/>
              </a:ext>
            </a:extLst>
          </p:cNvPr>
          <p:cNvSpPr txBox="1"/>
          <p:nvPr/>
        </p:nvSpPr>
        <p:spPr>
          <a:xfrm>
            <a:off x="5877502" y="4710325"/>
            <a:ext cx="2739759" cy="492443"/>
          </a:xfrm>
          <a:prstGeom prst="rect">
            <a:avLst/>
          </a:prstGeom>
          <a:noFill/>
        </p:spPr>
        <p:txBody>
          <a:bodyPr wrap="square" lIns="0" tIns="0" rIns="0" bIns="0" rtlCol="0">
            <a:spAutoFit/>
          </a:bodyPr>
          <a:lstStyle/>
          <a:p>
            <a:pPr defTabSz="228589">
              <a:spcAft>
                <a:spcPts val="1200"/>
              </a:spcAft>
            </a:pPr>
            <a:r>
              <a:rPr lang="pt-BR" sz="1600" noProof="1">
                <a:solidFill>
                  <a:srgbClr val="000000"/>
                </a:solidFill>
                <a:latin typeface="Graphik" panose="020B0503030202060203" pitchFamily="34" charset="77"/>
              </a:rPr>
              <a:t>Select "Chart" – In the illustrations group.</a:t>
            </a:r>
          </a:p>
        </p:txBody>
      </p:sp>
      <p:pic>
        <p:nvPicPr>
          <p:cNvPr id="12" name="Imagen 11" descr="Screenshot of the PowerPoint panel to select a 2D or 3D chart.">
            <a:extLst>
              <a:ext uri="{FF2B5EF4-FFF2-40B4-BE49-F238E27FC236}">
                <a16:creationId xmlns:a16="http://schemas.microsoft.com/office/drawing/2014/main" id="{95297B10-2A79-B7DA-D415-218B74E4F7CB}"/>
              </a:ext>
              <a:ext uri="{C183D7F6-B498-43B3-948B-1728B52AA6E4}">
                <adec:decorative xmlns:adec="http://schemas.microsoft.com/office/drawing/2017/decorative" val="0"/>
              </a:ext>
            </a:extLst>
          </p:cNvPr>
          <p:cNvPicPr>
            <a:picLocks noChangeAspect="1"/>
          </p:cNvPicPr>
          <p:nvPr/>
        </p:nvPicPr>
        <p:blipFill>
          <a:blip r:embed="rId7"/>
          <a:srcRect l="1231" r="4520"/>
          <a:stretch/>
        </p:blipFill>
        <p:spPr>
          <a:xfrm>
            <a:off x="8661505" y="1454714"/>
            <a:ext cx="1837083" cy="2929519"/>
          </a:xfrm>
          <a:prstGeom prst="rect">
            <a:avLst/>
          </a:prstGeom>
        </p:spPr>
      </p:pic>
      <p:sp>
        <p:nvSpPr>
          <p:cNvPr id="5" name="TextBox 3">
            <a:extLst>
              <a:ext uri="{FF2B5EF4-FFF2-40B4-BE49-F238E27FC236}">
                <a16:creationId xmlns:a16="http://schemas.microsoft.com/office/drawing/2014/main" id="{698C0856-7F1B-A64E-BF82-89DDEA619720}"/>
              </a:ext>
            </a:extLst>
          </p:cNvPr>
          <p:cNvSpPr txBox="1"/>
          <p:nvPr/>
        </p:nvSpPr>
        <p:spPr>
          <a:xfrm>
            <a:off x="8661505" y="4651333"/>
            <a:ext cx="2586717" cy="1477328"/>
          </a:xfrm>
          <a:prstGeom prst="rect">
            <a:avLst/>
          </a:prstGeom>
          <a:noFill/>
        </p:spPr>
        <p:txBody>
          <a:bodyPr wrap="square" lIns="0" tIns="0" rIns="0" bIns="0" rtlCol="0">
            <a:spAutoFit/>
          </a:bodyPr>
          <a:lstStyle/>
          <a:p>
            <a:pPr marL="274313" lvl="1" indent="-274313">
              <a:buFont typeface="+mj-lt"/>
              <a:buAutoNum type="arabicPeriod"/>
            </a:pPr>
            <a:r>
              <a:rPr lang="pt-BR" sz="1600" noProof="1">
                <a:solidFill>
                  <a:srgbClr val="000000"/>
                </a:solidFill>
              </a:rPr>
              <a:t>Group bar chart, adjust size and copy it into your presentation</a:t>
            </a:r>
            <a:br>
              <a:rPr lang="pt-BR" sz="1600" noProof="1">
                <a:solidFill>
                  <a:srgbClr val="000000"/>
                </a:solidFill>
              </a:rPr>
            </a:br>
            <a:endParaRPr lang="pt-BR" sz="1600" noProof="1">
              <a:solidFill>
                <a:srgbClr val="000000"/>
              </a:solidFill>
            </a:endParaRPr>
          </a:p>
          <a:p>
            <a:r>
              <a:rPr lang="pt-BR" sz="1600" b="1" noProof="1">
                <a:solidFill>
                  <a:schemeClr val="bg2"/>
                </a:solidFill>
                <a:latin typeface="Graphik Semibold" panose="020B0503030202060203" pitchFamily="34" charset="77"/>
              </a:rPr>
              <a:t>Important: </a:t>
            </a:r>
            <a:r>
              <a:rPr lang="pt-BR" sz="1600" noProof="1">
                <a:solidFill>
                  <a:srgbClr val="000000"/>
                </a:solidFill>
              </a:rPr>
              <a:t>Avoid using 3D graphics.</a:t>
            </a:r>
          </a:p>
        </p:txBody>
      </p:sp>
    </p:spTree>
    <p:extLst>
      <p:ext uri="{BB962C8B-B14F-4D97-AF65-F5344CB8AC3E}">
        <p14:creationId xmlns:p14="http://schemas.microsoft.com/office/powerpoint/2010/main" val="289863089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469B84A-DC00-794D-F6FF-8C6EDE586E74}"/>
              </a:ext>
            </a:extLst>
          </p:cNvPr>
          <p:cNvGraphicFramePr>
            <a:graphicFrameLocks noChangeAspect="1"/>
          </p:cNvGraphicFramePr>
          <p:nvPr>
            <p:custDataLst>
              <p:tags r:id="rId1"/>
            </p:custDataLst>
            <p:extLst>
              <p:ext uri="{D42A27DB-BD31-4B8C-83A1-F6EECF244321}">
                <p14:modId xmlns:p14="http://schemas.microsoft.com/office/powerpoint/2010/main" val="3815386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2" name="think-cell data - do not delete" hidden="1">
                        <a:extLst>
                          <a:ext uri="{FF2B5EF4-FFF2-40B4-BE49-F238E27FC236}">
                            <a16:creationId xmlns:a16="http://schemas.microsoft.com/office/drawing/2014/main" id="{D469B84A-DC00-794D-F6FF-8C6EDE586E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6" name="Título 35">
            <a:extLst>
              <a:ext uri="{FF2B5EF4-FFF2-40B4-BE49-F238E27FC236}">
                <a16:creationId xmlns:a16="http://schemas.microsoft.com/office/drawing/2014/main" id="{D0C65BAF-4D76-75F7-0482-F76737DC0559}"/>
              </a:ext>
            </a:extLst>
          </p:cNvPr>
          <p:cNvSpPr>
            <a:spLocks noGrp="1"/>
          </p:cNvSpPr>
          <p:nvPr>
            <p:ph type="title"/>
          </p:nvPr>
        </p:nvSpPr>
        <p:spPr/>
        <p:txBody>
          <a:bodyPr vert="horz"/>
          <a:lstStyle/>
          <a:p>
            <a:r>
              <a:rPr lang="pt-BR" noProof="1"/>
              <a:t>Index</a:t>
            </a:r>
          </a:p>
        </p:txBody>
      </p:sp>
      <p:sp>
        <p:nvSpPr>
          <p:cNvPr id="3" name="Marcador de texto 2">
            <a:extLst>
              <a:ext uri="{FF2B5EF4-FFF2-40B4-BE49-F238E27FC236}">
                <a16:creationId xmlns:a16="http://schemas.microsoft.com/office/drawing/2014/main" id="{EFB1B8AD-889A-4A02-2B9B-C90B89D482A2}"/>
              </a:ext>
            </a:extLst>
          </p:cNvPr>
          <p:cNvSpPr>
            <a:spLocks noGrp="1"/>
          </p:cNvSpPr>
          <p:nvPr>
            <p:ph type="body" sz="quarter" idx="14"/>
          </p:nvPr>
        </p:nvSpPr>
        <p:spPr/>
        <p:txBody>
          <a:bodyPr/>
          <a:lstStyle/>
          <a:p>
            <a:r>
              <a:rPr lang="pt-BR" noProof="1"/>
              <a:t>The visual are organized into categories</a:t>
            </a:r>
          </a:p>
        </p:txBody>
      </p:sp>
      <p:sp>
        <p:nvSpPr>
          <p:cNvPr id="79" name="Text Placeholder 78">
            <a:extLst>
              <a:ext uri="{FF2B5EF4-FFF2-40B4-BE49-F238E27FC236}">
                <a16:creationId xmlns:a16="http://schemas.microsoft.com/office/drawing/2014/main" id="{E4686B1F-D44E-2814-E420-B2F66A9A5D34}"/>
              </a:ext>
            </a:extLst>
          </p:cNvPr>
          <p:cNvSpPr>
            <a:spLocks noGrp="1"/>
          </p:cNvSpPr>
          <p:nvPr>
            <p:ph type="body" sz="quarter" idx="31"/>
          </p:nvPr>
        </p:nvSpPr>
        <p:spPr/>
        <p:txBody>
          <a:bodyPr/>
          <a:lstStyle/>
          <a:p>
            <a:r>
              <a:rPr lang="pt-BR" noProof="1"/>
              <a:t>1</a:t>
            </a:r>
          </a:p>
        </p:txBody>
      </p:sp>
      <p:sp>
        <p:nvSpPr>
          <p:cNvPr id="5" name="Marcador de texto 4">
            <a:extLst>
              <a:ext uri="{FF2B5EF4-FFF2-40B4-BE49-F238E27FC236}">
                <a16:creationId xmlns:a16="http://schemas.microsoft.com/office/drawing/2014/main" id="{4C7273AB-5EC2-FAFE-3F05-C85209161C12}"/>
              </a:ext>
            </a:extLst>
          </p:cNvPr>
          <p:cNvSpPr>
            <a:spLocks noGrp="1"/>
          </p:cNvSpPr>
          <p:nvPr>
            <p:ph type="body" sz="quarter" idx="16"/>
          </p:nvPr>
        </p:nvSpPr>
        <p:spPr/>
        <p:txBody>
          <a:bodyPr/>
          <a:lstStyle/>
          <a:p>
            <a:pPr>
              <a:lnSpc>
                <a:spcPct val="100000"/>
              </a:lnSpc>
            </a:pPr>
            <a:r>
              <a:rPr lang="pt-BR" noProof="1"/>
              <a:t>Charts</a:t>
            </a:r>
          </a:p>
        </p:txBody>
      </p:sp>
      <p:sp>
        <p:nvSpPr>
          <p:cNvPr id="80" name="Text Placeholder 79">
            <a:extLst>
              <a:ext uri="{FF2B5EF4-FFF2-40B4-BE49-F238E27FC236}">
                <a16:creationId xmlns:a16="http://schemas.microsoft.com/office/drawing/2014/main" id="{7CC87C2F-5606-26A1-1464-35D5F4657F41}"/>
              </a:ext>
            </a:extLst>
          </p:cNvPr>
          <p:cNvSpPr>
            <a:spLocks noGrp="1"/>
          </p:cNvSpPr>
          <p:nvPr>
            <p:ph type="body" sz="quarter" idx="32"/>
          </p:nvPr>
        </p:nvSpPr>
        <p:spPr/>
        <p:txBody>
          <a:bodyPr/>
          <a:lstStyle/>
          <a:p>
            <a:r>
              <a:rPr lang="pt-BR" noProof="1"/>
              <a:t>2</a:t>
            </a:r>
          </a:p>
        </p:txBody>
      </p:sp>
      <p:sp>
        <p:nvSpPr>
          <p:cNvPr id="72" name="Text Placeholder 71">
            <a:extLst>
              <a:ext uri="{FF2B5EF4-FFF2-40B4-BE49-F238E27FC236}">
                <a16:creationId xmlns:a16="http://schemas.microsoft.com/office/drawing/2014/main" id="{A63A23B8-5192-200B-7398-C3DB9F12D38B}"/>
              </a:ext>
            </a:extLst>
          </p:cNvPr>
          <p:cNvSpPr>
            <a:spLocks noGrp="1"/>
          </p:cNvSpPr>
          <p:nvPr>
            <p:ph type="body" sz="quarter" idx="18"/>
          </p:nvPr>
        </p:nvSpPr>
        <p:spPr>
          <a:xfrm>
            <a:off x="4966974" y="1976479"/>
            <a:ext cx="3844517" cy="485340"/>
          </a:xfrm>
        </p:spPr>
        <p:txBody>
          <a:bodyPr/>
          <a:lstStyle/>
          <a:p>
            <a:r>
              <a:rPr lang="pt-BR" noProof="1"/>
              <a:t>Flows, diagrams and other structures</a:t>
            </a:r>
          </a:p>
        </p:txBody>
      </p:sp>
      <p:sp>
        <p:nvSpPr>
          <p:cNvPr id="81" name="Text Placeholder 80">
            <a:extLst>
              <a:ext uri="{FF2B5EF4-FFF2-40B4-BE49-F238E27FC236}">
                <a16:creationId xmlns:a16="http://schemas.microsoft.com/office/drawing/2014/main" id="{920D8A7E-8511-1A7B-E65C-DA36576FD9FB}"/>
              </a:ext>
            </a:extLst>
          </p:cNvPr>
          <p:cNvSpPr>
            <a:spLocks noGrp="1"/>
          </p:cNvSpPr>
          <p:nvPr>
            <p:ph type="body" sz="quarter" idx="33"/>
          </p:nvPr>
        </p:nvSpPr>
        <p:spPr/>
        <p:txBody>
          <a:bodyPr/>
          <a:lstStyle/>
          <a:p>
            <a:r>
              <a:rPr lang="pt-BR" noProof="1"/>
              <a:t>3</a:t>
            </a:r>
          </a:p>
        </p:txBody>
      </p:sp>
      <p:sp>
        <p:nvSpPr>
          <p:cNvPr id="73" name="Text Placeholder 72">
            <a:extLst>
              <a:ext uri="{FF2B5EF4-FFF2-40B4-BE49-F238E27FC236}">
                <a16:creationId xmlns:a16="http://schemas.microsoft.com/office/drawing/2014/main" id="{CA51546B-509C-196F-D48E-AC4876E19221}"/>
              </a:ext>
            </a:extLst>
          </p:cNvPr>
          <p:cNvSpPr>
            <a:spLocks noGrp="1"/>
          </p:cNvSpPr>
          <p:nvPr>
            <p:ph type="body" sz="quarter" idx="20"/>
          </p:nvPr>
        </p:nvSpPr>
        <p:spPr>
          <a:xfrm>
            <a:off x="4966974" y="2581358"/>
            <a:ext cx="3844517" cy="485340"/>
          </a:xfrm>
        </p:spPr>
        <p:txBody>
          <a:bodyPr/>
          <a:lstStyle/>
          <a:p>
            <a:r>
              <a:rPr lang="pt-BR" noProof="1"/>
              <a:t>Illustrative graphs and frameworks</a:t>
            </a:r>
          </a:p>
        </p:txBody>
      </p:sp>
      <p:sp>
        <p:nvSpPr>
          <p:cNvPr id="82" name="Text Placeholder 81">
            <a:extLst>
              <a:ext uri="{FF2B5EF4-FFF2-40B4-BE49-F238E27FC236}">
                <a16:creationId xmlns:a16="http://schemas.microsoft.com/office/drawing/2014/main" id="{AF497D5F-5CA8-9C1B-CF96-7921E2DE7D6F}"/>
              </a:ext>
            </a:extLst>
          </p:cNvPr>
          <p:cNvSpPr>
            <a:spLocks noGrp="1"/>
          </p:cNvSpPr>
          <p:nvPr>
            <p:ph type="body" sz="quarter" idx="34"/>
          </p:nvPr>
        </p:nvSpPr>
        <p:spPr/>
        <p:txBody>
          <a:bodyPr/>
          <a:lstStyle/>
          <a:p>
            <a:r>
              <a:rPr lang="pt-BR" noProof="1"/>
              <a:t>4</a:t>
            </a:r>
          </a:p>
        </p:txBody>
      </p:sp>
      <p:sp>
        <p:nvSpPr>
          <p:cNvPr id="74" name="Text Placeholder 73">
            <a:extLst>
              <a:ext uri="{FF2B5EF4-FFF2-40B4-BE49-F238E27FC236}">
                <a16:creationId xmlns:a16="http://schemas.microsoft.com/office/drawing/2014/main" id="{A40BF953-98A4-7CD1-FAD7-45408C331CCA}"/>
              </a:ext>
            </a:extLst>
          </p:cNvPr>
          <p:cNvSpPr>
            <a:spLocks noGrp="1"/>
          </p:cNvSpPr>
          <p:nvPr>
            <p:ph type="body" sz="quarter" idx="22"/>
          </p:nvPr>
        </p:nvSpPr>
        <p:spPr/>
        <p:txBody>
          <a:bodyPr/>
          <a:lstStyle/>
          <a:p>
            <a:r>
              <a:rPr lang="pt-BR" noProof="1"/>
              <a:t>Useful objects</a:t>
            </a:r>
          </a:p>
        </p:txBody>
      </p:sp>
    </p:spTree>
    <p:extLst>
      <p:ext uri="{BB962C8B-B14F-4D97-AF65-F5344CB8AC3E}">
        <p14:creationId xmlns:p14="http://schemas.microsoft.com/office/powerpoint/2010/main" val="12119414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9BB8FD64-B7E4-FDC1-14BA-628E91155228}"/>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1A36F81-D2CC-5993-AC3A-A920917AFA52}"/>
              </a:ext>
            </a:extLst>
          </p:cNvPr>
          <p:cNvGraphicFramePr>
            <a:graphicFrameLocks noChangeAspect="1"/>
          </p:cNvGraphicFramePr>
          <p:nvPr>
            <p:custDataLst>
              <p:tags r:id="rId1"/>
            </p:custDataLst>
            <p:extLst>
              <p:ext uri="{D42A27DB-BD31-4B8C-83A1-F6EECF244321}">
                <p14:modId xmlns:p14="http://schemas.microsoft.com/office/powerpoint/2010/main" val="25127443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2" name="think-cell data - do not delete" hidden="1">
                        <a:extLst>
                          <a:ext uri="{FF2B5EF4-FFF2-40B4-BE49-F238E27FC236}">
                            <a16:creationId xmlns:a16="http://schemas.microsoft.com/office/drawing/2014/main" id="{31A36F81-D2CC-5993-AC3A-A920917AFA5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B0F656AD-363B-C1BB-18D4-19C8085678D9}"/>
              </a:ext>
            </a:extLst>
          </p:cNvPr>
          <p:cNvSpPr>
            <a:spLocks noGrp="1"/>
          </p:cNvSpPr>
          <p:nvPr>
            <p:ph type="ctrTitle"/>
          </p:nvPr>
        </p:nvSpPr>
        <p:spPr>
          <a:xfrm>
            <a:off x="1182795" y="4441608"/>
            <a:ext cx="6831047" cy="664797"/>
          </a:xfrm>
        </p:spPr>
        <p:txBody>
          <a:bodyPr vert="horz"/>
          <a:lstStyle/>
          <a:p>
            <a:r>
              <a:rPr lang="pt-BR" noProof="1"/>
              <a:t>Charts</a:t>
            </a:r>
          </a:p>
        </p:txBody>
      </p:sp>
      <p:sp>
        <p:nvSpPr>
          <p:cNvPr id="4" name="Text Placeholder 3">
            <a:extLst>
              <a:ext uri="{FF2B5EF4-FFF2-40B4-BE49-F238E27FC236}">
                <a16:creationId xmlns:a16="http://schemas.microsoft.com/office/drawing/2014/main" id="{515AC123-4563-DE4C-D52C-022EA2A04626}"/>
              </a:ext>
            </a:extLst>
          </p:cNvPr>
          <p:cNvSpPr>
            <a:spLocks noGrp="1"/>
          </p:cNvSpPr>
          <p:nvPr>
            <p:ph type="subTitle" idx="1"/>
          </p:nvPr>
        </p:nvSpPr>
        <p:spPr>
          <a:xfrm>
            <a:off x="1182795" y="5219056"/>
            <a:ext cx="6831047" cy="1092845"/>
          </a:xfrm>
        </p:spPr>
        <p:txBody>
          <a:bodyPr/>
          <a:lstStyle/>
          <a:p>
            <a:r>
              <a:rPr lang="pt-BR" noProof="1"/>
              <a:t>Standards, hints, and guidelines for different types of charts.</a:t>
            </a:r>
          </a:p>
        </p:txBody>
      </p:sp>
      <p:sp>
        <p:nvSpPr>
          <p:cNvPr id="9" name="Text Placeholder 8">
            <a:extLst>
              <a:ext uri="{FF2B5EF4-FFF2-40B4-BE49-F238E27FC236}">
                <a16:creationId xmlns:a16="http://schemas.microsoft.com/office/drawing/2014/main" id="{44A3AD3E-3E00-CE08-9B70-687374365E9C}"/>
              </a:ext>
            </a:extLst>
          </p:cNvPr>
          <p:cNvSpPr>
            <a:spLocks noGrp="1"/>
          </p:cNvSpPr>
          <p:nvPr>
            <p:ph type="body" sz="quarter" idx="11"/>
          </p:nvPr>
        </p:nvSpPr>
        <p:spPr>
          <a:xfrm>
            <a:off x="1189497" y="2433053"/>
            <a:ext cx="65" cy="1231106"/>
          </a:xfrm>
        </p:spPr>
        <p:txBody>
          <a:bodyPr/>
          <a:lstStyle/>
          <a:p>
            <a:endParaRPr lang="pt-BR" noProof="1"/>
          </a:p>
        </p:txBody>
      </p:sp>
    </p:spTree>
    <p:extLst>
      <p:ext uri="{BB962C8B-B14F-4D97-AF65-F5344CB8AC3E}">
        <p14:creationId xmlns:p14="http://schemas.microsoft.com/office/powerpoint/2010/main" val="266814224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E004462-BDAF-69B5-666F-D95B775A79E4}"/>
              </a:ext>
            </a:extLst>
          </p:cNvPr>
          <p:cNvGraphicFramePr>
            <a:graphicFrameLocks noChangeAspect="1"/>
          </p:cNvGraphicFramePr>
          <p:nvPr>
            <p:custDataLst>
              <p:tags r:id="rId1"/>
            </p:custDataLst>
            <p:extLst>
              <p:ext uri="{D42A27DB-BD31-4B8C-83A1-F6EECF244321}">
                <p14:modId xmlns:p14="http://schemas.microsoft.com/office/powerpoint/2010/main" val="3854660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4" name="think-cell data - do not delete" hidden="1">
                        <a:extLst>
                          <a:ext uri="{FF2B5EF4-FFF2-40B4-BE49-F238E27FC236}">
                            <a16:creationId xmlns:a16="http://schemas.microsoft.com/office/drawing/2014/main" id="{7E004462-BDAF-69B5-666F-D95B775A79E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6FBE84C-E5B6-452D-A67C-6435F4B76A12}"/>
              </a:ext>
            </a:extLst>
          </p:cNvPr>
          <p:cNvSpPr>
            <a:spLocks noGrp="1"/>
          </p:cNvSpPr>
          <p:nvPr>
            <p:ph type="title"/>
          </p:nvPr>
        </p:nvSpPr>
        <p:spPr>
          <a:xfrm>
            <a:off x="556468" y="572600"/>
            <a:ext cx="3984536" cy="393954"/>
          </a:xfrm>
        </p:spPr>
        <p:txBody>
          <a:bodyPr vert="horz"/>
          <a:lstStyle/>
          <a:p>
            <a:r>
              <a:rPr lang="pt-BR" noProof="1"/>
              <a:t>Accessibility table</a:t>
            </a:r>
          </a:p>
        </p:txBody>
      </p:sp>
      <p:sp>
        <p:nvSpPr>
          <p:cNvPr id="10" name="Text Placeholder 9">
            <a:extLst>
              <a:ext uri="{FF2B5EF4-FFF2-40B4-BE49-F238E27FC236}">
                <a16:creationId xmlns:a16="http://schemas.microsoft.com/office/drawing/2014/main" id="{D9654E94-8DC5-0290-7677-19383140D3DC}"/>
              </a:ext>
            </a:extLst>
          </p:cNvPr>
          <p:cNvSpPr>
            <a:spLocks noGrp="1"/>
          </p:cNvSpPr>
          <p:nvPr>
            <p:ph type="body" idx="29"/>
          </p:nvPr>
        </p:nvSpPr>
        <p:spPr/>
        <p:txBody>
          <a:bodyPr/>
          <a:lstStyle/>
          <a:p>
            <a:r>
              <a:rPr lang="pt-BR" noProof="1"/>
              <a:t>Orientation</a:t>
            </a:r>
          </a:p>
        </p:txBody>
      </p:sp>
      <p:sp>
        <p:nvSpPr>
          <p:cNvPr id="43" name="Text Placeholder 42">
            <a:extLst>
              <a:ext uri="{FF2B5EF4-FFF2-40B4-BE49-F238E27FC236}">
                <a16:creationId xmlns:a16="http://schemas.microsoft.com/office/drawing/2014/main" id="{C3EB088F-E947-3F1E-DB6D-80E7A7EFC968}"/>
              </a:ext>
            </a:extLst>
          </p:cNvPr>
          <p:cNvSpPr>
            <a:spLocks noGrp="1"/>
          </p:cNvSpPr>
          <p:nvPr>
            <p:ph type="body" sz="quarter" idx="28"/>
          </p:nvPr>
        </p:nvSpPr>
        <p:spPr>
          <a:xfrm>
            <a:off x="556468" y="2330533"/>
            <a:ext cx="3148429" cy="553998"/>
          </a:xfrm>
        </p:spPr>
        <p:txBody>
          <a:bodyPr/>
          <a:lstStyle/>
          <a:p>
            <a:r>
              <a:rPr lang="pt-BR" noProof="1"/>
              <a:t>To ensure tables are accessible for screen readers, use simple layouts and always enable the Header Row and First Column settings.</a:t>
            </a:r>
          </a:p>
        </p:txBody>
      </p:sp>
      <p:sp>
        <p:nvSpPr>
          <p:cNvPr id="6" name="TextBox 5">
            <a:extLst>
              <a:ext uri="{FF2B5EF4-FFF2-40B4-BE49-F238E27FC236}">
                <a16:creationId xmlns:a16="http://schemas.microsoft.com/office/drawing/2014/main" id="{F5607FD9-FE82-8A7E-6FAD-890F280D67DD}"/>
              </a:ext>
            </a:extLst>
          </p:cNvPr>
          <p:cNvSpPr txBox="1"/>
          <p:nvPr/>
        </p:nvSpPr>
        <p:spPr>
          <a:xfrm>
            <a:off x="5351076" y="573088"/>
            <a:ext cx="2265044" cy="215444"/>
          </a:xfrm>
          <a:prstGeom prst="rect">
            <a:avLst/>
          </a:prstGeom>
          <a:noFill/>
        </p:spPr>
        <p:txBody>
          <a:bodyPr wrap="none" lIns="0" tIns="0" rIns="0" bIns="0" rtlCol="0">
            <a:spAutoFit/>
          </a:bodyPr>
          <a:lstStyle/>
          <a:p>
            <a:pPr defTabSz="228594">
              <a:spcAft>
                <a:spcPts val="1200"/>
              </a:spcAft>
            </a:pPr>
            <a:r>
              <a:rPr lang="pt-BR" sz="1400" noProof="1">
                <a:latin typeface="Graphik" panose="020B0503030202060203" pitchFamily="34" charset="77"/>
              </a:rPr>
              <a:t>Create an accessible table</a:t>
            </a:r>
          </a:p>
        </p:txBody>
      </p:sp>
      <p:graphicFrame>
        <p:nvGraphicFramePr>
          <p:cNvPr id="7" name="Table 6" descr="An example of simple table displaying three columns with four rows and header.">
            <a:extLst>
              <a:ext uri="{FF2B5EF4-FFF2-40B4-BE49-F238E27FC236}">
                <a16:creationId xmlns:a16="http://schemas.microsoft.com/office/drawing/2014/main" id="{5AA5587E-C94E-9385-DB56-9E297AB57589}"/>
              </a:ext>
            </a:extLst>
          </p:cNvPr>
          <p:cNvGraphicFramePr>
            <a:graphicFrameLocks noGrp="1"/>
          </p:cNvGraphicFramePr>
          <p:nvPr>
            <p:extLst>
              <p:ext uri="{D42A27DB-BD31-4B8C-83A1-F6EECF244321}">
                <p14:modId xmlns:p14="http://schemas.microsoft.com/office/powerpoint/2010/main" val="1646978887"/>
              </p:ext>
            </p:extLst>
          </p:nvPr>
        </p:nvGraphicFramePr>
        <p:xfrm>
          <a:off x="5351076" y="897377"/>
          <a:ext cx="5888016" cy="1799164"/>
        </p:xfrm>
        <a:graphic>
          <a:graphicData uri="http://schemas.openxmlformats.org/drawingml/2006/table">
            <a:tbl>
              <a:tblPr firstRow="1" firstCol="1" bandRow="1">
                <a:tableStyleId>{F5AB1C69-6EDB-4FF4-983F-18BD219EF322}</a:tableStyleId>
              </a:tblPr>
              <a:tblGrid>
                <a:gridCol w="1824016">
                  <a:extLst>
                    <a:ext uri="{9D8B030D-6E8A-4147-A177-3AD203B41FA5}">
                      <a16:colId xmlns:a16="http://schemas.microsoft.com/office/drawing/2014/main" val="1859180376"/>
                    </a:ext>
                  </a:extLst>
                </a:gridCol>
                <a:gridCol w="2032000">
                  <a:extLst>
                    <a:ext uri="{9D8B030D-6E8A-4147-A177-3AD203B41FA5}">
                      <a16:colId xmlns:a16="http://schemas.microsoft.com/office/drawing/2014/main" val="797351281"/>
                    </a:ext>
                  </a:extLst>
                </a:gridCol>
                <a:gridCol w="2032000">
                  <a:extLst>
                    <a:ext uri="{9D8B030D-6E8A-4147-A177-3AD203B41FA5}">
                      <a16:colId xmlns:a16="http://schemas.microsoft.com/office/drawing/2014/main" val="1650896261"/>
                    </a:ext>
                  </a:extLst>
                </a:gridCol>
              </a:tblGrid>
              <a:tr h="296843">
                <a:tc>
                  <a:txBody>
                    <a:bodyPr/>
                    <a:lstStyle/>
                    <a:p>
                      <a:pPr rtl="0"/>
                      <a:r>
                        <a:rPr lang="pt-BR" sz="1600" b="0" i="0" noProof="1">
                          <a:solidFill>
                            <a:schemeClr val="bg1"/>
                          </a:solidFill>
                          <a:latin typeface="Graphik" panose="020B0503030202060203" pitchFamily="34" charset="77"/>
                        </a:rPr>
                        <a:t>Header 1</a:t>
                      </a:r>
                    </a:p>
                  </a:txBody>
                  <a:tcPr anchor="ctr">
                    <a:solidFill>
                      <a:schemeClr val="accent1"/>
                    </a:solidFill>
                  </a:tcPr>
                </a:tc>
                <a:tc>
                  <a:txBody>
                    <a:bodyPr/>
                    <a:lstStyle/>
                    <a:p>
                      <a:pPr algn="l" rtl="0"/>
                      <a:r>
                        <a:rPr lang="pt-BR" sz="1600" b="0" i="0" kern="1200" noProof="1">
                          <a:solidFill>
                            <a:schemeClr val="bg1"/>
                          </a:solidFill>
                          <a:latin typeface="Graphik" panose="020B0503030202060203" pitchFamily="34" charset="77"/>
                        </a:rPr>
                        <a:t>Header 2</a:t>
                      </a:r>
                      <a:endParaRPr lang="pt-BR" sz="1600" b="0" i="0" kern="1200" noProof="1">
                        <a:solidFill>
                          <a:schemeClr val="bg1"/>
                        </a:solidFill>
                        <a:latin typeface="Graphik" panose="020B0503030202060203" pitchFamily="34" charset="77"/>
                        <a:ea typeface="+mn-ea"/>
                        <a:cs typeface="+mn-cs"/>
                      </a:endParaRPr>
                    </a:p>
                  </a:txBody>
                  <a:tcPr anchor="ctr">
                    <a:solidFill>
                      <a:schemeClr val="accent1"/>
                    </a:solidFill>
                  </a:tcPr>
                </a:tc>
                <a:tc>
                  <a:txBody>
                    <a:bodyPr/>
                    <a:lstStyle/>
                    <a:p>
                      <a:pPr rtl="0"/>
                      <a:r>
                        <a:rPr lang="pt-BR" sz="1600" b="0" i="0" kern="1200" noProof="1">
                          <a:solidFill>
                            <a:schemeClr val="bg1"/>
                          </a:solidFill>
                          <a:latin typeface="Graphik" panose="020B0503030202060203" pitchFamily="34" charset="77"/>
                          <a:ea typeface="+mn-ea"/>
                          <a:cs typeface="+mn-cs"/>
                        </a:rPr>
                        <a:t>Header 3</a:t>
                      </a:r>
                    </a:p>
                  </a:txBody>
                  <a:tcPr anchor="ctr">
                    <a:solidFill>
                      <a:schemeClr val="accent1"/>
                    </a:solidFill>
                  </a:tcPr>
                </a:tc>
                <a:extLst>
                  <a:ext uri="{0D108BD9-81ED-4DB2-BD59-A6C34878D82A}">
                    <a16:rowId xmlns:a16="http://schemas.microsoft.com/office/drawing/2014/main" val="4291296507"/>
                  </a:ext>
                </a:extLst>
              </a:tr>
              <a:tr h="365971">
                <a:tc>
                  <a:txBody>
                    <a:bodyPr/>
                    <a:lstStyle/>
                    <a:p>
                      <a:pPr rtl="0"/>
                      <a:r>
                        <a:rPr lang="pt-BR" sz="1200" b="0" noProof="1">
                          <a:solidFill>
                            <a:schemeClr val="tx1"/>
                          </a:solidFill>
                        </a:rPr>
                        <a:t>Column one</a:t>
                      </a:r>
                      <a:endParaRPr lang="pt-BR" sz="1200" b="0" i="0" noProof="1">
                        <a:solidFill>
                          <a:schemeClr val="tx1"/>
                        </a:solidFill>
                        <a:latin typeface="Graphik" panose="020B0503030202060203" pitchFamily="34" charset="77"/>
                      </a:endParaRPr>
                    </a:p>
                  </a:txBody>
                  <a:tcPr>
                    <a:lnR w="6350" cap="flat" cmpd="sng" algn="ctr">
                      <a:solidFill>
                        <a:schemeClr val="tx1">
                          <a:lumMod val="85000"/>
                          <a:lumOff val="15000"/>
                        </a:schemeClr>
                      </a:solidFill>
                      <a:prstDash val="solid"/>
                      <a:round/>
                      <a:headEnd type="none" w="med" len="med"/>
                      <a:tailEnd type="none" w="med" len="med"/>
                    </a:lnR>
                    <a:lnB w="6350" cap="flat" cmpd="sng" algn="ctr">
                      <a:solidFill>
                        <a:schemeClr val="tx1">
                          <a:lumMod val="85000"/>
                          <a:lumOff val="15000"/>
                        </a:schemeClr>
                      </a:solidFill>
                      <a:prstDash val="solid"/>
                      <a:round/>
                      <a:headEnd type="none" w="med" len="med"/>
                      <a:tailEnd type="none" w="med" len="med"/>
                    </a:lnB>
                    <a:noFill/>
                  </a:tcPr>
                </a:tc>
                <a:tc>
                  <a:txBody>
                    <a:bodyPr/>
                    <a:lstStyle/>
                    <a:p>
                      <a:pPr algn="l" rtl="0"/>
                      <a:r>
                        <a:rPr lang="pt-BR" sz="1200" b="0" kern="1200" noProof="1">
                          <a:solidFill>
                            <a:schemeClr val="tx1"/>
                          </a:solidFill>
                          <a:latin typeface="+mn-lt"/>
                          <a:ea typeface="+mn-ea"/>
                          <a:cs typeface="+mn-cs"/>
                        </a:rPr>
                        <a:t>Column two</a:t>
                      </a:r>
                    </a:p>
                  </a:txBody>
                  <a:tcPr>
                    <a:lnL w="6350" cap="flat" cmpd="sng" algn="ctr">
                      <a:solidFill>
                        <a:schemeClr val="tx1">
                          <a:lumMod val="85000"/>
                          <a:lumOff val="15000"/>
                        </a:schemeClr>
                      </a:solidFill>
                      <a:prstDash val="solid"/>
                      <a:round/>
                      <a:headEnd type="none" w="med" len="med"/>
                      <a:tailEnd type="none" w="med" len="med"/>
                    </a:lnL>
                    <a:lnR w="6350" cap="flat" cmpd="sng" algn="ctr">
                      <a:solidFill>
                        <a:schemeClr val="tx1">
                          <a:lumMod val="85000"/>
                          <a:lumOff val="15000"/>
                        </a:schemeClr>
                      </a:solidFill>
                      <a:prstDash val="solid"/>
                      <a:round/>
                      <a:headEnd type="none" w="med" len="med"/>
                      <a:tailEnd type="none" w="med" len="med"/>
                    </a:lnR>
                    <a:lnB w="6350" cap="flat" cmpd="sng" algn="ctr">
                      <a:solidFill>
                        <a:schemeClr val="tx1">
                          <a:lumMod val="85000"/>
                          <a:lumOff val="15000"/>
                        </a:schemeClr>
                      </a:solidFill>
                      <a:prstDash val="solid"/>
                      <a:round/>
                      <a:headEnd type="none" w="med" len="med"/>
                      <a:tailEnd type="none" w="med" len="med"/>
                    </a:lnB>
                    <a:noFill/>
                  </a:tcPr>
                </a:tc>
                <a:tc>
                  <a:txBody>
                    <a:bodyPr/>
                    <a:lstStyle/>
                    <a:p>
                      <a:pPr rtl="0"/>
                      <a:r>
                        <a:rPr lang="pt-BR" sz="1200" b="0" noProof="1"/>
                        <a:t>Column three</a:t>
                      </a:r>
                      <a:endParaRPr lang="pt-BR" sz="1200" b="0" i="0" noProof="1">
                        <a:latin typeface="Graphik" panose="020B0503030202060203" pitchFamily="34" charset="77"/>
                      </a:endParaRPr>
                    </a:p>
                  </a:txBody>
                  <a:tcPr>
                    <a:lnL w="6350" cap="flat" cmpd="sng" algn="ctr">
                      <a:solidFill>
                        <a:schemeClr val="tx1">
                          <a:lumMod val="85000"/>
                          <a:lumOff val="15000"/>
                        </a:schemeClr>
                      </a:solidFill>
                      <a:prstDash val="solid"/>
                      <a:round/>
                      <a:headEnd type="none" w="med" len="med"/>
                      <a:tailEnd type="none" w="med" len="med"/>
                    </a:lnL>
                    <a:lnB w="6350" cap="flat" cmpd="sng" algn="ctr">
                      <a:solidFill>
                        <a:schemeClr val="tx1">
                          <a:lumMod val="85000"/>
                          <a:lumOff val="15000"/>
                        </a:schemeClr>
                      </a:solidFill>
                      <a:prstDash val="solid"/>
                      <a:round/>
                      <a:headEnd type="none" w="med" len="med"/>
                      <a:tailEnd type="none" w="med" len="med"/>
                    </a:lnB>
                    <a:noFill/>
                  </a:tcPr>
                </a:tc>
                <a:extLst>
                  <a:ext uri="{0D108BD9-81ED-4DB2-BD59-A6C34878D82A}">
                    <a16:rowId xmlns:a16="http://schemas.microsoft.com/office/drawing/2014/main" val="557612573"/>
                  </a:ext>
                </a:extLst>
              </a:tr>
              <a:tr h="365971">
                <a:tc>
                  <a:txBody>
                    <a:bodyPr/>
                    <a:lstStyle/>
                    <a:p>
                      <a:pPr rtl="0"/>
                      <a:r>
                        <a:rPr lang="pt-BR" sz="1200" b="0" noProof="1">
                          <a:solidFill>
                            <a:schemeClr val="tx1"/>
                          </a:solidFill>
                        </a:rPr>
                        <a:t>Column four</a:t>
                      </a:r>
                      <a:endParaRPr lang="pt-BR" sz="1200" b="0" i="0" noProof="1">
                        <a:solidFill>
                          <a:schemeClr val="tx1"/>
                        </a:solidFill>
                        <a:latin typeface="Graphik" panose="020B0503030202060203" pitchFamily="34" charset="77"/>
                      </a:endParaRPr>
                    </a:p>
                  </a:txBody>
                  <a:tcPr>
                    <a:lnR w="6350" cap="flat" cmpd="sng" algn="ctr">
                      <a:solidFill>
                        <a:schemeClr val="tx1">
                          <a:lumMod val="85000"/>
                          <a:lumOff val="1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noFill/>
                  </a:tcPr>
                </a:tc>
                <a:tc>
                  <a:txBody>
                    <a:bodyPr/>
                    <a:lstStyle/>
                    <a:p>
                      <a:pPr algn="l" rtl="0"/>
                      <a:r>
                        <a:rPr kumimoji="0" lang="pt-BR" sz="1200" b="0" i="0" u="none" strike="noStrike" kern="1200" cap="none" spc="0" normalizeH="0" baseline="0" noProof="1">
                          <a:ln>
                            <a:noFill/>
                          </a:ln>
                          <a:solidFill>
                            <a:srgbClr val="000000"/>
                          </a:solidFill>
                          <a:effectLst/>
                          <a:uLnTx/>
                          <a:uFillTx/>
                          <a:latin typeface="Graphik Regular"/>
                          <a:ea typeface="+mn-ea"/>
                          <a:cs typeface="+mn-cs"/>
                        </a:rPr>
                        <a:t>Column five</a:t>
                      </a:r>
                      <a:endParaRPr lang="pt-BR" sz="1200" b="0" kern="1200" noProof="1">
                        <a:solidFill>
                          <a:schemeClr val="tx1"/>
                        </a:solidFill>
                        <a:latin typeface="+mn-lt"/>
                        <a:ea typeface="+mn-ea"/>
                        <a:cs typeface="+mn-cs"/>
                      </a:endParaRPr>
                    </a:p>
                  </a:txBody>
                  <a:tcPr>
                    <a:lnL w="6350" cap="flat" cmpd="sng" algn="ctr">
                      <a:solidFill>
                        <a:schemeClr val="tx1">
                          <a:lumMod val="85000"/>
                          <a:lumOff val="15000"/>
                        </a:schemeClr>
                      </a:solidFill>
                      <a:prstDash val="solid"/>
                      <a:round/>
                      <a:headEnd type="none" w="med" len="med"/>
                      <a:tailEnd type="none" w="med" len="med"/>
                    </a:lnL>
                    <a:lnR w="6350" cap="flat" cmpd="sng" algn="ctr">
                      <a:solidFill>
                        <a:schemeClr val="tx1">
                          <a:lumMod val="85000"/>
                          <a:lumOff val="1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no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1">
                          <a:ln>
                            <a:noFill/>
                          </a:ln>
                          <a:solidFill>
                            <a:srgbClr val="000000"/>
                          </a:solidFill>
                          <a:effectLst/>
                          <a:uLnTx/>
                          <a:uFillTx/>
                          <a:latin typeface="Graphik Regular"/>
                          <a:ea typeface="+mn-ea"/>
                          <a:cs typeface="+mn-cs"/>
                        </a:rPr>
                        <a:t>Column six</a:t>
                      </a:r>
                      <a:endParaRPr lang="pt-BR" sz="1200" b="0" i="0" noProof="1">
                        <a:latin typeface="Graphik" panose="020B0503030202060203" pitchFamily="34" charset="77"/>
                      </a:endParaRPr>
                    </a:p>
                  </a:txBody>
                  <a:tcPr>
                    <a:lnL w="6350" cap="flat" cmpd="sng" algn="ctr">
                      <a:solidFill>
                        <a:schemeClr val="tx1">
                          <a:lumMod val="85000"/>
                          <a:lumOff val="15000"/>
                        </a:schemeClr>
                      </a:solidFill>
                      <a:prstDash val="solid"/>
                      <a:round/>
                      <a:headEnd type="none" w="med" len="med"/>
                      <a:tailEnd type="none" w="med" len="med"/>
                    </a:lnL>
                    <a:lnT w="6350" cap="flat" cmpd="sng" algn="ctr">
                      <a:solidFill>
                        <a:schemeClr val="tx1">
                          <a:lumMod val="85000"/>
                          <a:lumOff val="1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noFill/>
                  </a:tcPr>
                </a:tc>
                <a:extLst>
                  <a:ext uri="{0D108BD9-81ED-4DB2-BD59-A6C34878D82A}">
                    <a16:rowId xmlns:a16="http://schemas.microsoft.com/office/drawing/2014/main" val="615973145"/>
                  </a:ext>
                </a:extLst>
              </a:tr>
              <a:tr h="365971">
                <a:tc>
                  <a:txBody>
                    <a:bodyPr/>
                    <a:lstStyle/>
                    <a:p>
                      <a:pPr rtl="0"/>
                      <a:r>
                        <a:rPr kumimoji="0" lang="pt-BR" sz="1200" b="0" i="0" u="none" strike="noStrike" kern="1200" cap="none" spc="0" normalizeH="0" baseline="0" noProof="1">
                          <a:ln>
                            <a:noFill/>
                          </a:ln>
                          <a:solidFill>
                            <a:srgbClr val="000000"/>
                          </a:solidFill>
                          <a:effectLst/>
                          <a:uLnTx/>
                          <a:uFillTx/>
                          <a:latin typeface="Graphik Regular"/>
                          <a:ea typeface="+mn-ea"/>
                          <a:cs typeface="+mn-cs"/>
                        </a:rPr>
                        <a:t>Column seven</a:t>
                      </a:r>
                      <a:endParaRPr lang="pt-BR" sz="1200" b="0" i="0" noProof="1">
                        <a:solidFill>
                          <a:schemeClr val="tx1"/>
                        </a:solidFill>
                        <a:latin typeface="Graphik" panose="020B0503030202060203" pitchFamily="34" charset="77"/>
                      </a:endParaRPr>
                    </a:p>
                  </a:txBody>
                  <a:tcPr>
                    <a:lnR w="6350" cap="flat" cmpd="sng" algn="ctr">
                      <a:solidFill>
                        <a:schemeClr val="tx1">
                          <a:lumMod val="85000"/>
                          <a:lumOff val="1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noFill/>
                  </a:tcPr>
                </a:tc>
                <a:tc>
                  <a:txBody>
                    <a:bodyPr/>
                    <a:lstStyle/>
                    <a:p>
                      <a:pPr algn="l" rtl="0"/>
                      <a:r>
                        <a:rPr kumimoji="0" lang="pt-BR" sz="1200" b="0" i="0" u="none" strike="noStrike" kern="1200" cap="none" spc="0" normalizeH="0" baseline="0" noProof="1">
                          <a:ln>
                            <a:noFill/>
                          </a:ln>
                          <a:solidFill>
                            <a:srgbClr val="000000"/>
                          </a:solidFill>
                          <a:effectLst/>
                          <a:uLnTx/>
                          <a:uFillTx/>
                          <a:latin typeface="Graphik Regular"/>
                          <a:ea typeface="+mn-ea"/>
                          <a:cs typeface="+mn-cs"/>
                        </a:rPr>
                        <a:t>Column eight</a:t>
                      </a:r>
                      <a:endParaRPr lang="pt-BR" sz="1200" b="0" kern="1200" noProof="1">
                        <a:solidFill>
                          <a:schemeClr val="tx1"/>
                        </a:solidFill>
                        <a:latin typeface="+mn-lt"/>
                        <a:ea typeface="+mn-ea"/>
                        <a:cs typeface="+mn-cs"/>
                      </a:endParaRPr>
                    </a:p>
                  </a:txBody>
                  <a:tcPr>
                    <a:lnL w="6350" cap="flat" cmpd="sng" algn="ctr">
                      <a:solidFill>
                        <a:schemeClr val="tx1">
                          <a:lumMod val="85000"/>
                          <a:lumOff val="15000"/>
                        </a:schemeClr>
                      </a:solidFill>
                      <a:prstDash val="solid"/>
                      <a:round/>
                      <a:headEnd type="none" w="med" len="med"/>
                      <a:tailEnd type="none" w="med" len="med"/>
                    </a:lnL>
                    <a:lnR w="6350" cap="flat" cmpd="sng" algn="ctr">
                      <a:solidFill>
                        <a:schemeClr val="tx1">
                          <a:lumMod val="85000"/>
                          <a:lumOff val="1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no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1">
                          <a:ln>
                            <a:noFill/>
                          </a:ln>
                          <a:solidFill>
                            <a:srgbClr val="000000"/>
                          </a:solidFill>
                          <a:effectLst/>
                          <a:uLnTx/>
                          <a:uFillTx/>
                          <a:latin typeface="Graphik Regular"/>
                          <a:ea typeface="+mn-ea"/>
                          <a:cs typeface="+mn-cs"/>
                        </a:rPr>
                        <a:t>Column nine</a:t>
                      </a:r>
                      <a:endParaRPr lang="pt-BR" sz="1200" b="0" i="0" noProof="1">
                        <a:latin typeface="Graphik" panose="020B0503030202060203" pitchFamily="34" charset="77"/>
                      </a:endParaRPr>
                    </a:p>
                  </a:txBody>
                  <a:tcPr>
                    <a:lnL w="6350" cap="flat" cmpd="sng" algn="ctr">
                      <a:solidFill>
                        <a:schemeClr val="tx1">
                          <a:lumMod val="85000"/>
                          <a:lumOff val="15000"/>
                        </a:schemeClr>
                      </a:solidFill>
                      <a:prstDash val="solid"/>
                      <a:round/>
                      <a:headEnd type="none" w="med" len="med"/>
                      <a:tailEnd type="none" w="med" len="med"/>
                    </a:lnL>
                    <a:lnT w="6350" cap="flat" cmpd="sng" algn="ctr">
                      <a:solidFill>
                        <a:schemeClr val="tx1">
                          <a:lumMod val="85000"/>
                          <a:lumOff val="1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noFill/>
                  </a:tcPr>
                </a:tc>
                <a:extLst>
                  <a:ext uri="{0D108BD9-81ED-4DB2-BD59-A6C34878D82A}">
                    <a16:rowId xmlns:a16="http://schemas.microsoft.com/office/drawing/2014/main" val="2687627321"/>
                  </a:ext>
                </a:extLst>
              </a:tr>
              <a:tr h="365971">
                <a:tc>
                  <a:txBody>
                    <a:bodyPr/>
                    <a:lstStyle/>
                    <a:p>
                      <a:pPr rtl="0"/>
                      <a:r>
                        <a:rPr kumimoji="0" lang="pt-BR" sz="1200" b="0" i="0" u="none" strike="noStrike" kern="1200" cap="none" spc="0" normalizeH="0" baseline="0" noProof="1">
                          <a:ln>
                            <a:noFill/>
                          </a:ln>
                          <a:solidFill>
                            <a:srgbClr val="000000"/>
                          </a:solidFill>
                          <a:effectLst/>
                          <a:uLnTx/>
                          <a:uFillTx/>
                          <a:latin typeface="Graphik Regular"/>
                          <a:ea typeface="+mn-ea"/>
                          <a:cs typeface="+mn-cs"/>
                        </a:rPr>
                        <a:t>Column ten</a:t>
                      </a:r>
                      <a:endParaRPr lang="pt-BR" sz="1200" b="0" i="0" noProof="1">
                        <a:solidFill>
                          <a:schemeClr val="tx1"/>
                        </a:solidFill>
                        <a:latin typeface="Graphik" panose="020B0503030202060203" pitchFamily="34" charset="77"/>
                      </a:endParaRPr>
                    </a:p>
                  </a:txBody>
                  <a:tcPr>
                    <a:lnR w="6350" cap="flat" cmpd="sng" algn="ctr">
                      <a:solidFill>
                        <a:schemeClr val="tx1">
                          <a:lumMod val="85000"/>
                          <a:lumOff val="1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noFill/>
                  </a:tcPr>
                </a:tc>
                <a:tc>
                  <a:txBody>
                    <a:bodyPr/>
                    <a:lstStyle/>
                    <a:p>
                      <a:pPr algn="l" rtl="0"/>
                      <a:r>
                        <a:rPr kumimoji="0" lang="pt-BR" sz="1200" b="0" i="0" u="none" strike="noStrike" kern="1200" cap="none" spc="0" normalizeH="0" baseline="0" noProof="1">
                          <a:ln>
                            <a:noFill/>
                          </a:ln>
                          <a:solidFill>
                            <a:srgbClr val="000000"/>
                          </a:solidFill>
                          <a:effectLst/>
                          <a:uLnTx/>
                          <a:uFillTx/>
                          <a:latin typeface="Graphik Regular"/>
                          <a:ea typeface="+mn-ea"/>
                          <a:cs typeface="+mn-cs"/>
                        </a:rPr>
                        <a:t>Column eleven</a:t>
                      </a:r>
                      <a:endParaRPr lang="pt-BR" sz="1200" b="0" kern="1200" noProof="1">
                        <a:solidFill>
                          <a:schemeClr val="tx1"/>
                        </a:solidFill>
                        <a:latin typeface="+mn-lt"/>
                        <a:ea typeface="+mn-ea"/>
                        <a:cs typeface="+mn-cs"/>
                      </a:endParaRPr>
                    </a:p>
                  </a:txBody>
                  <a:tcPr>
                    <a:lnL w="6350" cap="flat" cmpd="sng" algn="ctr">
                      <a:solidFill>
                        <a:schemeClr val="tx1">
                          <a:lumMod val="85000"/>
                          <a:lumOff val="15000"/>
                        </a:schemeClr>
                      </a:solidFill>
                      <a:prstDash val="solid"/>
                      <a:round/>
                      <a:headEnd type="none" w="med" len="med"/>
                      <a:tailEnd type="none" w="med" len="med"/>
                    </a:lnL>
                    <a:lnR w="6350" cap="flat" cmpd="sng" algn="ctr">
                      <a:solidFill>
                        <a:schemeClr val="tx1">
                          <a:lumMod val="85000"/>
                          <a:lumOff val="1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no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1">
                          <a:ln>
                            <a:noFill/>
                          </a:ln>
                          <a:solidFill>
                            <a:srgbClr val="000000"/>
                          </a:solidFill>
                          <a:effectLst/>
                          <a:uLnTx/>
                          <a:uFillTx/>
                          <a:latin typeface="Graphik Regular"/>
                          <a:ea typeface="+mn-ea"/>
                          <a:cs typeface="+mn-cs"/>
                        </a:rPr>
                        <a:t>Column twelve</a:t>
                      </a:r>
                      <a:endParaRPr lang="pt-BR" sz="1200" b="0" i="0" noProof="1">
                        <a:latin typeface="Graphik" panose="020B0503030202060203" pitchFamily="34" charset="77"/>
                      </a:endParaRPr>
                    </a:p>
                  </a:txBody>
                  <a:tcPr>
                    <a:lnL w="6350" cap="flat" cmpd="sng" algn="ctr">
                      <a:solidFill>
                        <a:schemeClr val="tx1">
                          <a:lumMod val="85000"/>
                          <a:lumOff val="15000"/>
                        </a:schemeClr>
                      </a:solidFill>
                      <a:prstDash val="solid"/>
                      <a:round/>
                      <a:headEnd type="none" w="med" len="med"/>
                      <a:tailEnd type="none" w="med" len="med"/>
                    </a:lnL>
                    <a:lnT w="6350" cap="flat" cmpd="sng" algn="ctr">
                      <a:solidFill>
                        <a:schemeClr val="tx1">
                          <a:lumMod val="85000"/>
                          <a:lumOff val="15000"/>
                        </a:schemeClr>
                      </a:solidFill>
                      <a:prstDash val="solid"/>
                      <a:round/>
                      <a:headEnd type="none" w="med" len="med"/>
                      <a:tailEnd type="none" w="med" len="med"/>
                    </a:lnT>
                    <a:noFill/>
                  </a:tcPr>
                </a:tc>
                <a:extLst>
                  <a:ext uri="{0D108BD9-81ED-4DB2-BD59-A6C34878D82A}">
                    <a16:rowId xmlns:a16="http://schemas.microsoft.com/office/drawing/2014/main" val="999117022"/>
                  </a:ext>
                </a:extLst>
              </a:tr>
            </a:tbl>
          </a:graphicData>
        </a:graphic>
      </p:graphicFrame>
      <p:sp>
        <p:nvSpPr>
          <p:cNvPr id="11" name="TextBox 10">
            <a:extLst>
              <a:ext uri="{FF2B5EF4-FFF2-40B4-BE49-F238E27FC236}">
                <a16:creationId xmlns:a16="http://schemas.microsoft.com/office/drawing/2014/main" id="{09030EA8-9E8C-4AF6-E3DD-48AA4371E916}"/>
              </a:ext>
            </a:extLst>
          </p:cNvPr>
          <p:cNvSpPr txBox="1"/>
          <p:nvPr/>
        </p:nvSpPr>
        <p:spPr>
          <a:xfrm>
            <a:off x="5351076" y="3014935"/>
            <a:ext cx="3082575" cy="215444"/>
          </a:xfrm>
          <a:prstGeom prst="rect">
            <a:avLst/>
          </a:prstGeom>
          <a:noFill/>
        </p:spPr>
        <p:txBody>
          <a:bodyPr wrap="none" lIns="0" tIns="0" rIns="0" bIns="0" rtlCol="0">
            <a:spAutoFit/>
          </a:bodyPr>
          <a:lstStyle/>
          <a:p>
            <a:pPr defTabSz="228594">
              <a:spcAft>
                <a:spcPts val="1200"/>
              </a:spcAft>
            </a:pPr>
            <a:r>
              <a:rPr lang="pt-BR" sz="1400" noProof="1">
                <a:latin typeface="Graphik" panose="020B0503030202060203" pitchFamily="34" charset="77"/>
              </a:rPr>
              <a:t>Set the header row and first column</a:t>
            </a:r>
          </a:p>
        </p:txBody>
      </p:sp>
      <p:pic>
        <p:nvPicPr>
          <p:cNvPr id="1028" name="Picture 4" descr="Screenshot highlighting the steps to activate the Header Row and First Column in a table on slide 79.">
            <a:extLst>
              <a:ext uri="{FF2B5EF4-FFF2-40B4-BE49-F238E27FC236}">
                <a16:creationId xmlns:a16="http://schemas.microsoft.com/office/drawing/2014/main" id="{68CEE99C-C878-B9B3-5CC7-E39E84DC02BB}"/>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r="23627" b="29306"/>
          <a:stretch/>
        </p:blipFill>
        <p:spPr bwMode="auto">
          <a:xfrm>
            <a:off x="5351077" y="3316403"/>
            <a:ext cx="5888016" cy="28882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306144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27E1344B-2596-D4EC-5953-E545C7ABDA60}"/>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D3DA849-0120-0A2A-F72A-9656DB801D5E}"/>
              </a:ext>
            </a:extLst>
          </p:cNvPr>
          <p:cNvGraphicFramePr>
            <a:graphicFrameLocks noChangeAspect="1"/>
          </p:cNvGraphicFramePr>
          <p:nvPr>
            <p:custDataLst>
              <p:tags r:id="rId1"/>
            </p:custDataLst>
            <p:extLst>
              <p:ext uri="{D42A27DB-BD31-4B8C-83A1-F6EECF244321}">
                <p14:modId xmlns:p14="http://schemas.microsoft.com/office/powerpoint/2010/main" val="3279417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13" name="think-cell data - do not delete" hidden="1">
                        <a:extLst>
                          <a:ext uri="{FF2B5EF4-FFF2-40B4-BE49-F238E27FC236}">
                            <a16:creationId xmlns:a16="http://schemas.microsoft.com/office/drawing/2014/main" id="{4D3DA849-0120-0A2A-F72A-9656DB801D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7152AA7-2C00-063D-9193-1DB56358B49C}"/>
              </a:ext>
            </a:extLst>
          </p:cNvPr>
          <p:cNvSpPr>
            <a:spLocks noGrp="1"/>
          </p:cNvSpPr>
          <p:nvPr>
            <p:ph type="title"/>
          </p:nvPr>
        </p:nvSpPr>
        <p:spPr>
          <a:xfrm>
            <a:off x="556468" y="572600"/>
            <a:ext cx="3984536" cy="393954"/>
          </a:xfrm>
        </p:spPr>
        <p:txBody>
          <a:bodyPr vert="horz"/>
          <a:lstStyle/>
          <a:p>
            <a:r>
              <a:rPr lang="pt-BR" noProof="1"/>
              <a:t>Order of colors</a:t>
            </a:r>
          </a:p>
        </p:txBody>
      </p:sp>
      <p:sp>
        <p:nvSpPr>
          <p:cNvPr id="10" name="Text Placeholder 9">
            <a:extLst>
              <a:ext uri="{FF2B5EF4-FFF2-40B4-BE49-F238E27FC236}">
                <a16:creationId xmlns:a16="http://schemas.microsoft.com/office/drawing/2014/main" id="{84BDC2E9-8253-4BC4-5A30-01AE56D8569E}"/>
              </a:ext>
            </a:extLst>
          </p:cNvPr>
          <p:cNvSpPr>
            <a:spLocks noGrp="1"/>
          </p:cNvSpPr>
          <p:nvPr>
            <p:ph type="body" idx="29"/>
          </p:nvPr>
        </p:nvSpPr>
        <p:spPr>
          <a:xfrm>
            <a:off x="556468" y="1887912"/>
            <a:ext cx="3148429" cy="550488"/>
          </a:xfrm>
        </p:spPr>
        <p:txBody>
          <a:bodyPr/>
          <a:lstStyle/>
          <a:p>
            <a:r>
              <a:rPr lang="pt-BR" noProof="1"/>
              <a:t>Orientation guidance</a:t>
            </a:r>
          </a:p>
        </p:txBody>
      </p:sp>
      <p:sp>
        <p:nvSpPr>
          <p:cNvPr id="43" name="Text Placeholder 42">
            <a:extLst>
              <a:ext uri="{FF2B5EF4-FFF2-40B4-BE49-F238E27FC236}">
                <a16:creationId xmlns:a16="http://schemas.microsoft.com/office/drawing/2014/main" id="{55700D42-E735-BADF-86DB-932F6AC359BB}"/>
              </a:ext>
            </a:extLst>
          </p:cNvPr>
          <p:cNvSpPr>
            <a:spLocks noGrp="1"/>
          </p:cNvSpPr>
          <p:nvPr>
            <p:ph type="body" sz="quarter" idx="28"/>
          </p:nvPr>
        </p:nvSpPr>
        <p:spPr>
          <a:xfrm>
            <a:off x="557213" y="2598738"/>
            <a:ext cx="2938341" cy="3513137"/>
          </a:xfrm>
        </p:spPr>
        <p:txBody>
          <a:bodyPr/>
          <a:lstStyle/>
          <a:p>
            <a:r>
              <a:rPr lang="pt-BR" noProof="1"/>
              <a:t>Use this color order to maintain accessibility and visual consistency.</a:t>
            </a:r>
          </a:p>
          <a:p>
            <a:r>
              <a:rPr lang="pt-BR" noProof="1"/>
              <a:t>To highlight a point, use grayscale elements with our primary purple (#A000FF) as the accent color.</a:t>
            </a:r>
          </a:p>
        </p:txBody>
      </p:sp>
      <p:sp>
        <p:nvSpPr>
          <p:cNvPr id="6" name="TextBox 5">
            <a:extLst>
              <a:ext uri="{FF2B5EF4-FFF2-40B4-BE49-F238E27FC236}">
                <a16:creationId xmlns:a16="http://schemas.microsoft.com/office/drawing/2014/main" id="{84194C1A-FBB6-8EA5-A0E6-9A0EF3924FA9}"/>
              </a:ext>
            </a:extLst>
          </p:cNvPr>
          <p:cNvSpPr txBox="1"/>
          <p:nvPr/>
        </p:nvSpPr>
        <p:spPr>
          <a:xfrm>
            <a:off x="5351076" y="593738"/>
            <a:ext cx="3904915" cy="215444"/>
          </a:xfrm>
          <a:prstGeom prst="rect">
            <a:avLst/>
          </a:prstGeom>
          <a:noFill/>
        </p:spPr>
        <p:txBody>
          <a:bodyPr wrap="none" lIns="0" tIns="0" rIns="0" bIns="0" rtlCol="0">
            <a:spAutoFit/>
          </a:bodyPr>
          <a:lstStyle/>
          <a:p>
            <a:pPr defTabSz="228594">
              <a:spcAft>
                <a:spcPts val="1200"/>
              </a:spcAft>
            </a:pPr>
            <a:r>
              <a:rPr lang="pt-BR" sz="1400" noProof="1">
                <a:latin typeface="Graphik" panose="020B0503030202060203" pitchFamily="34" charset="77"/>
              </a:rPr>
              <a:t>Recommended color order (from left to right)</a:t>
            </a:r>
          </a:p>
        </p:txBody>
      </p:sp>
      <p:grpSp>
        <p:nvGrpSpPr>
          <p:cNvPr id="16" name="Group 15" descr="Different recommendations of color combinations.">
            <a:extLst>
              <a:ext uri="{FF2B5EF4-FFF2-40B4-BE49-F238E27FC236}">
                <a16:creationId xmlns:a16="http://schemas.microsoft.com/office/drawing/2014/main" id="{9185F361-8D1E-617B-47F1-168269D272CB}"/>
              </a:ext>
              <a:ext uri="{C183D7F6-B498-43B3-948B-1728B52AA6E4}">
                <adec:decorative xmlns:adec="http://schemas.microsoft.com/office/drawing/2017/decorative" val="0"/>
              </a:ext>
            </a:extLst>
          </p:cNvPr>
          <p:cNvGrpSpPr/>
          <p:nvPr/>
        </p:nvGrpSpPr>
        <p:grpSpPr>
          <a:xfrm>
            <a:off x="5351076" y="1151198"/>
            <a:ext cx="5741792" cy="710746"/>
            <a:chOff x="5351076" y="1151198"/>
            <a:chExt cx="5741792" cy="710746"/>
          </a:xfrm>
        </p:grpSpPr>
        <p:sp>
          <p:nvSpPr>
            <p:cNvPr id="3" name="Rectangle 2">
              <a:extLst>
                <a:ext uri="{FF2B5EF4-FFF2-40B4-BE49-F238E27FC236}">
                  <a16:creationId xmlns:a16="http://schemas.microsoft.com/office/drawing/2014/main" id="{AC8C6E4A-5629-349D-538A-726D907FBCE7}"/>
                </a:ext>
              </a:extLst>
            </p:cNvPr>
            <p:cNvSpPr/>
            <p:nvPr/>
          </p:nvSpPr>
          <p:spPr>
            <a:xfrm>
              <a:off x="5351076" y="1151198"/>
              <a:ext cx="710746" cy="71074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pt-BR" sz="1200" noProof="1"/>
                <a:t>A000FF</a:t>
              </a:r>
            </a:p>
          </p:txBody>
        </p:sp>
        <p:sp>
          <p:nvSpPr>
            <p:cNvPr id="4" name="Rectangle 3">
              <a:extLst>
                <a:ext uri="{FF2B5EF4-FFF2-40B4-BE49-F238E27FC236}">
                  <a16:creationId xmlns:a16="http://schemas.microsoft.com/office/drawing/2014/main" id="{56FAB74B-75E7-EBD2-E392-FF3392D8A8CB}"/>
                </a:ext>
              </a:extLst>
            </p:cNvPr>
            <p:cNvSpPr/>
            <p:nvPr/>
          </p:nvSpPr>
          <p:spPr>
            <a:xfrm>
              <a:off x="7323367" y="1151198"/>
              <a:ext cx="710746" cy="7107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pt-BR" sz="1200" noProof="1">
                  <a:solidFill>
                    <a:srgbClr val="000000"/>
                  </a:solidFill>
                </a:rPr>
                <a:t>C1A3FF</a:t>
              </a:r>
            </a:p>
          </p:txBody>
        </p:sp>
        <p:sp>
          <p:nvSpPr>
            <p:cNvPr id="5" name="Rectangle 4">
              <a:extLst>
                <a:ext uri="{FF2B5EF4-FFF2-40B4-BE49-F238E27FC236}">
                  <a16:creationId xmlns:a16="http://schemas.microsoft.com/office/drawing/2014/main" id="{D950C43A-91C2-3EF8-1B9C-BE4F43CC398D}"/>
                </a:ext>
              </a:extLst>
            </p:cNvPr>
            <p:cNvSpPr/>
            <p:nvPr/>
          </p:nvSpPr>
          <p:spPr>
            <a:xfrm>
              <a:off x="8088056" y="1151198"/>
              <a:ext cx="710746" cy="71074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pt-BR" sz="1200" noProof="1"/>
                <a:t>450073</a:t>
              </a:r>
            </a:p>
          </p:txBody>
        </p:sp>
        <p:sp>
          <p:nvSpPr>
            <p:cNvPr id="8" name="Rectangle 7">
              <a:extLst>
                <a:ext uri="{FF2B5EF4-FFF2-40B4-BE49-F238E27FC236}">
                  <a16:creationId xmlns:a16="http://schemas.microsoft.com/office/drawing/2014/main" id="{0251D07F-F8F9-B50B-CBB8-B038B2E91D3B}"/>
                </a:ext>
              </a:extLst>
            </p:cNvPr>
            <p:cNvSpPr/>
            <p:nvPr/>
          </p:nvSpPr>
          <p:spPr>
            <a:xfrm>
              <a:off x="8852745" y="1151198"/>
              <a:ext cx="710746" cy="71074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pt-BR" sz="1200" noProof="1">
                  <a:solidFill>
                    <a:srgbClr val="000000"/>
                  </a:solidFill>
                </a:rPr>
                <a:t>DFB0FF</a:t>
              </a:r>
            </a:p>
          </p:txBody>
        </p:sp>
        <p:sp>
          <p:nvSpPr>
            <p:cNvPr id="9" name="Rectangle 8">
              <a:extLst>
                <a:ext uri="{FF2B5EF4-FFF2-40B4-BE49-F238E27FC236}">
                  <a16:creationId xmlns:a16="http://schemas.microsoft.com/office/drawing/2014/main" id="{16BE54C1-DFAC-32F1-3930-09E9828876A7}"/>
                </a:ext>
              </a:extLst>
            </p:cNvPr>
            <p:cNvSpPr/>
            <p:nvPr/>
          </p:nvSpPr>
          <p:spPr>
            <a:xfrm>
              <a:off x="9617434" y="1151198"/>
              <a:ext cx="710746" cy="710746"/>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pt-BR" sz="1200" noProof="1">
                  <a:solidFill>
                    <a:srgbClr val="FFFFFF"/>
                  </a:solidFill>
                </a:rPr>
                <a:t>4400D1</a:t>
              </a:r>
            </a:p>
          </p:txBody>
        </p:sp>
        <p:sp>
          <p:nvSpPr>
            <p:cNvPr id="12" name="Rectangle 11">
              <a:extLst>
                <a:ext uri="{FF2B5EF4-FFF2-40B4-BE49-F238E27FC236}">
                  <a16:creationId xmlns:a16="http://schemas.microsoft.com/office/drawing/2014/main" id="{2BBBD053-FF3C-940A-5C73-54EF9E26AE28}"/>
                </a:ext>
              </a:extLst>
            </p:cNvPr>
            <p:cNvSpPr/>
            <p:nvPr/>
          </p:nvSpPr>
          <p:spPr>
            <a:xfrm>
              <a:off x="10382122" y="1151198"/>
              <a:ext cx="710746" cy="710746"/>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pt-BR" sz="1200" noProof="1">
                  <a:solidFill>
                    <a:sysClr val="windowText" lastClr="000000"/>
                  </a:solidFill>
                </a:rPr>
                <a:t>C666FF</a:t>
              </a:r>
            </a:p>
          </p:txBody>
        </p:sp>
        <p:sp>
          <p:nvSpPr>
            <p:cNvPr id="7" name="Rectangle 6">
              <a:extLst>
                <a:ext uri="{FF2B5EF4-FFF2-40B4-BE49-F238E27FC236}">
                  <a16:creationId xmlns:a16="http://schemas.microsoft.com/office/drawing/2014/main" id="{208003EF-AC36-6CAA-087D-1D49AA428EE6}"/>
                </a:ext>
              </a:extLst>
            </p:cNvPr>
            <p:cNvSpPr/>
            <p:nvPr/>
          </p:nvSpPr>
          <p:spPr>
            <a:xfrm>
              <a:off x="6558678" y="1151198"/>
              <a:ext cx="710746" cy="71074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pt-BR" sz="1200" noProof="1"/>
                <a:t>000000</a:t>
              </a:r>
            </a:p>
          </p:txBody>
        </p:sp>
      </p:grpSp>
      <p:sp>
        <p:nvSpPr>
          <p:cNvPr id="15" name="TextBox 14">
            <a:extLst>
              <a:ext uri="{FF2B5EF4-FFF2-40B4-BE49-F238E27FC236}">
                <a16:creationId xmlns:a16="http://schemas.microsoft.com/office/drawing/2014/main" id="{34820FB6-9953-6B9D-666A-59E3F08EDB72}"/>
              </a:ext>
            </a:extLst>
          </p:cNvPr>
          <p:cNvSpPr txBox="1"/>
          <p:nvPr/>
        </p:nvSpPr>
        <p:spPr>
          <a:xfrm>
            <a:off x="5351076" y="2330533"/>
            <a:ext cx="3350276" cy="215444"/>
          </a:xfrm>
          <a:prstGeom prst="rect">
            <a:avLst/>
          </a:prstGeom>
          <a:noFill/>
        </p:spPr>
        <p:txBody>
          <a:bodyPr wrap="none" lIns="0" tIns="0" rIns="0" bIns="0" rtlCol="0">
            <a:spAutoFit/>
          </a:bodyPr>
          <a:lstStyle/>
          <a:p>
            <a:pPr defTabSz="228594">
              <a:spcAft>
                <a:spcPts val="1200"/>
              </a:spcAft>
            </a:pPr>
            <a:r>
              <a:rPr lang="pt-BR" sz="1400" noProof="1">
                <a:latin typeface="Graphik" panose="020B0503030202060203" pitchFamily="34" charset="77"/>
              </a:rPr>
              <a:t>Where to find these colors in Shape Fill</a:t>
            </a:r>
          </a:p>
        </p:txBody>
      </p:sp>
      <p:pic>
        <p:nvPicPr>
          <p:cNvPr id="14" name="Picture 13" descr="Color position on Shape Fill tool">
            <a:extLst>
              <a:ext uri="{FF2B5EF4-FFF2-40B4-BE49-F238E27FC236}">
                <a16:creationId xmlns:a16="http://schemas.microsoft.com/office/drawing/2014/main" id="{AF52EC5F-D224-6A3C-50AA-7DA17A0EFE25}"/>
              </a:ext>
            </a:extLst>
          </p:cNvPr>
          <p:cNvPicPr>
            <a:picLocks noChangeAspect="1"/>
          </p:cNvPicPr>
          <p:nvPr/>
        </p:nvPicPr>
        <p:blipFill>
          <a:blip r:embed="rId6"/>
          <a:stretch>
            <a:fillRect/>
          </a:stretch>
        </p:blipFill>
        <p:spPr>
          <a:xfrm>
            <a:off x="5354555" y="2607531"/>
            <a:ext cx="3380370" cy="3759631"/>
          </a:xfrm>
          <a:prstGeom prst="rect">
            <a:avLst/>
          </a:prstGeom>
        </p:spPr>
      </p:pic>
    </p:spTree>
    <p:extLst>
      <p:ext uri="{BB962C8B-B14F-4D97-AF65-F5344CB8AC3E}">
        <p14:creationId xmlns:p14="http://schemas.microsoft.com/office/powerpoint/2010/main" val="127042687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4A5651DF-B325-6CA7-AACB-84A10B28E90A}"/>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54FDF72-4A35-A60F-232C-9E77BA12BF0D}"/>
              </a:ext>
            </a:extLst>
          </p:cNvPr>
          <p:cNvGraphicFramePr>
            <a:graphicFrameLocks noChangeAspect="1"/>
          </p:cNvGraphicFramePr>
          <p:nvPr>
            <p:custDataLst>
              <p:tags r:id="rId1"/>
            </p:custDataLst>
            <p:extLst>
              <p:ext uri="{D42A27DB-BD31-4B8C-83A1-F6EECF244321}">
                <p14:modId xmlns:p14="http://schemas.microsoft.com/office/powerpoint/2010/main" val="4098210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4" name="think-cell data - do not delete" hidden="1">
                        <a:extLst>
                          <a:ext uri="{FF2B5EF4-FFF2-40B4-BE49-F238E27FC236}">
                            <a16:creationId xmlns:a16="http://schemas.microsoft.com/office/drawing/2014/main" id="{654FDF72-4A35-A60F-232C-9E77BA12BF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ítulo 5">
            <a:extLst>
              <a:ext uri="{FF2B5EF4-FFF2-40B4-BE49-F238E27FC236}">
                <a16:creationId xmlns:a16="http://schemas.microsoft.com/office/drawing/2014/main" id="{B02C4BFA-CC4F-391C-B6CB-613AA6062B1D}"/>
              </a:ext>
            </a:extLst>
          </p:cNvPr>
          <p:cNvSpPr>
            <a:spLocks noGrp="1"/>
          </p:cNvSpPr>
          <p:nvPr>
            <p:ph type="title"/>
          </p:nvPr>
        </p:nvSpPr>
        <p:spPr/>
        <p:txBody>
          <a:bodyPr vert="horz"/>
          <a:lstStyle/>
          <a:p>
            <a:r>
              <a:rPr lang="pt-BR" noProof="1"/>
              <a:t>Horizontal bar chart example</a:t>
            </a:r>
          </a:p>
        </p:txBody>
      </p:sp>
      <p:graphicFrame>
        <p:nvGraphicFramePr>
          <p:cNvPr id="2" name="Marcador de contenido 7" descr="Example of a horizontal bar chart. Displays data for four categories across multiple series, with one series highlighted to emphasize specific values.">
            <a:extLst>
              <a:ext uri="{FF2B5EF4-FFF2-40B4-BE49-F238E27FC236}">
                <a16:creationId xmlns:a16="http://schemas.microsoft.com/office/drawing/2014/main" id="{B16BCEF6-CD40-BCBF-68E9-8A1057C921C0}"/>
              </a:ext>
              <a:ext uri="{C183D7F6-B498-43B3-948B-1728B52AA6E4}">
                <adec:decorative xmlns:adec="http://schemas.microsoft.com/office/drawing/2017/decorative" val="0"/>
              </a:ext>
            </a:extLst>
          </p:cNvPr>
          <p:cNvGraphicFramePr>
            <a:graphicFrameLocks/>
          </p:cNvGraphicFramePr>
          <p:nvPr>
            <p:extLst>
              <p:ext uri="{D42A27DB-BD31-4B8C-83A1-F6EECF244321}">
                <p14:modId xmlns:p14="http://schemas.microsoft.com/office/powerpoint/2010/main" val="112039259"/>
              </p:ext>
            </p:extLst>
          </p:nvPr>
        </p:nvGraphicFramePr>
        <p:xfrm>
          <a:off x="2733567" y="1544736"/>
          <a:ext cx="6898435" cy="408204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53704852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2CD45920-C968-6288-59A6-E5D4E7217D3F}"/>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AD0A3E0-CD34-AB8C-3A3F-5C56A8B094AA}"/>
              </a:ext>
            </a:extLst>
          </p:cNvPr>
          <p:cNvGraphicFramePr>
            <a:graphicFrameLocks noChangeAspect="1"/>
          </p:cNvGraphicFramePr>
          <p:nvPr>
            <p:custDataLst>
              <p:tags r:id="rId1"/>
            </p:custDataLst>
            <p:extLst>
              <p:ext uri="{D42A27DB-BD31-4B8C-83A1-F6EECF244321}">
                <p14:modId xmlns:p14="http://schemas.microsoft.com/office/powerpoint/2010/main" val="2531688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4" name="think-cell data - do not delete" hidden="1">
                        <a:extLst>
                          <a:ext uri="{FF2B5EF4-FFF2-40B4-BE49-F238E27FC236}">
                            <a16:creationId xmlns:a16="http://schemas.microsoft.com/office/drawing/2014/main" id="{4AD0A3E0-CD34-AB8C-3A3F-5C56A8B094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ítulo 5">
            <a:extLst>
              <a:ext uri="{FF2B5EF4-FFF2-40B4-BE49-F238E27FC236}">
                <a16:creationId xmlns:a16="http://schemas.microsoft.com/office/drawing/2014/main" id="{50A7AC9C-C93E-DD51-029B-E5C5589FF146}"/>
              </a:ext>
            </a:extLst>
          </p:cNvPr>
          <p:cNvSpPr>
            <a:spLocks noGrp="1"/>
          </p:cNvSpPr>
          <p:nvPr>
            <p:ph type="title"/>
          </p:nvPr>
        </p:nvSpPr>
        <p:spPr/>
        <p:txBody>
          <a:bodyPr vert="horz"/>
          <a:lstStyle/>
          <a:p>
            <a:r>
              <a:rPr lang="pt-BR" noProof="1"/>
              <a:t>Vertical bar chart example</a:t>
            </a:r>
          </a:p>
        </p:txBody>
      </p:sp>
      <p:graphicFrame>
        <p:nvGraphicFramePr>
          <p:cNvPr id="8" name="Marcador de contenido 7" descr="Example of a vertical stacked bar chart. It displays data for four categories, with three series stacked to show cumulative values for each category.">
            <a:extLst>
              <a:ext uri="{FF2B5EF4-FFF2-40B4-BE49-F238E27FC236}">
                <a16:creationId xmlns:a16="http://schemas.microsoft.com/office/drawing/2014/main" id="{25D3EE96-1B53-3193-EA12-82F15111AFB1}"/>
              </a:ext>
              <a:ext uri="{C183D7F6-B498-43B3-948B-1728B52AA6E4}">
                <adec:decorative xmlns:adec="http://schemas.microsoft.com/office/drawing/2017/decorative" val="0"/>
              </a:ext>
            </a:extLst>
          </p:cNvPr>
          <p:cNvGraphicFramePr>
            <a:graphicFrameLocks noGrp="1"/>
          </p:cNvGraphicFramePr>
          <p:nvPr>
            <p:ph sz="half" idx="23"/>
            <p:extLst>
              <p:ext uri="{D42A27DB-BD31-4B8C-83A1-F6EECF244321}">
                <p14:modId xmlns:p14="http://schemas.microsoft.com/office/powerpoint/2010/main" val="943716997"/>
              </p:ext>
            </p:extLst>
          </p:nvPr>
        </p:nvGraphicFramePr>
        <p:xfrm>
          <a:off x="563563" y="1371600"/>
          <a:ext cx="5367337" cy="475773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Content Placeholder 2" descr="Example of a vertical clustered bar chart. It presents data for four categories, with three series grouped together to compare values side by side.">
            <a:extLst>
              <a:ext uri="{FF2B5EF4-FFF2-40B4-BE49-F238E27FC236}">
                <a16:creationId xmlns:a16="http://schemas.microsoft.com/office/drawing/2014/main" id="{9AE64E81-C2C1-4C49-6CAB-EA6C1C3041C2}"/>
              </a:ext>
              <a:ext uri="{C183D7F6-B498-43B3-948B-1728B52AA6E4}">
                <adec:decorative xmlns:adec="http://schemas.microsoft.com/office/drawing/2017/decorative" val="0"/>
              </a:ext>
            </a:extLst>
          </p:cNvPr>
          <p:cNvGraphicFramePr>
            <a:graphicFrameLocks noGrp="1"/>
          </p:cNvGraphicFramePr>
          <p:nvPr>
            <p:ph sz="half" idx="27"/>
            <p:extLst>
              <p:ext uri="{D42A27DB-BD31-4B8C-83A1-F6EECF244321}">
                <p14:modId xmlns:p14="http://schemas.microsoft.com/office/powerpoint/2010/main" val="2379161035"/>
              </p:ext>
            </p:extLst>
          </p:nvPr>
        </p:nvGraphicFramePr>
        <p:xfrm>
          <a:off x="6273800" y="1371600"/>
          <a:ext cx="5367338" cy="475773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2979269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A2D17092-E458-27D6-141E-BA4D2F73F364}"/>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1F419F6-800E-242C-D78C-5475C5AD8DD6}"/>
              </a:ext>
            </a:extLst>
          </p:cNvPr>
          <p:cNvGraphicFramePr>
            <a:graphicFrameLocks noChangeAspect="1"/>
          </p:cNvGraphicFramePr>
          <p:nvPr>
            <p:custDataLst>
              <p:tags r:id="rId1"/>
            </p:custDataLst>
            <p:extLst>
              <p:ext uri="{D42A27DB-BD31-4B8C-83A1-F6EECF244321}">
                <p14:modId xmlns:p14="http://schemas.microsoft.com/office/powerpoint/2010/main" val="1017675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5" name="think-cell data - do not delete" hidden="1">
                        <a:extLst>
                          <a:ext uri="{FF2B5EF4-FFF2-40B4-BE49-F238E27FC236}">
                            <a16:creationId xmlns:a16="http://schemas.microsoft.com/office/drawing/2014/main" id="{51F419F6-800E-242C-D78C-5475C5AD8DD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F20B2BF-D672-9845-4939-9C733D6CF778}"/>
              </a:ext>
            </a:extLst>
          </p:cNvPr>
          <p:cNvSpPr>
            <a:spLocks noGrp="1"/>
          </p:cNvSpPr>
          <p:nvPr>
            <p:ph type="title"/>
          </p:nvPr>
        </p:nvSpPr>
        <p:spPr/>
        <p:txBody>
          <a:bodyPr vert="horz"/>
          <a:lstStyle/>
          <a:p>
            <a:r>
              <a:rPr lang="pt-BR" noProof="1"/>
              <a:t>Lines chart example</a:t>
            </a:r>
          </a:p>
        </p:txBody>
      </p:sp>
      <p:graphicFrame>
        <p:nvGraphicFramePr>
          <p:cNvPr id="3" name="Object 2" descr="Example of a line chart displaying data trends from the year 2000 to 2003. It includes four groups with distinct lines, one of which is highlighted in bold pink for emphasis.">
            <a:extLst>
              <a:ext uri="{FF2B5EF4-FFF2-40B4-BE49-F238E27FC236}">
                <a16:creationId xmlns:a16="http://schemas.microsoft.com/office/drawing/2014/main" id="{D124DAA8-02B1-4F14-FAA5-6BC570F765E2}"/>
              </a:ext>
            </a:extLst>
          </p:cNvPr>
          <p:cNvGraphicFramePr>
            <a:graphicFrameLocks/>
          </p:cNvGraphicFramePr>
          <p:nvPr>
            <p:extLst>
              <p:ext uri="{D42A27DB-BD31-4B8C-83A1-F6EECF244321}">
                <p14:modId xmlns:p14="http://schemas.microsoft.com/office/powerpoint/2010/main" val="1747174448"/>
              </p:ext>
            </p:extLst>
          </p:nvPr>
        </p:nvGraphicFramePr>
        <p:xfrm>
          <a:off x="2723174" y="1741381"/>
          <a:ext cx="6919220" cy="359870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31865836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AB566C03-003A-CCE9-6429-E41EA9DEDD55}"/>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C445645-7522-A5B8-8FD9-37D9611B8780}"/>
              </a:ext>
            </a:extLst>
          </p:cNvPr>
          <p:cNvGraphicFramePr>
            <a:graphicFrameLocks noChangeAspect="1"/>
          </p:cNvGraphicFramePr>
          <p:nvPr>
            <p:custDataLst>
              <p:tags r:id="rId1"/>
            </p:custDataLst>
            <p:extLst>
              <p:ext uri="{D42A27DB-BD31-4B8C-83A1-F6EECF244321}">
                <p14:modId xmlns:p14="http://schemas.microsoft.com/office/powerpoint/2010/main" val="26982794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3" name="think-cell data - do not delete" hidden="1">
                        <a:extLst>
                          <a:ext uri="{FF2B5EF4-FFF2-40B4-BE49-F238E27FC236}">
                            <a16:creationId xmlns:a16="http://schemas.microsoft.com/office/drawing/2014/main" id="{4C445645-7522-A5B8-8FD9-37D9611B87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ítulo 5">
            <a:extLst>
              <a:ext uri="{FF2B5EF4-FFF2-40B4-BE49-F238E27FC236}">
                <a16:creationId xmlns:a16="http://schemas.microsoft.com/office/drawing/2014/main" id="{D0F6BFBD-A1E1-ED17-A388-6F643BFC0659}"/>
              </a:ext>
            </a:extLst>
          </p:cNvPr>
          <p:cNvSpPr>
            <a:spLocks noGrp="1"/>
          </p:cNvSpPr>
          <p:nvPr>
            <p:ph type="title"/>
          </p:nvPr>
        </p:nvSpPr>
        <p:spPr/>
        <p:txBody>
          <a:bodyPr vert="horz"/>
          <a:lstStyle/>
          <a:p>
            <a:r>
              <a:rPr lang="pt-BR" noProof="1"/>
              <a:t>Lines chart example </a:t>
            </a:r>
            <a:r>
              <a:rPr lang="pt-BR" noProof="1">
                <a:solidFill>
                  <a:srgbClr val="FFFFFF"/>
                </a:solidFill>
              </a:rPr>
              <a:t>2</a:t>
            </a:r>
          </a:p>
        </p:txBody>
      </p:sp>
      <p:graphicFrame>
        <p:nvGraphicFramePr>
          <p:cNvPr id="8" name="Marcador de contenido 7" descr="Example of a line chart with three series plotted across four categories. Series 1, 2, and 3 are represented by lines of varying shades of purple. The chart demonstrates different trends in data, with some lines increasing while others decrease.">
            <a:extLst>
              <a:ext uri="{FF2B5EF4-FFF2-40B4-BE49-F238E27FC236}">
                <a16:creationId xmlns:a16="http://schemas.microsoft.com/office/drawing/2014/main" id="{4B722B0D-E358-6088-FF2B-78BB75D57978}"/>
              </a:ext>
              <a:ext uri="{C183D7F6-B498-43B3-948B-1728B52AA6E4}">
                <adec:decorative xmlns:adec="http://schemas.microsoft.com/office/drawing/2017/decorative" val="0"/>
              </a:ext>
            </a:extLst>
          </p:cNvPr>
          <p:cNvGraphicFramePr>
            <a:graphicFrameLocks noGrp="1"/>
          </p:cNvGraphicFramePr>
          <p:nvPr>
            <p:ph sz="half" idx="23"/>
            <p:extLst>
              <p:ext uri="{D42A27DB-BD31-4B8C-83A1-F6EECF244321}">
                <p14:modId xmlns:p14="http://schemas.microsoft.com/office/powerpoint/2010/main" val="2861917873"/>
              </p:ext>
            </p:extLst>
          </p:nvPr>
        </p:nvGraphicFramePr>
        <p:xfrm>
          <a:off x="2954215" y="1371600"/>
          <a:ext cx="6717323" cy="47577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0488329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75BB0E06-4B3A-525B-15E3-2946252A8110}"/>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9B155FB-0F38-FD29-E308-3620B9363342}"/>
              </a:ext>
            </a:extLst>
          </p:cNvPr>
          <p:cNvGraphicFramePr>
            <a:graphicFrameLocks noChangeAspect="1"/>
          </p:cNvGraphicFramePr>
          <p:nvPr>
            <p:custDataLst>
              <p:tags r:id="rId1"/>
            </p:custDataLst>
            <p:extLst>
              <p:ext uri="{D42A27DB-BD31-4B8C-83A1-F6EECF244321}">
                <p14:modId xmlns:p14="http://schemas.microsoft.com/office/powerpoint/2010/main" val="2652019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3" name="think-cell data - do not delete" hidden="1">
                        <a:extLst>
                          <a:ext uri="{FF2B5EF4-FFF2-40B4-BE49-F238E27FC236}">
                            <a16:creationId xmlns:a16="http://schemas.microsoft.com/office/drawing/2014/main" id="{39B155FB-0F38-FD29-E308-3620B93633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ítulo 7">
            <a:extLst>
              <a:ext uri="{FF2B5EF4-FFF2-40B4-BE49-F238E27FC236}">
                <a16:creationId xmlns:a16="http://schemas.microsoft.com/office/drawing/2014/main" id="{CC9B3ED7-C4E1-981D-441C-83CC730E5F1D}"/>
              </a:ext>
            </a:extLst>
          </p:cNvPr>
          <p:cNvSpPr>
            <a:spLocks noGrp="1"/>
          </p:cNvSpPr>
          <p:nvPr>
            <p:ph type="title"/>
          </p:nvPr>
        </p:nvSpPr>
        <p:spPr/>
        <p:txBody>
          <a:bodyPr vert="horz"/>
          <a:lstStyle/>
          <a:p>
            <a:r>
              <a:rPr lang="pt-BR" noProof="1">
                <a:latin typeface="Graphik Semibold"/>
              </a:rPr>
              <a:t>Combination column-line chart example</a:t>
            </a:r>
          </a:p>
        </p:txBody>
      </p:sp>
      <p:graphicFrame>
        <p:nvGraphicFramePr>
          <p:cNvPr id="7" name="Marcador de contenido 6" descr="Example of a combination chart with bar columns and a single line. The bar columns represent two data series in purple shades, while a pink line highlights another trend across four categories.">
            <a:extLst>
              <a:ext uri="{FF2B5EF4-FFF2-40B4-BE49-F238E27FC236}">
                <a16:creationId xmlns:a16="http://schemas.microsoft.com/office/drawing/2014/main" id="{A4C422DC-45AE-CF5F-9B41-AD40F4B00F26}"/>
              </a:ext>
              <a:ext uri="{C183D7F6-B498-43B3-948B-1728B52AA6E4}">
                <adec:decorative xmlns:adec="http://schemas.microsoft.com/office/drawing/2017/decorative" val="0"/>
              </a:ext>
            </a:extLst>
          </p:cNvPr>
          <p:cNvGraphicFramePr>
            <a:graphicFrameLocks noGrp="1"/>
          </p:cNvGraphicFramePr>
          <p:nvPr>
            <p:ph idx="4294967295"/>
            <p:extLst>
              <p:ext uri="{D42A27DB-BD31-4B8C-83A1-F6EECF244321}">
                <p14:modId xmlns:p14="http://schemas.microsoft.com/office/powerpoint/2010/main" val="290833762"/>
              </p:ext>
            </p:extLst>
          </p:nvPr>
        </p:nvGraphicFramePr>
        <p:xfrm>
          <a:off x="1889125" y="1484313"/>
          <a:ext cx="8413750" cy="3889375"/>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7899308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C82FE7-36BA-D8AE-AEA0-4849025DFCAF}"/>
            </a:ext>
          </a:extLst>
        </p:cNvPr>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AEB7CC-FB06-6541-B81F-428043F8502D}"/>
              </a:ext>
            </a:extLst>
          </p:cNvPr>
          <p:cNvGraphicFramePr>
            <a:graphicFrameLocks noChangeAspect="1"/>
          </p:cNvGraphicFramePr>
          <p:nvPr>
            <p:custDataLst>
              <p:tags r:id="rId1"/>
            </p:custDataLst>
            <p:extLst>
              <p:ext uri="{D42A27DB-BD31-4B8C-83A1-F6EECF244321}">
                <p14:modId xmlns:p14="http://schemas.microsoft.com/office/powerpoint/2010/main" val="129631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16" name="think-cell data - do not delete" hidden="1">
                        <a:extLst>
                          <a:ext uri="{FF2B5EF4-FFF2-40B4-BE49-F238E27FC236}">
                            <a16:creationId xmlns:a16="http://schemas.microsoft.com/office/drawing/2014/main" id="{B8AEB7CC-FB06-6541-B81F-428043F850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Title 28">
            <a:extLst>
              <a:ext uri="{FF2B5EF4-FFF2-40B4-BE49-F238E27FC236}">
                <a16:creationId xmlns:a16="http://schemas.microsoft.com/office/drawing/2014/main" id="{55F9886A-974B-03B8-C3E8-E1239F575F67}"/>
              </a:ext>
            </a:extLst>
          </p:cNvPr>
          <p:cNvSpPr>
            <a:spLocks noGrp="1"/>
          </p:cNvSpPr>
          <p:nvPr>
            <p:ph type="title"/>
          </p:nvPr>
        </p:nvSpPr>
        <p:spPr>
          <a:xfrm>
            <a:off x="556467" y="572600"/>
            <a:ext cx="11109212" cy="393954"/>
          </a:xfrm>
        </p:spPr>
        <p:txBody>
          <a:bodyPr vert="horz"/>
          <a:lstStyle/>
          <a:p>
            <a:r>
              <a:rPr lang="pt-BR" noProof="1"/>
              <a:t>Contribuições do Trabalho</a:t>
            </a:r>
          </a:p>
        </p:txBody>
      </p:sp>
      <p:sp>
        <p:nvSpPr>
          <p:cNvPr id="2" name="Marcador de texto 1">
            <a:extLst>
              <a:ext uri="{FF2B5EF4-FFF2-40B4-BE49-F238E27FC236}">
                <a16:creationId xmlns:a16="http://schemas.microsoft.com/office/drawing/2014/main" id="{AC019283-6D7E-0471-CAAE-D52088813B20}"/>
              </a:ext>
            </a:extLst>
          </p:cNvPr>
          <p:cNvSpPr>
            <a:spLocks noGrp="1"/>
          </p:cNvSpPr>
          <p:nvPr>
            <p:ph type="body" sz="quarter" idx="26"/>
          </p:nvPr>
        </p:nvSpPr>
        <p:spPr>
          <a:xfrm>
            <a:off x="563411" y="1109663"/>
            <a:ext cx="11077727" cy="384048"/>
          </a:xfrm>
        </p:spPr>
        <p:txBody>
          <a:bodyPr/>
          <a:lstStyle/>
          <a:p>
            <a:r>
              <a:rPr lang="pt-BR" noProof="1">
                <a:solidFill>
                  <a:schemeClr val="bg2"/>
                </a:solidFill>
              </a:rPr>
              <a:t>Principais entregas técnicas propostas</a:t>
            </a:r>
          </a:p>
        </p:txBody>
      </p:sp>
      <p:sp>
        <p:nvSpPr>
          <p:cNvPr id="4" name="Marcador de texto 3">
            <a:extLst>
              <a:ext uri="{FF2B5EF4-FFF2-40B4-BE49-F238E27FC236}">
                <a16:creationId xmlns:a16="http://schemas.microsoft.com/office/drawing/2014/main" id="{7A80835E-6777-F3DD-9E5E-C59B3E2BDAA8}"/>
              </a:ext>
            </a:extLst>
          </p:cNvPr>
          <p:cNvSpPr>
            <a:spLocks noGrp="1"/>
          </p:cNvSpPr>
          <p:nvPr>
            <p:ph type="body" idx="18"/>
          </p:nvPr>
        </p:nvSpPr>
        <p:spPr>
          <a:xfrm>
            <a:off x="561427" y="1844800"/>
            <a:ext cx="2578828" cy="457200"/>
          </a:xfrm>
        </p:spPr>
        <p:txBody>
          <a:bodyPr/>
          <a:lstStyle/>
          <a:p>
            <a:r>
              <a:rPr lang="pt-BR" noProof="1"/>
              <a:t>01</a:t>
            </a:r>
          </a:p>
        </p:txBody>
      </p:sp>
      <p:sp>
        <p:nvSpPr>
          <p:cNvPr id="8" name="Marcador de texto 7">
            <a:extLst>
              <a:ext uri="{FF2B5EF4-FFF2-40B4-BE49-F238E27FC236}">
                <a16:creationId xmlns:a16="http://schemas.microsoft.com/office/drawing/2014/main" id="{1628ED82-75C3-7ACA-2F8E-38278EC8A052}"/>
              </a:ext>
            </a:extLst>
          </p:cNvPr>
          <p:cNvSpPr>
            <a:spLocks noGrp="1"/>
          </p:cNvSpPr>
          <p:nvPr>
            <p:ph type="body" idx="1"/>
          </p:nvPr>
        </p:nvSpPr>
        <p:spPr>
          <a:xfrm>
            <a:off x="561427" y="2302000"/>
            <a:ext cx="2578828" cy="822960"/>
          </a:xfrm>
        </p:spPr>
        <p:txBody>
          <a:bodyPr/>
          <a:lstStyle/>
          <a:p>
            <a:r>
              <a:rPr lang="pt-BR" noProof="1"/>
              <a:t>Pipeline completo para geração de dados usando solver VEM </a:t>
            </a:r>
          </a:p>
        </p:txBody>
      </p:sp>
      <p:sp>
        <p:nvSpPr>
          <p:cNvPr id="7" name="Marcador de contenido 6">
            <a:extLst>
              <a:ext uri="{FF2B5EF4-FFF2-40B4-BE49-F238E27FC236}">
                <a16:creationId xmlns:a16="http://schemas.microsoft.com/office/drawing/2014/main" id="{0988C441-982D-FD5E-32EF-74C6D0CDB7B7}"/>
              </a:ext>
            </a:extLst>
          </p:cNvPr>
          <p:cNvSpPr>
            <a:spLocks noGrp="1"/>
          </p:cNvSpPr>
          <p:nvPr>
            <p:ph sz="half" idx="28"/>
          </p:nvPr>
        </p:nvSpPr>
        <p:spPr>
          <a:xfrm>
            <a:off x="561427" y="3124961"/>
            <a:ext cx="2578828" cy="2761615"/>
          </a:xfrm>
        </p:spPr>
        <p:txBody>
          <a:bodyPr/>
          <a:lstStyle/>
          <a:p>
            <a:pPr lvl="1"/>
            <a:r>
              <a:rPr lang="pt-BR" noProof="1"/>
              <a:t>Amostragem paramétrica via Latin-Hypercube Sampling (LHS) para explorar eficientemente o espaço de parâmetros.</a:t>
            </a:r>
          </a:p>
          <a:p>
            <a:pPr lvl="1"/>
            <a:r>
              <a:rPr lang="pt-BR" noProof="1"/>
              <a:t>Solução das EDP’s via VEM para cada conjunto de parâmetros.</a:t>
            </a:r>
          </a:p>
          <a:p>
            <a:pPr lvl="1"/>
            <a:r>
              <a:rPr lang="pt-BR" noProof="1"/>
              <a:t>Exportação estruturada dos campos de deslocamentos e rotações para treinamento da rede.</a:t>
            </a:r>
          </a:p>
        </p:txBody>
      </p:sp>
      <p:sp>
        <p:nvSpPr>
          <p:cNvPr id="5" name="Marcador de texto 4">
            <a:extLst>
              <a:ext uri="{FF2B5EF4-FFF2-40B4-BE49-F238E27FC236}">
                <a16:creationId xmlns:a16="http://schemas.microsoft.com/office/drawing/2014/main" id="{33A9C25C-B448-601E-76A2-2955586C3DDA}"/>
              </a:ext>
            </a:extLst>
          </p:cNvPr>
          <p:cNvSpPr>
            <a:spLocks noGrp="1"/>
          </p:cNvSpPr>
          <p:nvPr>
            <p:ph type="body" idx="34"/>
          </p:nvPr>
        </p:nvSpPr>
        <p:spPr>
          <a:xfrm>
            <a:off x="3403235" y="1844675"/>
            <a:ext cx="2578828" cy="457200"/>
          </a:xfrm>
        </p:spPr>
        <p:txBody>
          <a:bodyPr/>
          <a:lstStyle/>
          <a:p>
            <a:r>
              <a:rPr lang="pt-BR" noProof="1"/>
              <a:t>02</a:t>
            </a:r>
          </a:p>
        </p:txBody>
      </p:sp>
      <p:sp>
        <p:nvSpPr>
          <p:cNvPr id="9" name="Marcador de texto 8">
            <a:extLst>
              <a:ext uri="{FF2B5EF4-FFF2-40B4-BE49-F238E27FC236}">
                <a16:creationId xmlns:a16="http://schemas.microsoft.com/office/drawing/2014/main" id="{06EEAC23-3232-000A-8C43-1AD7380E0C4F}"/>
              </a:ext>
            </a:extLst>
          </p:cNvPr>
          <p:cNvSpPr>
            <a:spLocks noGrp="1"/>
          </p:cNvSpPr>
          <p:nvPr>
            <p:ph type="body" idx="35"/>
          </p:nvPr>
        </p:nvSpPr>
        <p:spPr>
          <a:xfrm>
            <a:off x="3403235" y="2301875"/>
            <a:ext cx="2578828" cy="822960"/>
          </a:xfrm>
        </p:spPr>
        <p:txBody>
          <a:bodyPr/>
          <a:lstStyle/>
          <a:p>
            <a:r>
              <a:rPr lang="pt-BR" noProof="1"/>
              <a:t>Treinamento de rede neural para aproximar deslocamentos</a:t>
            </a:r>
          </a:p>
        </p:txBody>
      </p:sp>
      <p:sp>
        <p:nvSpPr>
          <p:cNvPr id="3" name="Marcador de contenido 2">
            <a:extLst>
              <a:ext uri="{FF2B5EF4-FFF2-40B4-BE49-F238E27FC236}">
                <a16:creationId xmlns:a16="http://schemas.microsoft.com/office/drawing/2014/main" id="{A99E66F4-FE19-C5BD-0A3F-61C24B6CB72D}"/>
              </a:ext>
            </a:extLst>
          </p:cNvPr>
          <p:cNvSpPr>
            <a:spLocks noGrp="1"/>
          </p:cNvSpPr>
          <p:nvPr>
            <p:ph sz="half" idx="36"/>
          </p:nvPr>
        </p:nvSpPr>
        <p:spPr>
          <a:xfrm>
            <a:off x="3403235" y="3124834"/>
            <a:ext cx="2578828" cy="2761615"/>
          </a:xfrm>
        </p:spPr>
        <p:txBody>
          <a:bodyPr/>
          <a:lstStyle/>
          <a:p>
            <a:pPr marL="171450" lvl="0" indent="-171450">
              <a:buFont typeface="Arial" panose="020B0604020202020204" pitchFamily="34" charset="0"/>
              <a:buChar char="•"/>
            </a:pPr>
            <a:r>
              <a:rPr lang="pt-BR" noProof="1"/>
              <a:t>Desenvolvimento de uma Multilayer Perceptron (MLP) capaz de mapear parâmetros </a:t>
            </a:r>
            <a:r>
              <a:rPr lang="pt-BR" noProof="1">
                <a:latin typeface="Aptos Narrow" panose="020B0004020202020204" pitchFamily="34" charset="0"/>
              </a:rPr>
              <a:t>→</a:t>
            </a:r>
            <a:r>
              <a:rPr lang="pt-BR" noProof="1"/>
              <a:t> deslocamentos e rotações.</a:t>
            </a:r>
          </a:p>
          <a:p>
            <a:pPr marL="171450" lvl="0" indent="-171450">
              <a:buFont typeface="Arial" panose="020B0604020202020204" pitchFamily="34" charset="0"/>
              <a:buChar char="•"/>
            </a:pPr>
            <a:r>
              <a:rPr lang="pt-BR" noProof="1"/>
              <a:t>Otimização dos hiperparâmetros utilizando Asynchronous Successive Halving (ASHA).</a:t>
            </a:r>
          </a:p>
          <a:p>
            <a:pPr marL="171450" lvl="0" indent="-171450">
              <a:buFont typeface="Arial" panose="020B0604020202020204" pitchFamily="34" charset="0"/>
              <a:buChar char="•"/>
            </a:pPr>
            <a:r>
              <a:rPr lang="pt-BR" noProof="1"/>
              <a:t>Avaliação de desempenho via Erro Quadrático Médio (MSE) e validação cruzada.</a:t>
            </a:r>
          </a:p>
        </p:txBody>
      </p:sp>
      <p:sp>
        <p:nvSpPr>
          <p:cNvPr id="10" name="Marcador de texto 9">
            <a:extLst>
              <a:ext uri="{FF2B5EF4-FFF2-40B4-BE49-F238E27FC236}">
                <a16:creationId xmlns:a16="http://schemas.microsoft.com/office/drawing/2014/main" id="{5E3E74A8-DC8A-CBAE-A9B7-D9FF4774E891}"/>
              </a:ext>
            </a:extLst>
          </p:cNvPr>
          <p:cNvSpPr>
            <a:spLocks noGrp="1"/>
          </p:cNvSpPr>
          <p:nvPr>
            <p:ph type="body" idx="37"/>
          </p:nvPr>
        </p:nvSpPr>
        <p:spPr>
          <a:xfrm>
            <a:off x="6245043" y="1844675"/>
            <a:ext cx="2578828" cy="457200"/>
          </a:xfrm>
        </p:spPr>
        <p:txBody>
          <a:bodyPr/>
          <a:lstStyle/>
          <a:p>
            <a:r>
              <a:rPr lang="pt-BR" noProof="1"/>
              <a:t>03</a:t>
            </a:r>
          </a:p>
        </p:txBody>
      </p:sp>
      <p:sp>
        <p:nvSpPr>
          <p:cNvPr id="11" name="Marcador de texto 10">
            <a:extLst>
              <a:ext uri="{FF2B5EF4-FFF2-40B4-BE49-F238E27FC236}">
                <a16:creationId xmlns:a16="http://schemas.microsoft.com/office/drawing/2014/main" id="{16A2D324-79BA-DBA8-AC35-EF1BE5568D23}"/>
              </a:ext>
            </a:extLst>
          </p:cNvPr>
          <p:cNvSpPr>
            <a:spLocks noGrp="1"/>
          </p:cNvSpPr>
          <p:nvPr>
            <p:ph type="body" idx="38"/>
          </p:nvPr>
        </p:nvSpPr>
        <p:spPr>
          <a:xfrm>
            <a:off x="6245043" y="2301875"/>
            <a:ext cx="2578828" cy="822960"/>
          </a:xfrm>
        </p:spPr>
        <p:txBody>
          <a:bodyPr/>
          <a:lstStyle/>
          <a:p>
            <a:r>
              <a:rPr lang="pt-BR" noProof="1"/>
              <a:t>Quantificação de incerteza via Monte Carlo Dropout</a:t>
            </a:r>
          </a:p>
        </p:txBody>
      </p:sp>
      <p:sp>
        <p:nvSpPr>
          <p:cNvPr id="12" name="Marcador de contenido 11">
            <a:extLst>
              <a:ext uri="{FF2B5EF4-FFF2-40B4-BE49-F238E27FC236}">
                <a16:creationId xmlns:a16="http://schemas.microsoft.com/office/drawing/2014/main" id="{BCF8137C-0F11-DA75-4962-6B463A1C514F}"/>
              </a:ext>
            </a:extLst>
          </p:cNvPr>
          <p:cNvSpPr>
            <a:spLocks noGrp="1"/>
          </p:cNvSpPr>
          <p:nvPr>
            <p:ph sz="half" idx="39"/>
          </p:nvPr>
        </p:nvSpPr>
        <p:spPr>
          <a:xfrm>
            <a:off x="6245043" y="3124834"/>
            <a:ext cx="2578828" cy="2761615"/>
          </a:xfrm>
        </p:spPr>
        <p:txBody>
          <a:bodyPr/>
          <a:lstStyle/>
          <a:p>
            <a:pPr marL="171450" lvl="0" indent="-171450">
              <a:buFont typeface="Arial" panose="020B0604020202020204" pitchFamily="34" charset="0"/>
              <a:buChar char="•"/>
            </a:pPr>
            <a:r>
              <a:rPr lang="pt-BR" noProof="1"/>
              <a:t>Aplicação de MC Dropout para estimar média e desvio padrão das predições.</a:t>
            </a:r>
          </a:p>
          <a:p>
            <a:pPr marL="171450" lvl="0" indent="-171450">
              <a:buFont typeface="Arial" panose="020B0604020202020204" pitchFamily="34" charset="0"/>
              <a:buChar char="•"/>
            </a:pPr>
            <a:r>
              <a:rPr lang="pt-BR" noProof="1"/>
              <a:t>Geração de mapas de incerteza ao longo do domínio da viga.</a:t>
            </a:r>
          </a:p>
          <a:p>
            <a:pPr marL="171450" lvl="0" indent="-171450">
              <a:buFont typeface="Arial" panose="020B0604020202020204" pitchFamily="34" charset="0"/>
              <a:buChar char="•"/>
            </a:pPr>
            <a:r>
              <a:rPr lang="pt-BR" noProof="1"/>
              <a:t>Identificação de regiões com baixa confiança da rede.</a:t>
            </a:r>
          </a:p>
          <a:p>
            <a:endParaRPr lang="pt-BR" noProof="1"/>
          </a:p>
        </p:txBody>
      </p:sp>
      <p:sp>
        <p:nvSpPr>
          <p:cNvPr id="13" name="Marcador de texto 12">
            <a:extLst>
              <a:ext uri="{FF2B5EF4-FFF2-40B4-BE49-F238E27FC236}">
                <a16:creationId xmlns:a16="http://schemas.microsoft.com/office/drawing/2014/main" id="{EEDFAF58-5AD8-4AA1-CC66-727003B11B76}"/>
              </a:ext>
            </a:extLst>
          </p:cNvPr>
          <p:cNvSpPr>
            <a:spLocks noGrp="1"/>
          </p:cNvSpPr>
          <p:nvPr>
            <p:ph type="body" idx="40"/>
          </p:nvPr>
        </p:nvSpPr>
        <p:spPr>
          <a:xfrm>
            <a:off x="9086850" y="1844675"/>
            <a:ext cx="2578828" cy="457200"/>
          </a:xfrm>
        </p:spPr>
        <p:txBody>
          <a:bodyPr/>
          <a:lstStyle/>
          <a:p>
            <a:r>
              <a:rPr lang="pt-BR" noProof="1"/>
              <a:t>04</a:t>
            </a:r>
          </a:p>
        </p:txBody>
      </p:sp>
      <p:sp>
        <p:nvSpPr>
          <p:cNvPr id="14" name="Marcador de texto 13">
            <a:extLst>
              <a:ext uri="{FF2B5EF4-FFF2-40B4-BE49-F238E27FC236}">
                <a16:creationId xmlns:a16="http://schemas.microsoft.com/office/drawing/2014/main" id="{0A9F6C89-74E1-A799-EB68-338C1B4F4BE9}"/>
              </a:ext>
            </a:extLst>
          </p:cNvPr>
          <p:cNvSpPr>
            <a:spLocks noGrp="1"/>
          </p:cNvSpPr>
          <p:nvPr>
            <p:ph type="body" idx="41"/>
          </p:nvPr>
        </p:nvSpPr>
        <p:spPr>
          <a:xfrm>
            <a:off x="9086850" y="2301875"/>
            <a:ext cx="2578828" cy="822960"/>
          </a:xfrm>
        </p:spPr>
        <p:txBody>
          <a:bodyPr/>
          <a:lstStyle/>
          <a:p>
            <a:r>
              <a:rPr lang="pt-BR" noProof="1"/>
              <a:t>Refinamento adaptativo guiado por incerteza</a:t>
            </a:r>
          </a:p>
        </p:txBody>
      </p:sp>
      <p:sp>
        <p:nvSpPr>
          <p:cNvPr id="15" name="Marcador de contenido 14">
            <a:extLst>
              <a:ext uri="{FF2B5EF4-FFF2-40B4-BE49-F238E27FC236}">
                <a16:creationId xmlns:a16="http://schemas.microsoft.com/office/drawing/2014/main" id="{97E0CA0A-E8CA-A68E-0B16-6BBE5B906EFB}"/>
              </a:ext>
            </a:extLst>
          </p:cNvPr>
          <p:cNvSpPr>
            <a:spLocks noGrp="1"/>
          </p:cNvSpPr>
          <p:nvPr>
            <p:ph sz="half" idx="42"/>
          </p:nvPr>
        </p:nvSpPr>
        <p:spPr>
          <a:xfrm>
            <a:off x="9086850" y="3124834"/>
            <a:ext cx="2578828" cy="2761615"/>
          </a:xfrm>
        </p:spPr>
        <p:txBody>
          <a:bodyPr/>
          <a:lstStyle/>
          <a:p>
            <a:pPr marL="171450" indent="-171450">
              <a:buFont typeface="Arial" panose="020B0604020202020204" pitchFamily="34" charset="0"/>
              <a:buChar char="•"/>
            </a:pPr>
            <a:r>
              <a:rPr lang="pt-BR" noProof="1"/>
              <a:t>Utilização dos mapas de desvio padrão para detectar regiões críticas.</a:t>
            </a:r>
          </a:p>
          <a:p>
            <a:pPr marL="171450" indent="-171450">
              <a:buFont typeface="Arial" panose="020B0604020202020204" pitchFamily="34" charset="0"/>
              <a:buChar char="•"/>
            </a:pPr>
            <a:r>
              <a:rPr lang="pt-BR" noProof="1"/>
              <a:t>Definição de critérios de refinamento baseados na incerteza local.</a:t>
            </a:r>
          </a:p>
          <a:p>
            <a:pPr marL="171450" indent="-171450">
              <a:buFont typeface="Arial" panose="020B0604020202020204" pitchFamily="34" charset="0"/>
              <a:buChar char="•"/>
            </a:pPr>
            <a:r>
              <a:rPr lang="pt-BR" noProof="1"/>
              <a:t>Realimentação do solver VEM para gerar novas amostras nas áreas mais sensíveis.</a:t>
            </a:r>
          </a:p>
        </p:txBody>
      </p:sp>
    </p:spTree>
    <p:extLst>
      <p:ext uri="{BB962C8B-B14F-4D97-AF65-F5344CB8AC3E}">
        <p14:creationId xmlns:p14="http://schemas.microsoft.com/office/powerpoint/2010/main" val="289828917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4F058D3-156F-04C1-DB97-FC381D78A866}"/>
              </a:ext>
            </a:extLst>
          </p:cNvPr>
          <p:cNvGraphicFramePr>
            <a:graphicFrameLocks noChangeAspect="1"/>
          </p:cNvGraphicFramePr>
          <p:nvPr>
            <p:custDataLst>
              <p:tags r:id="rId1"/>
            </p:custDataLst>
            <p:extLst>
              <p:ext uri="{D42A27DB-BD31-4B8C-83A1-F6EECF244321}">
                <p14:modId xmlns:p14="http://schemas.microsoft.com/office/powerpoint/2010/main" val="3997931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3" name="think-cell data - do not delete" hidden="1">
                        <a:extLst>
                          <a:ext uri="{FF2B5EF4-FFF2-40B4-BE49-F238E27FC236}">
                            <a16:creationId xmlns:a16="http://schemas.microsoft.com/office/drawing/2014/main" id="{14F058D3-156F-04C1-DB97-FC381D78A86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ítulo 3">
            <a:extLst>
              <a:ext uri="{FF2B5EF4-FFF2-40B4-BE49-F238E27FC236}">
                <a16:creationId xmlns:a16="http://schemas.microsoft.com/office/drawing/2014/main" id="{BC3025FF-3CCD-5D0C-31E6-1DBED089917C}"/>
              </a:ext>
            </a:extLst>
          </p:cNvPr>
          <p:cNvSpPr>
            <a:spLocks noGrp="1"/>
          </p:cNvSpPr>
          <p:nvPr>
            <p:ph type="title"/>
          </p:nvPr>
        </p:nvSpPr>
        <p:spPr/>
        <p:txBody>
          <a:bodyPr vert="horz"/>
          <a:lstStyle/>
          <a:p>
            <a:r>
              <a:rPr lang="pt-BR" noProof="1"/>
              <a:t>Area chart example</a:t>
            </a:r>
          </a:p>
        </p:txBody>
      </p:sp>
      <p:graphicFrame>
        <p:nvGraphicFramePr>
          <p:cNvPr id="7" name="Content Placeholder 6" descr="Example of an area chart displaying two data series stacked in different shades of purple. The x-axis represents time, and the y-axis shows numerical values, demonstrating trends over time.">
            <a:extLst>
              <a:ext uri="{FF2B5EF4-FFF2-40B4-BE49-F238E27FC236}">
                <a16:creationId xmlns:a16="http://schemas.microsoft.com/office/drawing/2014/main" id="{FB2FB926-A7FB-33C0-1493-630D11D1E707}"/>
              </a:ext>
              <a:ext uri="{C183D7F6-B498-43B3-948B-1728B52AA6E4}">
                <adec:decorative xmlns:adec="http://schemas.microsoft.com/office/drawing/2017/decorative" val="0"/>
              </a:ext>
            </a:extLst>
          </p:cNvPr>
          <p:cNvGraphicFramePr>
            <a:graphicFrameLocks noGrp="1"/>
          </p:cNvGraphicFramePr>
          <p:nvPr>
            <p:ph idx="4294967295"/>
            <p:extLst>
              <p:ext uri="{D42A27DB-BD31-4B8C-83A1-F6EECF244321}">
                <p14:modId xmlns:p14="http://schemas.microsoft.com/office/powerpoint/2010/main" val="1563889835"/>
              </p:ext>
            </p:extLst>
          </p:nvPr>
        </p:nvGraphicFramePr>
        <p:xfrm>
          <a:off x="1662113" y="1692275"/>
          <a:ext cx="8867775" cy="432911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49246486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CD427251-4C15-0A8C-36E0-33654340C152}"/>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67FA7B0-70E7-9284-E926-822510900E15}"/>
              </a:ext>
            </a:extLst>
          </p:cNvPr>
          <p:cNvGraphicFramePr>
            <a:graphicFrameLocks noChangeAspect="1"/>
          </p:cNvGraphicFramePr>
          <p:nvPr>
            <p:custDataLst>
              <p:tags r:id="rId1"/>
            </p:custDataLst>
            <p:extLst>
              <p:ext uri="{D42A27DB-BD31-4B8C-83A1-F6EECF244321}">
                <p14:modId xmlns:p14="http://schemas.microsoft.com/office/powerpoint/2010/main" val="3662199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3" name="think-cell data - do not delete" hidden="1">
                        <a:extLst>
                          <a:ext uri="{FF2B5EF4-FFF2-40B4-BE49-F238E27FC236}">
                            <a16:creationId xmlns:a16="http://schemas.microsoft.com/office/drawing/2014/main" id="{667FA7B0-70E7-9284-E926-822510900E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ítulo 5">
            <a:extLst>
              <a:ext uri="{FF2B5EF4-FFF2-40B4-BE49-F238E27FC236}">
                <a16:creationId xmlns:a16="http://schemas.microsoft.com/office/drawing/2014/main" id="{ED534CB6-83C9-DDAA-3494-B39DFF0092F7}"/>
              </a:ext>
            </a:extLst>
          </p:cNvPr>
          <p:cNvSpPr>
            <a:spLocks noGrp="1"/>
          </p:cNvSpPr>
          <p:nvPr>
            <p:ph type="title"/>
          </p:nvPr>
        </p:nvSpPr>
        <p:spPr/>
        <p:txBody>
          <a:bodyPr vert="horz"/>
          <a:lstStyle/>
          <a:p>
            <a:r>
              <a:rPr lang="pt-BR" noProof="1"/>
              <a:t>Pie chart example</a:t>
            </a:r>
          </a:p>
        </p:txBody>
      </p:sp>
      <p:graphicFrame>
        <p:nvGraphicFramePr>
          <p:cNvPr id="8" name="Marcador de contenido 7" descr="Example of a pie chart divided into four categories, each represented in a different shade of purple and one highlighted in a bright blue. The chart shows proportional data distribution.">
            <a:extLst>
              <a:ext uri="{FF2B5EF4-FFF2-40B4-BE49-F238E27FC236}">
                <a16:creationId xmlns:a16="http://schemas.microsoft.com/office/drawing/2014/main" id="{2DFB1913-4AAF-78D2-78A6-6A780C0E3603}"/>
              </a:ext>
              <a:ext uri="{C183D7F6-B498-43B3-948B-1728B52AA6E4}">
                <adec:decorative xmlns:adec="http://schemas.microsoft.com/office/drawing/2017/decorative" val="0"/>
              </a:ext>
            </a:extLst>
          </p:cNvPr>
          <p:cNvGraphicFramePr>
            <a:graphicFrameLocks noGrp="1"/>
          </p:cNvGraphicFramePr>
          <p:nvPr>
            <p:ph sz="quarter" idx="4294967295"/>
            <p:extLst>
              <p:ext uri="{D42A27DB-BD31-4B8C-83A1-F6EECF244321}">
                <p14:modId xmlns:p14="http://schemas.microsoft.com/office/powerpoint/2010/main" val="2933424081"/>
              </p:ext>
            </p:extLst>
          </p:nvPr>
        </p:nvGraphicFramePr>
        <p:xfrm>
          <a:off x="2751138" y="1230313"/>
          <a:ext cx="6689725" cy="4848225"/>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73768598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ECACEFD-F6D9-3E0D-2EED-484B85031F87}"/>
              </a:ext>
            </a:extLst>
          </p:cNvPr>
          <p:cNvGraphicFramePr>
            <a:graphicFrameLocks noChangeAspect="1"/>
          </p:cNvGraphicFramePr>
          <p:nvPr>
            <p:custDataLst>
              <p:tags r:id="rId1"/>
            </p:custDataLst>
            <p:extLst>
              <p:ext uri="{D42A27DB-BD31-4B8C-83A1-F6EECF244321}">
                <p14:modId xmlns:p14="http://schemas.microsoft.com/office/powerpoint/2010/main" val="209363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4" name="think-cell data - do not delete" hidden="1">
                        <a:extLst>
                          <a:ext uri="{FF2B5EF4-FFF2-40B4-BE49-F238E27FC236}">
                            <a16:creationId xmlns:a16="http://schemas.microsoft.com/office/drawing/2014/main" id="{7ECACEFD-F6D9-3E0D-2EED-484B85031F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1A1BFB-AA33-4436-B9C3-A546758AFDE4}"/>
              </a:ext>
            </a:extLst>
          </p:cNvPr>
          <p:cNvSpPr>
            <a:spLocks noGrp="1"/>
          </p:cNvSpPr>
          <p:nvPr>
            <p:ph type="title"/>
          </p:nvPr>
        </p:nvSpPr>
        <p:spPr/>
        <p:txBody>
          <a:bodyPr vert="horz"/>
          <a:lstStyle/>
          <a:p>
            <a:r>
              <a:rPr lang="pt-BR" noProof="1"/>
              <a:t>Combined pie charts</a:t>
            </a:r>
          </a:p>
        </p:txBody>
      </p:sp>
      <p:graphicFrame>
        <p:nvGraphicFramePr>
          <p:cNvPr id="11" name="Object 2" descr="Example of three nested pie charts, each displaying different percentages in multiple purple shades. Labels on the right indicate the data segments.">
            <a:extLst>
              <a:ext uri="{FF2B5EF4-FFF2-40B4-BE49-F238E27FC236}">
                <a16:creationId xmlns:a16="http://schemas.microsoft.com/office/drawing/2014/main" id="{D3E38C0A-AA45-4BB6-8C26-C767708A4A70}"/>
              </a:ext>
            </a:extLst>
          </p:cNvPr>
          <p:cNvGraphicFramePr>
            <a:graphicFrameLocks/>
          </p:cNvGraphicFramePr>
          <p:nvPr>
            <p:extLst>
              <p:ext uri="{D42A27DB-BD31-4B8C-83A1-F6EECF244321}">
                <p14:modId xmlns:p14="http://schemas.microsoft.com/office/powerpoint/2010/main" val="3095229091"/>
              </p:ext>
            </p:extLst>
          </p:nvPr>
        </p:nvGraphicFramePr>
        <p:xfrm>
          <a:off x="2583051" y="1937389"/>
          <a:ext cx="6615653" cy="3434251"/>
        </p:xfrm>
        <a:graphic>
          <a:graphicData uri="http://schemas.openxmlformats.org/drawingml/2006/chart">
            <c:chart xmlns:c="http://schemas.openxmlformats.org/drawingml/2006/chart" xmlns:r="http://schemas.openxmlformats.org/officeDocument/2006/relationships" r:id="rId6"/>
          </a:graphicData>
        </a:graphic>
      </p:graphicFrame>
      <p:cxnSp>
        <p:nvCxnSpPr>
          <p:cNvPr id="15" name="Straight Connector 14">
            <a:extLst>
              <a:ext uri="{FF2B5EF4-FFF2-40B4-BE49-F238E27FC236}">
                <a16:creationId xmlns:a16="http://schemas.microsoft.com/office/drawing/2014/main" id="{647D9D16-1B86-4721-B590-5781735D5766}"/>
              </a:ext>
              <a:ext uri="{C183D7F6-B498-43B3-948B-1728B52AA6E4}">
                <adec:decorative xmlns:adec="http://schemas.microsoft.com/office/drawing/2017/decorative" val="1"/>
              </a:ext>
            </a:extLst>
          </p:cNvPr>
          <p:cNvCxnSpPr>
            <a:cxnSpLocks/>
          </p:cNvCxnSpPr>
          <p:nvPr/>
        </p:nvCxnSpPr>
        <p:spPr bwMode="auto">
          <a:xfrm>
            <a:off x="5680339" y="2056643"/>
            <a:ext cx="2115507" cy="0"/>
          </a:xfrm>
          <a:prstGeom prst="line">
            <a:avLst/>
          </a:prstGeom>
          <a:noFill/>
          <a:ln w="6350" cap="flat" cmpd="sng" algn="ctr">
            <a:solidFill>
              <a:srgbClr val="96968C"/>
            </a:solidFill>
            <a:prstDash val="dash"/>
          </a:ln>
          <a:effectLst/>
        </p:spPr>
      </p:cxnSp>
      <p:cxnSp>
        <p:nvCxnSpPr>
          <p:cNvPr id="17" name="Straight Connector 16">
            <a:extLst>
              <a:ext uri="{FF2B5EF4-FFF2-40B4-BE49-F238E27FC236}">
                <a16:creationId xmlns:a16="http://schemas.microsoft.com/office/drawing/2014/main" id="{CF2A6C5F-DA30-41FB-84BD-38DE660F6DA3}"/>
              </a:ext>
              <a:ext uri="{C183D7F6-B498-43B3-948B-1728B52AA6E4}">
                <adec:decorative xmlns:adec="http://schemas.microsoft.com/office/drawing/2017/decorative" val="1"/>
              </a:ext>
            </a:extLst>
          </p:cNvPr>
          <p:cNvCxnSpPr>
            <a:cxnSpLocks/>
          </p:cNvCxnSpPr>
          <p:nvPr/>
        </p:nvCxnSpPr>
        <p:spPr bwMode="auto">
          <a:xfrm>
            <a:off x="5662717" y="3365788"/>
            <a:ext cx="2168298" cy="0"/>
          </a:xfrm>
          <a:prstGeom prst="line">
            <a:avLst/>
          </a:prstGeom>
          <a:noFill/>
          <a:ln w="6350" cap="flat" cmpd="sng" algn="ctr">
            <a:solidFill>
              <a:srgbClr val="96968C"/>
            </a:solidFill>
            <a:prstDash val="dash"/>
          </a:ln>
          <a:effectLst/>
        </p:spPr>
      </p:cxnSp>
      <p:cxnSp>
        <p:nvCxnSpPr>
          <p:cNvPr id="16" name="Straight Connector 15">
            <a:extLst>
              <a:ext uri="{FF2B5EF4-FFF2-40B4-BE49-F238E27FC236}">
                <a16:creationId xmlns:a16="http://schemas.microsoft.com/office/drawing/2014/main" id="{EC313916-F277-4D2C-A703-73C4656D4C19}"/>
              </a:ext>
              <a:ext uri="{C183D7F6-B498-43B3-948B-1728B52AA6E4}">
                <adec:decorative xmlns:adec="http://schemas.microsoft.com/office/drawing/2017/decorative" val="1"/>
              </a:ext>
            </a:extLst>
          </p:cNvPr>
          <p:cNvCxnSpPr>
            <a:cxnSpLocks/>
          </p:cNvCxnSpPr>
          <p:nvPr/>
        </p:nvCxnSpPr>
        <p:spPr bwMode="auto">
          <a:xfrm>
            <a:off x="5680339" y="2699161"/>
            <a:ext cx="2115507" cy="0"/>
          </a:xfrm>
          <a:prstGeom prst="line">
            <a:avLst/>
          </a:prstGeom>
          <a:noFill/>
          <a:ln w="6350" cap="flat" cmpd="sng" algn="ctr">
            <a:solidFill>
              <a:srgbClr val="96968C"/>
            </a:solidFill>
            <a:prstDash val="dash"/>
          </a:ln>
          <a:effectLst/>
        </p:spPr>
      </p:cxnSp>
      <p:sp>
        <p:nvSpPr>
          <p:cNvPr id="12" name="Text Box 5">
            <a:extLst>
              <a:ext uri="{FF2B5EF4-FFF2-40B4-BE49-F238E27FC236}">
                <a16:creationId xmlns:a16="http://schemas.microsoft.com/office/drawing/2014/main" id="{67603109-2765-48AA-B0EB-0FC5DA7CDC1A}"/>
              </a:ext>
            </a:extLst>
          </p:cNvPr>
          <p:cNvSpPr txBox="1">
            <a:spLocks noChangeArrowheads="1"/>
          </p:cNvSpPr>
          <p:nvPr/>
        </p:nvSpPr>
        <p:spPr bwMode="auto">
          <a:xfrm flipH="1">
            <a:off x="8001869" y="1999871"/>
            <a:ext cx="1716561" cy="430887"/>
          </a:xfrm>
          <a:prstGeom prst="rect">
            <a:avLst/>
          </a:prstGeom>
          <a:noFill/>
          <a:ln w="6350">
            <a:noFill/>
            <a:miter lim="800000"/>
            <a:headEnd/>
            <a:tailEnd/>
          </a:ln>
          <a:effectLst/>
        </p:spPr>
        <p:txBody>
          <a:bodyPr wrap="square" lIns="72000" tIns="0" rIns="72000" bIns="0">
            <a:spAutoFit/>
          </a:bodyPr>
          <a:lstStyle/>
          <a:p>
            <a:pPr eaLnBrk="0" hangingPunct="0">
              <a:spcBef>
                <a:spcPct val="50000"/>
              </a:spcBef>
              <a:defRPr/>
            </a:pPr>
            <a:r>
              <a:rPr lang="pt-BR" sz="1400" noProof="1">
                <a:solidFill>
                  <a:srgbClr val="000000"/>
                </a:solidFill>
                <a:latin typeface="Graphik" panose="020B0503030202060203" pitchFamily="34" charset="77"/>
              </a:rPr>
              <a:t>Graph 1 name placeholder</a:t>
            </a:r>
          </a:p>
        </p:txBody>
      </p:sp>
      <p:sp>
        <p:nvSpPr>
          <p:cNvPr id="13" name="Text Box 6">
            <a:extLst>
              <a:ext uri="{FF2B5EF4-FFF2-40B4-BE49-F238E27FC236}">
                <a16:creationId xmlns:a16="http://schemas.microsoft.com/office/drawing/2014/main" id="{0D9C7C29-4D7B-4E91-AAC1-119D69D60802}"/>
              </a:ext>
            </a:extLst>
          </p:cNvPr>
          <p:cNvSpPr txBox="1">
            <a:spLocks noChangeArrowheads="1"/>
          </p:cNvSpPr>
          <p:nvPr/>
        </p:nvSpPr>
        <p:spPr bwMode="auto">
          <a:xfrm flipH="1">
            <a:off x="8001869" y="2642388"/>
            <a:ext cx="1660341" cy="430887"/>
          </a:xfrm>
          <a:prstGeom prst="rect">
            <a:avLst/>
          </a:prstGeom>
          <a:noFill/>
          <a:ln w="6350">
            <a:noFill/>
            <a:miter lim="800000"/>
            <a:headEnd/>
            <a:tailEnd/>
          </a:ln>
          <a:effectLst/>
        </p:spPr>
        <p:txBody>
          <a:bodyPr wrap="square" lIns="72000" tIns="0" rIns="72000" bIns="0">
            <a:spAutoFit/>
          </a:bodyPr>
          <a:lstStyle/>
          <a:p>
            <a:pPr eaLnBrk="0" hangingPunct="0">
              <a:spcBef>
                <a:spcPct val="50000"/>
              </a:spcBef>
              <a:defRPr/>
            </a:pPr>
            <a:r>
              <a:rPr lang="pt-BR" sz="1400" noProof="1">
                <a:solidFill>
                  <a:srgbClr val="000000"/>
                </a:solidFill>
                <a:latin typeface="Graphik" panose="020B0503030202060203" pitchFamily="34" charset="77"/>
              </a:rPr>
              <a:t>Graph 2 name placeholder</a:t>
            </a:r>
          </a:p>
        </p:txBody>
      </p:sp>
      <p:sp>
        <p:nvSpPr>
          <p:cNvPr id="14" name="Text Box 7">
            <a:extLst>
              <a:ext uri="{FF2B5EF4-FFF2-40B4-BE49-F238E27FC236}">
                <a16:creationId xmlns:a16="http://schemas.microsoft.com/office/drawing/2014/main" id="{A3D23E3A-7A91-4A2C-B2AD-33C7F042599B}"/>
              </a:ext>
            </a:extLst>
          </p:cNvPr>
          <p:cNvSpPr txBox="1">
            <a:spLocks noChangeArrowheads="1"/>
          </p:cNvSpPr>
          <p:nvPr/>
        </p:nvSpPr>
        <p:spPr bwMode="auto">
          <a:xfrm flipH="1">
            <a:off x="8001869" y="3297116"/>
            <a:ext cx="1540716" cy="430887"/>
          </a:xfrm>
          <a:prstGeom prst="rect">
            <a:avLst/>
          </a:prstGeom>
          <a:noFill/>
          <a:ln w="6350">
            <a:noFill/>
            <a:miter lim="800000"/>
            <a:headEnd/>
            <a:tailEnd/>
          </a:ln>
          <a:effectLst/>
        </p:spPr>
        <p:txBody>
          <a:bodyPr wrap="square" lIns="72000" tIns="0" rIns="72000" bIns="0">
            <a:spAutoFit/>
          </a:bodyPr>
          <a:lstStyle/>
          <a:p>
            <a:pPr eaLnBrk="0" hangingPunct="0">
              <a:spcBef>
                <a:spcPct val="50000"/>
              </a:spcBef>
              <a:defRPr/>
            </a:pPr>
            <a:r>
              <a:rPr lang="pt-BR" sz="1400" noProof="1">
                <a:solidFill>
                  <a:srgbClr val="000000"/>
                </a:solidFill>
                <a:latin typeface="Graphik" panose="020B0503030202060203" pitchFamily="34" charset="77"/>
              </a:rPr>
              <a:t>Graph 3 name placeholder</a:t>
            </a:r>
          </a:p>
        </p:txBody>
      </p:sp>
    </p:spTree>
    <p:extLst>
      <p:ext uri="{BB962C8B-B14F-4D97-AF65-F5344CB8AC3E}">
        <p14:creationId xmlns:p14="http://schemas.microsoft.com/office/powerpoint/2010/main" val="428093250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EE4B1E4-5E12-5BD7-EE66-2DAAEC8CA34C}"/>
              </a:ext>
            </a:extLst>
          </p:cNvPr>
          <p:cNvGraphicFramePr>
            <a:graphicFrameLocks noChangeAspect="1"/>
          </p:cNvGraphicFramePr>
          <p:nvPr>
            <p:custDataLst>
              <p:tags r:id="rId1"/>
            </p:custDataLst>
            <p:extLst>
              <p:ext uri="{D42A27DB-BD31-4B8C-83A1-F6EECF244321}">
                <p14:modId xmlns:p14="http://schemas.microsoft.com/office/powerpoint/2010/main" val="3127965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5" name="think-cell data - do not delete" hidden="1">
                        <a:extLst>
                          <a:ext uri="{FF2B5EF4-FFF2-40B4-BE49-F238E27FC236}">
                            <a16:creationId xmlns:a16="http://schemas.microsoft.com/office/drawing/2014/main" id="{3EE4B1E4-5E12-5BD7-EE66-2DAAEC8CA3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1A1BFB-AA33-4436-B9C3-A546758AFDE4}"/>
              </a:ext>
            </a:extLst>
          </p:cNvPr>
          <p:cNvSpPr>
            <a:spLocks noGrp="1"/>
          </p:cNvSpPr>
          <p:nvPr>
            <p:ph type="title"/>
          </p:nvPr>
        </p:nvSpPr>
        <p:spPr/>
        <p:txBody>
          <a:bodyPr vert="horz"/>
          <a:lstStyle/>
          <a:p>
            <a:r>
              <a:rPr lang="pt-BR" noProof="1"/>
              <a:t>Multilayer pie chart example</a:t>
            </a:r>
          </a:p>
        </p:txBody>
      </p:sp>
      <p:graphicFrame>
        <p:nvGraphicFramePr>
          <p:cNvPr id="14" name="Chart Placeholder 10" descr="Example of a multilayered pie chart with several rings, each representing different data categories. Different colors indicate variations in the dataset.">
            <a:extLst>
              <a:ext uri="{FF2B5EF4-FFF2-40B4-BE49-F238E27FC236}">
                <a16:creationId xmlns:a16="http://schemas.microsoft.com/office/drawing/2014/main" id="{8CD5D171-E510-441C-A044-9156F85771C4}"/>
              </a:ext>
            </a:extLst>
          </p:cNvPr>
          <p:cNvGraphicFramePr>
            <a:graphicFrameLocks/>
          </p:cNvGraphicFramePr>
          <p:nvPr>
            <p:extLst>
              <p:ext uri="{D42A27DB-BD31-4B8C-83A1-F6EECF244321}">
                <p14:modId xmlns:p14="http://schemas.microsoft.com/office/powerpoint/2010/main" val="2994572073"/>
              </p:ext>
            </p:extLst>
          </p:nvPr>
        </p:nvGraphicFramePr>
        <p:xfrm>
          <a:off x="554400" y="1897200"/>
          <a:ext cx="5491611" cy="402231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hart Placeholder 13" descr="Example of a multi-layered donut chart   displaying segmented data for seven items, each represented by different shades of purple and cyan. The inner ring contains larger segments with percentages labeled inside, while the outer ring provides a more detailed breakdown. ">
            <a:extLst>
              <a:ext uri="{FF2B5EF4-FFF2-40B4-BE49-F238E27FC236}">
                <a16:creationId xmlns:a16="http://schemas.microsoft.com/office/drawing/2014/main" id="{37DA3953-CE75-FD92-E0B4-6C77B01FD1B1}"/>
              </a:ext>
            </a:extLst>
          </p:cNvPr>
          <p:cNvGraphicFramePr>
            <a:graphicFrameLocks/>
          </p:cNvGraphicFramePr>
          <p:nvPr>
            <p:extLst>
              <p:ext uri="{D42A27DB-BD31-4B8C-83A1-F6EECF244321}">
                <p14:modId xmlns:p14="http://schemas.microsoft.com/office/powerpoint/2010/main" val="2406290419"/>
              </p:ext>
            </p:extLst>
          </p:nvPr>
        </p:nvGraphicFramePr>
        <p:xfrm>
          <a:off x="5587200" y="2134800"/>
          <a:ext cx="6325252" cy="363062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6331572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E69784FC-D4BA-09E7-7EF6-F91EC47B8EF6}"/>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EC7E85C-D5E6-BBEF-25B0-5F30CF3BBC6D}"/>
              </a:ext>
            </a:extLst>
          </p:cNvPr>
          <p:cNvGraphicFramePr>
            <a:graphicFrameLocks noChangeAspect="1"/>
          </p:cNvGraphicFramePr>
          <p:nvPr>
            <p:custDataLst>
              <p:tags r:id="rId1"/>
            </p:custDataLst>
            <p:extLst>
              <p:ext uri="{D42A27DB-BD31-4B8C-83A1-F6EECF244321}">
                <p14:modId xmlns:p14="http://schemas.microsoft.com/office/powerpoint/2010/main" val="2532346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4" name="think-cell data - do not delete" hidden="1">
                        <a:extLst>
                          <a:ext uri="{FF2B5EF4-FFF2-40B4-BE49-F238E27FC236}">
                            <a16:creationId xmlns:a16="http://schemas.microsoft.com/office/drawing/2014/main" id="{6EC7E85C-D5E6-BBEF-25B0-5F30CF3BBC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6E31B1A-C610-4521-3CD1-01F25BC52E69}"/>
              </a:ext>
            </a:extLst>
          </p:cNvPr>
          <p:cNvSpPr>
            <a:spLocks noGrp="1"/>
          </p:cNvSpPr>
          <p:nvPr>
            <p:ph type="title"/>
          </p:nvPr>
        </p:nvSpPr>
        <p:spPr/>
        <p:txBody>
          <a:bodyPr vert="horz"/>
          <a:lstStyle/>
          <a:p>
            <a:r>
              <a:rPr lang="pt-BR" noProof="1"/>
              <a:t>Histogram chart example</a:t>
            </a:r>
          </a:p>
        </p:txBody>
      </p:sp>
      <mc:AlternateContent xmlns:mc="http://schemas.openxmlformats.org/markup-compatibility/2006" xmlns:cx1="http://schemas.microsoft.com/office/drawing/2015/9/8/chartex">
        <mc:Choice Requires="cx1">
          <p:graphicFrame>
            <p:nvGraphicFramePr>
              <p:cNvPr id="7" name="Content Placeholder 6" descr="Example of a histogram with six bars representing grouped data ranges. Each bar varies in height, showing frequency distribution across numerical intervals.">
                <a:extLst>
                  <a:ext uri="{FF2B5EF4-FFF2-40B4-BE49-F238E27FC236}">
                    <a16:creationId xmlns:a16="http://schemas.microsoft.com/office/drawing/2014/main" id="{3435E93A-A2A0-0240-916D-9D409041E6BE}"/>
                  </a:ext>
                  <a:ext uri="{C183D7F6-B498-43B3-948B-1728B52AA6E4}">
                    <adec:decorative xmlns:adec="http://schemas.microsoft.com/office/drawing/2017/decorative" val="0"/>
                  </a:ext>
                </a:extLst>
              </p:cNvPr>
              <p:cNvGraphicFramePr>
                <a:graphicFrameLocks noGrp="1"/>
              </p:cNvGraphicFramePr>
              <p:nvPr>
                <p:ph idx="4294967295"/>
                <p:extLst>
                  <p:ext uri="{D42A27DB-BD31-4B8C-83A1-F6EECF244321}">
                    <p14:modId xmlns:p14="http://schemas.microsoft.com/office/powerpoint/2010/main" val="1064796122"/>
                  </p:ext>
                </p:extLst>
              </p:nvPr>
            </p:nvGraphicFramePr>
            <p:xfrm>
              <a:off x="341523" y="1666875"/>
              <a:ext cx="5324475" cy="3900528"/>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7" name="Content Placeholder 6" descr="Example of a histogram with six bars representing grouped data ranges. Each bar varies in height, showing frequency distribution across numerical intervals.">
                <a:extLst>
                  <a:ext uri="{FF2B5EF4-FFF2-40B4-BE49-F238E27FC236}">
                    <a16:creationId xmlns:a16="http://schemas.microsoft.com/office/drawing/2014/main" id="{3435E93A-A2A0-0240-916D-9D409041E6BE}"/>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p:cNvPicPr>
              <p:nvPr/>
            </p:nvPicPr>
            <p:blipFill>
              <a:blip r:embed="rId7"/>
              <a:stretch>
                <a:fillRect/>
              </a:stretch>
            </p:blipFill>
            <p:spPr>
              <a:xfrm>
                <a:off x="341523" y="1666875"/>
                <a:ext cx="5324475" cy="3900528"/>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8" name="Content Placeholder 3" descr="Example of a Pareto chart with purple bars showing individual category values and a pink line illustrating cumulative percentage trends.">
                <a:extLst>
                  <a:ext uri="{FF2B5EF4-FFF2-40B4-BE49-F238E27FC236}">
                    <a16:creationId xmlns:a16="http://schemas.microsoft.com/office/drawing/2014/main" id="{E9FB254C-D16B-4A13-92CB-0287F3F1E9B7}"/>
                  </a:ext>
                  <a:ext uri="{C183D7F6-B498-43B3-948B-1728B52AA6E4}">
                    <adec:decorative xmlns:adec="http://schemas.microsoft.com/office/drawing/2017/decorative" val="0"/>
                  </a:ext>
                </a:extLst>
              </p:cNvPr>
              <p:cNvGraphicFramePr>
                <a:graphicFrameLocks/>
              </p:cNvGraphicFramePr>
              <p:nvPr>
                <p:extLst>
                  <p:ext uri="{D42A27DB-BD31-4B8C-83A1-F6EECF244321}">
                    <p14:modId xmlns:p14="http://schemas.microsoft.com/office/powerpoint/2010/main" val="3694522423"/>
                  </p:ext>
                </p:extLst>
              </p:nvPr>
            </p:nvGraphicFramePr>
            <p:xfrm>
              <a:off x="6182785" y="1667283"/>
              <a:ext cx="5751796" cy="3900528"/>
            </p:xfrm>
            <a:graphic>
              <a:graphicData uri="http://schemas.microsoft.com/office/drawing/2014/chartex">
                <cx:chart xmlns:cx="http://schemas.microsoft.com/office/drawing/2014/chartex" xmlns:r="http://schemas.openxmlformats.org/officeDocument/2006/relationships" r:id="rId8"/>
              </a:graphicData>
            </a:graphic>
          </p:graphicFrame>
        </mc:Choice>
        <mc:Fallback xmlns="">
          <p:pic>
            <p:nvPicPr>
              <p:cNvPr id="8" name="Content Placeholder 3" descr="Example of a Pareto chart with purple bars showing individual category values and a pink line illustrating cumulative percentage trends.">
                <a:extLst>
                  <a:ext uri="{FF2B5EF4-FFF2-40B4-BE49-F238E27FC236}">
                    <a16:creationId xmlns:a16="http://schemas.microsoft.com/office/drawing/2014/main" id="{E9FB254C-D16B-4A13-92CB-0287F3F1E9B7}"/>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p:cNvPicPr>
              <p:nvPr/>
            </p:nvPicPr>
            <p:blipFill>
              <a:blip r:embed="rId9"/>
              <a:stretch>
                <a:fillRect/>
              </a:stretch>
            </p:blipFill>
            <p:spPr>
              <a:xfrm>
                <a:off x="6182785" y="1667283"/>
                <a:ext cx="5751796" cy="3900528"/>
              </a:xfrm>
              <a:prstGeom prst="rect">
                <a:avLst/>
              </a:prstGeom>
            </p:spPr>
          </p:pic>
        </mc:Fallback>
      </mc:AlternateContent>
    </p:spTree>
    <p:extLst>
      <p:ext uri="{BB962C8B-B14F-4D97-AF65-F5344CB8AC3E}">
        <p14:creationId xmlns:p14="http://schemas.microsoft.com/office/powerpoint/2010/main" val="373000765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53702C44-35F1-E0D8-26B4-3954F49DD474}"/>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CE7D4CD-A0E3-4695-5C97-6D4B2E10314D}"/>
              </a:ext>
            </a:extLst>
          </p:cNvPr>
          <p:cNvGraphicFramePr>
            <a:graphicFrameLocks noChangeAspect="1"/>
          </p:cNvGraphicFramePr>
          <p:nvPr>
            <p:custDataLst>
              <p:tags r:id="rId1"/>
            </p:custDataLst>
            <p:extLst>
              <p:ext uri="{D42A27DB-BD31-4B8C-83A1-F6EECF244321}">
                <p14:modId xmlns:p14="http://schemas.microsoft.com/office/powerpoint/2010/main" val="724940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5" name="think-cell data - do not delete" hidden="1">
                        <a:extLst>
                          <a:ext uri="{FF2B5EF4-FFF2-40B4-BE49-F238E27FC236}">
                            <a16:creationId xmlns:a16="http://schemas.microsoft.com/office/drawing/2014/main" id="{2CE7D4CD-A0E3-4695-5C97-6D4B2E1031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7FE1F72F-B579-F4CE-965F-8D8F2726ADDF}"/>
              </a:ext>
            </a:extLst>
          </p:cNvPr>
          <p:cNvSpPr>
            <a:spLocks noGrp="1"/>
          </p:cNvSpPr>
          <p:nvPr>
            <p:ph type="title"/>
          </p:nvPr>
        </p:nvSpPr>
        <p:spPr/>
        <p:txBody>
          <a:bodyPr vert="horz"/>
          <a:lstStyle/>
          <a:p>
            <a:r>
              <a:rPr lang="pt-BR" noProof="1"/>
              <a:t>Box and whisker chart example</a:t>
            </a:r>
          </a:p>
        </p:txBody>
      </p:sp>
      <mc:AlternateContent xmlns:mc="http://schemas.openxmlformats.org/markup-compatibility/2006" xmlns:cx1="http://schemas.microsoft.com/office/drawing/2015/9/8/chartex">
        <mc:Choice Requires="cx1">
          <p:graphicFrame>
            <p:nvGraphicFramePr>
              <p:cNvPr id="4" name="Content Placeholder 3" descr="Example of a box and whisker chart displaying data distribution across three categories. Each box represents quartiles, with whiskers indicating the range and outliers.">
                <a:extLst>
                  <a:ext uri="{FF2B5EF4-FFF2-40B4-BE49-F238E27FC236}">
                    <a16:creationId xmlns:a16="http://schemas.microsoft.com/office/drawing/2014/main" id="{D676BEEC-C265-AD1C-F4C5-7A1D8589A73E}"/>
                  </a:ext>
                  <a:ext uri="{C183D7F6-B498-43B3-948B-1728B52AA6E4}">
                    <adec:decorative xmlns:adec="http://schemas.microsoft.com/office/drawing/2017/decorative" val="0"/>
                  </a:ext>
                </a:extLst>
              </p:cNvPr>
              <p:cNvGraphicFramePr>
                <a:graphicFrameLocks noGrp="1"/>
              </p:cNvGraphicFramePr>
              <p:nvPr>
                <p:ph idx="4294967295"/>
                <p:extLst>
                  <p:ext uri="{D42A27DB-BD31-4B8C-83A1-F6EECF244321}">
                    <p14:modId xmlns:p14="http://schemas.microsoft.com/office/powerpoint/2010/main" val="2820115253"/>
                  </p:ext>
                </p:extLst>
              </p:nvPr>
            </p:nvGraphicFramePr>
            <p:xfrm>
              <a:off x="2633663" y="1452563"/>
              <a:ext cx="6924675" cy="4411662"/>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4" name="Content Placeholder 3" descr="Example of a box and whisker chart displaying data distribution across three categories. Each box represents quartiles, with whiskers indicating the range and outliers.">
                <a:extLst>
                  <a:ext uri="{FF2B5EF4-FFF2-40B4-BE49-F238E27FC236}">
                    <a16:creationId xmlns:a16="http://schemas.microsoft.com/office/drawing/2014/main" id="{D676BEEC-C265-AD1C-F4C5-7A1D8589A73E}"/>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p:cNvPicPr>
              <p:nvPr/>
            </p:nvPicPr>
            <p:blipFill>
              <a:blip r:embed="rId7"/>
              <a:stretch>
                <a:fillRect/>
              </a:stretch>
            </p:blipFill>
            <p:spPr>
              <a:xfrm>
                <a:off x="2633663" y="1452563"/>
                <a:ext cx="6924675" cy="4411662"/>
              </a:xfrm>
              <a:prstGeom prst="rect">
                <a:avLst/>
              </a:prstGeom>
            </p:spPr>
          </p:pic>
        </mc:Fallback>
      </mc:AlternateContent>
    </p:spTree>
    <p:extLst>
      <p:ext uri="{BB962C8B-B14F-4D97-AF65-F5344CB8AC3E}">
        <p14:creationId xmlns:p14="http://schemas.microsoft.com/office/powerpoint/2010/main" val="102953570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8771E1F9-D3B3-C2AC-4C0B-2B65E024F6B6}"/>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6E282DA-54D2-A476-5709-8AAF46CAC7D7}"/>
              </a:ext>
            </a:extLst>
          </p:cNvPr>
          <p:cNvGraphicFramePr>
            <a:graphicFrameLocks noChangeAspect="1"/>
          </p:cNvGraphicFramePr>
          <p:nvPr>
            <p:custDataLst>
              <p:tags r:id="rId1"/>
            </p:custDataLst>
            <p:extLst>
              <p:ext uri="{D42A27DB-BD31-4B8C-83A1-F6EECF244321}">
                <p14:modId xmlns:p14="http://schemas.microsoft.com/office/powerpoint/2010/main" val="3363161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5" name="think-cell data - do not delete" hidden="1">
                        <a:extLst>
                          <a:ext uri="{FF2B5EF4-FFF2-40B4-BE49-F238E27FC236}">
                            <a16:creationId xmlns:a16="http://schemas.microsoft.com/office/drawing/2014/main" id="{66E282DA-54D2-A476-5709-8AAF46CAC7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1CB7FFB3-846E-2BC4-F0C2-7F43ECE936CF}"/>
              </a:ext>
            </a:extLst>
          </p:cNvPr>
          <p:cNvSpPr>
            <a:spLocks noGrp="1"/>
          </p:cNvSpPr>
          <p:nvPr>
            <p:ph type="title"/>
          </p:nvPr>
        </p:nvSpPr>
        <p:spPr>
          <a:xfrm>
            <a:off x="565460" y="558086"/>
            <a:ext cx="11357865" cy="393954"/>
          </a:xfrm>
        </p:spPr>
        <p:txBody>
          <a:bodyPr vert="horz"/>
          <a:lstStyle/>
          <a:p>
            <a:r>
              <a:rPr lang="pt-BR" noProof="1"/>
              <a:t>Scatter chart example</a:t>
            </a:r>
          </a:p>
        </p:txBody>
      </p:sp>
      <p:graphicFrame>
        <p:nvGraphicFramePr>
          <p:cNvPr id="4" name="Content Placeholder 3" descr="Example of a scatter plot with connected data points. The chart uses a purple and pink line to demonstrate changes across X and Y values.">
            <a:extLst>
              <a:ext uri="{FF2B5EF4-FFF2-40B4-BE49-F238E27FC236}">
                <a16:creationId xmlns:a16="http://schemas.microsoft.com/office/drawing/2014/main" id="{1D85E37B-B477-E741-1E06-EAE275BDED30}"/>
              </a:ext>
              <a:ext uri="{C183D7F6-B498-43B3-948B-1728B52AA6E4}">
                <adec:decorative xmlns:adec="http://schemas.microsoft.com/office/drawing/2017/decorative" val="0"/>
              </a:ext>
            </a:extLst>
          </p:cNvPr>
          <p:cNvGraphicFramePr>
            <a:graphicFrameLocks noGrp="1"/>
          </p:cNvGraphicFramePr>
          <p:nvPr>
            <p:ph idx="4294967295"/>
            <p:extLst>
              <p:ext uri="{D42A27DB-BD31-4B8C-83A1-F6EECF244321}">
                <p14:modId xmlns:p14="http://schemas.microsoft.com/office/powerpoint/2010/main" val="4220788226"/>
              </p:ext>
            </p:extLst>
          </p:nvPr>
        </p:nvGraphicFramePr>
        <p:xfrm>
          <a:off x="2327275" y="1528763"/>
          <a:ext cx="7537450" cy="417195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2238071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17A29E17-4148-2FEC-1D4B-A1772F88D329}"/>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DC353F9-3188-60EF-1610-D4687A72CED6}"/>
              </a:ext>
            </a:extLst>
          </p:cNvPr>
          <p:cNvGraphicFramePr>
            <a:graphicFrameLocks noChangeAspect="1"/>
          </p:cNvGraphicFramePr>
          <p:nvPr>
            <p:custDataLst>
              <p:tags r:id="rId1"/>
            </p:custDataLst>
            <p:extLst>
              <p:ext uri="{D42A27DB-BD31-4B8C-83A1-F6EECF244321}">
                <p14:modId xmlns:p14="http://schemas.microsoft.com/office/powerpoint/2010/main" val="2731235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5" name="think-cell data - do not delete" hidden="1">
                        <a:extLst>
                          <a:ext uri="{FF2B5EF4-FFF2-40B4-BE49-F238E27FC236}">
                            <a16:creationId xmlns:a16="http://schemas.microsoft.com/office/drawing/2014/main" id="{0DC353F9-3188-60EF-1610-D4687A72CED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EC7C17F1-13A2-F8E0-185D-6F41FD4AFE64}"/>
              </a:ext>
            </a:extLst>
          </p:cNvPr>
          <p:cNvSpPr>
            <a:spLocks noGrp="1"/>
          </p:cNvSpPr>
          <p:nvPr>
            <p:ph type="title"/>
          </p:nvPr>
        </p:nvSpPr>
        <p:spPr/>
        <p:txBody>
          <a:bodyPr vert="horz"/>
          <a:lstStyle/>
          <a:p>
            <a:r>
              <a:rPr lang="pt-BR" noProof="1"/>
              <a:t>Scatter bubble chart example</a:t>
            </a:r>
          </a:p>
        </p:txBody>
      </p:sp>
      <p:graphicFrame>
        <p:nvGraphicFramePr>
          <p:cNvPr id="4" name="Content Placeholder 3" descr="Example of a scatter bubble chart with three bubbles in different sizes and colors, representing values distributed across X and Y coordinates.">
            <a:extLst>
              <a:ext uri="{FF2B5EF4-FFF2-40B4-BE49-F238E27FC236}">
                <a16:creationId xmlns:a16="http://schemas.microsoft.com/office/drawing/2014/main" id="{63AA124D-0177-D598-D9AD-19DE6193560E}"/>
              </a:ext>
              <a:ext uri="{C183D7F6-B498-43B3-948B-1728B52AA6E4}">
                <adec:decorative xmlns:adec="http://schemas.microsoft.com/office/drawing/2017/decorative" val="0"/>
              </a:ext>
            </a:extLst>
          </p:cNvPr>
          <p:cNvGraphicFramePr>
            <a:graphicFrameLocks noGrp="1"/>
          </p:cNvGraphicFramePr>
          <p:nvPr>
            <p:ph idx="4294967295"/>
            <p:extLst>
              <p:ext uri="{D42A27DB-BD31-4B8C-83A1-F6EECF244321}">
                <p14:modId xmlns:p14="http://schemas.microsoft.com/office/powerpoint/2010/main" val="1269849326"/>
              </p:ext>
            </p:extLst>
          </p:nvPr>
        </p:nvGraphicFramePr>
        <p:xfrm>
          <a:off x="2224882" y="1338263"/>
          <a:ext cx="7742237" cy="4443412"/>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09106999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84A5F381-E945-F471-5EE6-984F2D6919A0}"/>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608C9E2-D538-690B-0088-C2F3CE6CDAD7}"/>
              </a:ext>
            </a:extLst>
          </p:cNvPr>
          <p:cNvGraphicFramePr>
            <a:graphicFrameLocks noChangeAspect="1"/>
          </p:cNvGraphicFramePr>
          <p:nvPr>
            <p:custDataLst>
              <p:tags r:id="rId1"/>
            </p:custDataLst>
            <p:extLst>
              <p:ext uri="{D42A27DB-BD31-4B8C-83A1-F6EECF244321}">
                <p14:modId xmlns:p14="http://schemas.microsoft.com/office/powerpoint/2010/main" val="3638812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5" name="think-cell data - do not delete" hidden="1">
                        <a:extLst>
                          <a:ext uri="{FF2B5EF4-FFF2-40B4-BE49-F238E27FC236}">
                            <a16:creationId xmlns:a16="http://schemas.microsoft.com/office/drawing/2014/main" id="{2608C9E2-D538-690B-0088-C2F3CE6CDA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2B7C6EC9-4003-D180-3635-3F6D73AAF799}"/>
              </a:ext>
            </a:extLst>
          </p:cNvPr>
          <p:cNvSpPr>
            <a:spLocks noGrp="1"/>
          </p:cNvSpPr>
          <p:nvPr>
            <p:ph type="title"/>
          </p:nvPr>
        </p:nvSpPr>
        <p:spPr/>
        <p:txBody>
          <a:bodyPr vert="horz"/>
          <a:lstStyle/>
          <a:p>
            <a:r>
              <a:rPr lang="pt-BR" noProof="1"/>
              <a:t>Waterfall chart example</a:t>
            </a:r>
          </a:p>
        </p:txBody>
      </p:sp>
      <mc:AlternateContent xmlns:mc="http://schemas.openxmlformats.org/markup-compatibility/2006" xmlns:cx1="http://schemas.microsoft.com/office/drawing/2015/9/8/chartex">
        <mc:Choice Requires="cx1">
          <p:graphicFrame>
            <p:nvGraphicFramePr>
              <p:cNvPr id="4" name="Content Placeholder 3" descr="Example of a waterfall chart showing financial changes across eight categories. Purple bars represent increases and decreases, while lighter bars indicate totals.">
                <a:extLst>
                  <a:ext uri="{FF2B5EF4-FFF2-40B4-BE49-F238E27FC236}">
                    <a16:creationId xmlns:a16="http://schemas.microsoft.com/office/drawing/2014/main" id="{6A96B726-6C1F-6025-0E22-87D51E926146}"/>
                  </a:ext>
                  <a:ext uri="{C183D7F6-B498-43B3-948B-1728B52AA6E4}">
                    <adec:decorative xmlns:adec="http://schemas.microsoft.com/office/drawing/2017/decorative" val="0"/>
                  </a:ext>
                </a:extLst>
              </p:cNvPr>
              <p:cNvGraphicFramePr>
                <a:graphicFrameLocks noGrp="1"/>
              </p:cNvGraphicFramePr>
              <p:nvPr>
                <p:ph idx="4294967295"/>
                <p:extLst>
                  <p:ext uri="{D42A27DB-BD31-4B8C-83A1-F6EECF244321}">
                    <p14:modId xmlns:p14="http://schemas.microsoft.com/office/powerpoint/2010/main" val="1536418549"/>
                  </p:ext>
                </p:extLst>
              </p:nvPr>
            </p:nvGraphicFramePr>
            <p:xfrm>
              <a:off x="2040732" y="1385888"/>
              <a:ext cx="8110537" cy="4432300"/>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4" name="Content Placeholder 3" descr="Example of a waterfall chart showing financial changes across eight categories. Purple bars represent increases and decreases, while lighter bars indicate totals.">
                <a:extLst>
                  <a:ext uri="{FF2B5EF4-FFF2-40B4-BE49-F238E27FC236}">
                    <a16:creationId xmlns:a16="http://schemas.microsoft.com/office/drawing/2014/main" id="{6A96B726-6C1F-6025-0E22-87D51E926146}"/>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p:cNvPicPr>
              <p:nvPr/>
            </p:nvPicPr>
            <p:blipFill>
              <a:blip r:embed="rId7"/>
              <a:stretch>
                <a:fillRect/>
              </a:stretch>
            </p:blipFill>
            <p:spPr>
              <a:xfrm>
                <a:off x="2040732" y="1385888"/>
                <a:ext cx="8110537" cy="4432300"/>
              </a:xfrm>
              <a:prstGeom prst="rect">
                <a:avLst/>
              </a:prstGeom>
            </p:spPr>
          </p:pic>
        </mc:Fallback>
      </mc:AlternateContent>
    </p:spTree>
    <p:extLst>
      <p:ext uri="{BB962C8B-B14F-4D97-AF65-F5344CB8AC3E}">
        <p14:creationId xmlns:p14="http://schemas.microsoft.com/office/powerpoint/2010/main" val="19605007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F68D2627-8D2C-7078-1AE3-1F354FDC3E23}"/>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EC2F644-F4BD-7A7F-82D0-9533A855D89F}"/>
              </a:ext>
            </a:extLst>
          </p:cNvPr>
          <p:cNvGraphicFramePr>
            <a:graphicFrameLocks noChangeAspect="1"/>
          </p:cNvGraphicFramePr>
          <p:nvPr>
            <p:custDataLst>
              <p:tags r:id="rId1"/>
            </p:custDataLst>
            <p:extLst>
              <p:ext uri="{D42A27DB-BD31-4B8C-83A1-F6EECF244321}">
                <p14:modId xmlns:p14="http://schemas.microsoft.com/office/powerpoint/2010/main" val="1439736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5" name="think-cell data - do not delete" hidden="1">
                        <a:extLst>
                          <a:ext uri="{FF2B5EF4-FFF2-40B4-BE49-F238E27FC236}">
                            <a16:creationId xmlns:a16="http://schemas.microsoft.com/office/drawing/2014/main" id="{6EC2F644-F4BD-7A7F-82D0-9533A855D8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3DFEDF9-2D9D-21D3-6E0B-33800B141507}"/>
              </a:ext>
            </a:extLst>
          </p:cNvPr>
          <p:cNvSpPr>
            <a:spLocks noGrp="1"/>
          </p:cNvSpPr>
          <p:nvPr>
            <p:ph type="title"/>
          </p:nvPr>
        </p:nvSpPr>
        <p:spPr/>
        <p:txBody>
          <a:bodyPr vert="horz"/>
          <a:lstStyle/>
          <a:p>
            <a:r>
              <a:rPr lang="pt-BR" noProof="1"/>
              <a:t>Funnel chart example</a:t>
            </a:r>
          </a:p>
        </p:txBody>
      </p:sp>
      <mc:AlternateContent xmlns:mc="http://schemas.openxmlformats.org/markup-compatibility/2006" xmlns:cx2="http://schemas.microsoft.com/office/drawing/2015/10/21/chartex">
        <mc:Choice Requires="cx2">
          <p:graphicFrame>
            <p:nvGraphicFramePr>
              <p:cNvPr id="4" name="Content Placeholder 3" descr="Example of a funnel chart illustrating five stages of a process. Each category is represented by a horizontal bar in varying lengths, with one category highlighted in bright blue.">
                <a:extLst>
                  <a:ext uri="{FF2B5EF4-FFF2-40B4-BE49-F238E27FC236}">
                    <a16:creationId xmlns:a16="http://schemas.microsoft.com/office/drawing/2014/main" id="{DA9177F9-02CD-F4B5-3079-F5FBB4A27BB6}"/>
                  </a:ext>
                  <a:ext uri="{C183D7F6-B498-43B3-948B-1728B52AA6E4}">
                    <adec:decorative xmlns:adec="http://schemas.microsoft.com/office/drawing/2017/decorative" val="0"/>
                  </a:ext>
                </a:extLst>
              </p:cNvPr>
              <p:cNvGraphicFramePr>
                <a:graphicFrameLocks noGrp="1"/>
              </p:cNvGraphicFramePr>
              <p:nvPr>
                <p:ph idx="4294967295"/>
                <p:extLst>
                  <p:ext uri="{D42A27DB-BD31-4B8C-83A1-F6EECF244321}">
                    <p14:modId xmlns:p14="http://schemas.microsoft.com/office/powerpoint/2010/main" val="2736024347"/>
                  </p:ext>
                </p:extLst>
              </p:nvPr>
            </p:nvGraphicFramePr>
            <p:xfrm>
              <a:off x="2014538" y="1620838"/>
              <a:ext cx="8162925" cy="4243387"/>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4" name="Content Placeholder 3" descr="Example of a funnel chart illustrating five stages of a process. Each category is represented by a horizontal bar in varying lengths, with one category highlighted in bright blue.">
                <a:extLst>
                  <a:ext uri="{FF2B5EF4-FFF2-40B4-BE49-F238E27FC236}">
                    <a16:creationId xmlns:a16="http://schemas.microsoft.com/office/drawing/2014/main" id="{DA9177F9-02CD-F4B5-3079-F5FBB4A27BB6}"/>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p:cNvPicPr>
              <p:nvPr/>
            </p:nvPicPr>
            <p:blipFill>
              <a:blip r:embed="rId7"/>
              <a:stretch>
                <a:fillRect/>
              </a:stretch>
            </p:blipFill>
            <p:spPr>
              <a:xfrm>
                <a:off x="2014538" y="1620838"/>
                <a:ext cx="8162925" cy="4243387"/>
              </a:xfrm>
              <a:prstGeom prst="rect">
                <a:avLst/>
              </a:prstGeom>
            </p:spPr>
          </p:pic>
        </mc:Fallback>
      </mc:AlternateContent>
    </p:spTree>
    <p:extLst>
      <p:ext uri="{BB962C8B-B14F-4D97-AF65-F5344CB8AC3E}">
        <p14:creationId xmlns:p14="http://schemas.microsoft.com/office/powerpoint/2010/main" val="41642057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44C982-9DD6-DAC4-F665-9DDA648D8313}"/>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745348E-7644-FC65-AF54-EEE32074BE5D}"/>
              </a:ext>
            </a:extLst>
          </p:cNvPr>
          <p:cNvGraphicFramePr>
            <a:graphicFrameLocks noChangeAspect="1"/>
          </p:cNvGraphicFramePr>
          <p:nvPr>
            <p:custDataLst>
              <p:tags r:id="rId1"/>
            </p:custDataLst>
            <p:extLst>
              <p:ext uri="{D42A27DB-BD31-4B8C-83A1-F6EECF244321}">
                <p14:modId xmlns:p14="http://schemas.microsoft.com/office/powerpoint/2010/main" val="76085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2" name="think-cell data - do not delete" hidden="1">
                        <a:extLst>
                          <a:ext uri="{FF2B5EF4-FFF2-40B4-BE49-F238E27FC236}">
                            <a16:creationId xmlns:a16="http://schemas.microsoft.com/office/drawing/2014/main" id="{8745348E-7644-FC65-AF54-EEE32074BE5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E0B7E170-DA69-C325-E801-E8F3BD55859C}"/>
              </a:ext>
            </a:extLst>
          </p:cNvPr>
          <p:cNvSpPr>
            <a:spLocks noGrp="1"/>
          </p:cNvSpPr>
          <p:nvPr>
            <p:ph type="title"/>
          </p:nvPr>
        </p:nvSpPr>
        <p:spPr>
          <a:xfrm>
            <a:off x="574352" y="4020089"/>
            <a:ext cx="4205323" cy="787908"/>
          </a:xfrm>
        </p:spPr>
        <p:txBody>
          <a:bodyPr vert="horz"/>
          <a:lstStyle/>
          <a:p>
            <a:r>
              <a:rPr lang="pt-BR" noProof="1"/>
              <a:t>Revisão Bibliográfica</a:t>
            </a:r>
          </a:p>
        </p:txBody>
      </p:sp>
      <p:sp>
        <p:nvSpPr>
          <p:cNvPr id="3" name="Text Placeholder 2">
            <a:extLst>
              <a:ext uri="{FF2B5EF4-FFF2-40B4-BE49-F238E27FC236}">
                <a16:creationId xmlns:a16="http://schemas.microsoft.com/office/drawing/2014/main" id="{B0A9ED5C-3876-6B1C-5E9D-9096E032966A}"/>
              </a:ext>
            </a:extLst>
          </p:cNvPr>
          <p:cNvSpPr>
            <a:spLocks noGrp="1"/>
          </p:cNvSpPr>
          <p:nvPr>
            <p:ph type="body" sz="quarter" idx="11"/>
          </p:nvPr>
        </p:nvSpPr>
        <p:spPr>
          <a:xfrm>
            <a:off x="574352" y="2576447"/>
            <a:ext cx="1364156" cy="1231106"/>
          </a:xfrm>
        </p:spPr>
        <p:txBody>
          <a:bodyPr/>
          <a:lstStyle/>
          <a:p>
            <a:r>
              <a:rPr lang="pt-BR" noProof="1"/>
              <a:t>02</a:t>
            </a:r>
          </a:p>
        </p:txBody>
      </p:sp>
      <p:sp>
        <p:nvSpPr>
          <p:cNvPr id="4" name="Marcador de texto 3">
            <a:extLst>
              <a:ext uri="{FF2B5EF4-FFF2-40B4-BE49-F238E27FC236}">
                <a16:creationId xmlns:a16="http://schemas.microsoft.com/office/drawing/2014/main" id="{07FF1DF9-7BD2-33E2-68C4-E46AA5C60C64}"/>
              </a:ext>
            </a:extLst>
          </p:cNvPr>
          <p:cNvSpPr>
            <a:spLocks noGrp="1"/>
          </p:cNvSpPr>
          <p:nvPr>
            <p:ph type="body" sz="quarter" idx="19"/>
          </p:nvPr>
        </p:nvSpPr>
        <p:spPr>
          <a:xfrm>
            <a:off x="574352" y="5080829"/>
            <a:ext cx="4205324" cy="787909"/>
          </a:xfrm>
        </p:spPr>
        <p:txBody>
          <a:bodyPr/>
          <a:lstStyle/>
          <a:p>
            <a:r>
              <a:rPr lang="pt-BR" noProof="1"/>
              <a:t>Fundamentos e trabalhos relacionados</a:t>
            </a:r>
          </a:p>
        </p:txBody>
      </p:sp>
      <p:pic>
        <p:nvPicPr>
          <p:cNvPr id="13" name="Picture Placeholder 12">
            <a:extLst>
              <a:ext uri="{FF2B5EF4-FFF2-40B4-BE49-F238E27FC236}">
                <a16:creationId xmlns:a16="http://schemas.microsoft.com/office/drawing/2014/main" id="{43F1A4F0-1441-053A-13BA-4C0BE0D5F5B6}"/>
              </a:ext>
              <a:ext uri="{C183D7F6-B498-43B3-948B-1728B52AA6E4}">
                <adec:decorative xmlns:adec="http://schemas.microsoft.com/office/drawing/2017/decorative" val="1"/>
              </a:ext>
            </a:extLst>
          </p:cNvPr>
          <p:cNvPicPr>
            <a:picLocks noGrp="1" noChangeAspect="1"/>
          </p:cNvPicPr>
          <p:nvPr>
            <p:ph type="pic" sz="quarter" idx="13"/>
          </p:nvPr>
        </p:nvPicPr>
        <p:blipFill>
          <a:blip r:embed="rId6"/>
          <a:srcRect t="5892" b="5892"/>
          <a:stretch/>
        </p:blipFill>
        <p:spPr>
          <a:xfrm>
            <a:off x="5362807" y="549275"/>
            <a:ext cx="6278331" cy="5759449"/>
          </a:xfrm>
        </p:spPr>
      </p:pic>
    </p:spTree>
    <p:extLst>
      <p:ext uri="{BB962C8B-B14F-4D97-AF65-F5344CB8AC3E}">
        <p14:creationId xmlns:p14="http://schemas.microsoft.com/office/powerpoint/2010/main" val="287655488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79DD5383-066E-072C-1459-636B0BDB9BDC}"/>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85AC3A6-407A-4A9F-4BD5-9FE5EBA38BD9}"/>
              </a:ext>
            </a:extLst>
          </p:cNvPr>
          <p:cNvGraphicFramePr>
            <a:graphicFrameLocks noChangeAspect="1"/>
          </p:cNvGraphicFramePr>
          <p:nvPr>
            <p:custDataLst>
              <p:tags r:id="rId1"/>
            </p:custDataLst>
            <p:extLst>
              <p:ext uri="{D42A27DB-BD31-4B8C-83A1-F6EECF244321}">
                <p14:modId xmlns:p14="http://schemas.microsoft.com/office/powerpoint/2010/main" val="4016861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5" name="think-cell data - do not delete" hidden="1">
                        <a:extLst>
                          <a:ext uri="{FF2B5EF4-FFF2-40B4-BE49-F238E27FC236}">
                            <a16:creationId xmlns:a16="http://schemas.microsoft.com/office/drawing/2014/main" id="{D85AC3A6-407A-4A9F-4BD5-9FE5EBA38B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2DFB8AC7-F1E6-787F-46DA-430A837B7306}"/>
              </a:ext>
            </a:extLst>
          </p:cNvPr>
          <p:cNvSpPr>
            <a:spLocks noGrp="1"/>
          </p:cNvSpPr>
          <p:nvPr>
            <p:ph type="title"/>
          </p:nvPr>
        </p:nvSpPr>
        <p:spPr/>
        <p:txBody>
          <a:bodyPr vert="horz"/>
          <a:lstStyle/>
          <a:p>
            <a:r>
              <a:rPr lang="pt-BR" noProof="1"/>
              <a:t>Stock chart example</a:t>
            </a:r>
          </a:p>
        </p:txBody>
      </p:sp>
      <p:graphicFrame>
        <p:nvGraphicFramePr>
          <p:cNvPr id="4" name="Content Placeholder 3" descr="Example of a stock chart with candlestick bars representing stock price fluctuations over time. Each bar consists of open, high, low, and close values.">
            <a:extLst>
              <a:ext uri="{FF2B5EF4-FFF2-40B4-BE49-F238E27FC236}">
                <a16:creationId xmlns:a16="http://schemas.microsoft.com/office/drawing/2014/main" id="{9ECB166A-AB00-3426-B06C-B5D4DD79B097}"/>
              </a:ext>
              <a:ext uri="{C183D7F6-B498-43B3-948B-1728B52AA6E4}">
                <adec:decorative xmlns:adec="http://schemas.microsoft.com/office/drawing/2017/decorative" val="0"/>
              </a:ext>
            </a:extLst>
          </p:cNvPr>
          <p:cNvGraphicFramePr>
            <a:graphicFrameLocks noGrp="1"/>
          </p:cNvGraphicFramePr>
          <p:nvPr>
            <p:ph idx="4294967295"/>
            <p:extLst>
              <p:ext uri="{D42A27DB-BD31-4B8C-83A1-F6EECF244321}">
                <p14:modId xmlns:p14="http://schemas.microsoft.com/office/powerpoint/2010/main" val="1290547236"/>
              </p:ext>
            </p:extLst>
          </p:nvPr>
        </p:nvGraphicFramePr>
        <p:xfrm>
          <a:off x="1977232" y="1814513"/>
          <a:ext cx="8237537" cy="3884612"/>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79241919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B491ED8-FB06-0D89-E077-BF3C65AEFB6B}"/>
              </a:ext>
            </a:extLst>
          </p:cNvPr>
          <p:cNvGraphicFramePr>
            <a:graphicFrameLocks noChangeAspect="1"/>
          </p:cNvGraphicFramePr>
          <p:nvPr>
            <p:custDataLst>
              <p:tags r:id="rId1"/>
            </p:custDataLst>
            <p:extLst>
              <p:ext uri="{D42A27DB-BD31-4B8C-83A1-F6EECF244321}">
                <p14:modId xmlns:p14="http://schemas.microsoft.com/office/powerpoint/2010/main" val="33800643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4" name="think-cell data - do not delete" hidden="1">
                        <a:extLst>
                          <a:ext uri="{FF2B5EF4-FFF2-40B4-BE49-F238E27FC236}">
                            <a16:creationId xmlns:a16="http://schemas.microsoft.com/office/drawing/2014/main" id="{1B491ED8-FB06-0D89-E077-BF3C65AEFB6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DA556EE-6908-41C2-85C3-0AD308BB87FD}"/>
              </a:ext>
            </a:extLst>
          </p:cNvPr>
          <p:cNvSpPr>
            <a:spLocks noGrp="1"/>
          </p:cNvSpPr>
          <p:nvPr>
            <p:ph type="title"/>
          </p:nvPr>
        </p:nvSpPr>
        <p:spPr/>
        <p:txBody>
          <a:bodyPr vert="horz"/>
          <a:lstStyle/>
          <a:p>
            <a:r>
              <a:rPr lang="pt-BR" noProof="1"/>
              <a:t>Radar chart example</a:t>
            </a:r>
          </a:p>
        </p:txBody>
      </p:sp>
      <p:graphicFrame>
        <p:nvGraphicFramePr>
          <p:cNvPr id="7" name="Object 2" descr="Example of a radar chart with three overlapping data series in different shades of purple and one highlighted in blue. The chart maps values across five criteria.">
            <a:extLst>
              <a:ext uri="{FF2B5EF4-FFF2-40B4-BE49-F238E27FC236}">
                <a16:creationId xmlns:a16="http://schemas.microsoft.com/office/drawing/2014/main" id="{31FA6C6E-9242-4A2A-B854-A18B81D2C8EC}"/>
              </a:ext>
            </a:extLst>
          </p:cNvPr>
          <p:cNvGraphicFramePr>
            <a:graphicFrameLocks/>
          </p:cNvGraphicFramePr>
          <p:nvPr>
            <p:extLst>
              <p:ext uri="{D42A27DB-BD31-4B8C-83A1-F6EECF244321}">
                <p14:modId xmlns:p14="http://schemas.microsoft.com/office/powerpoint/2010/main" val="1424009953"/>
              </p:ext>
            </p:extLst>
          </p:nvPr>
        </p:nvGraphicFramePr>
        <p:xfrm>
          <a:off x="554568" y="1002582"/>
          <a:ext cx="9489624" cy="5289729"/>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24472930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D1066CF-B144-EFAB-D1EC-86DB7ECD0645}"/>
              </a:ext>
            </a:extLst>
          </p:cNvPr>
          <p:cNvGraphicFramePr>
            <a:graphicFrameLocks noChangeAspect="1"/>
          </p:cNvGraphicFramePr>
          <p:nvPr>
            <p:custDataLst>
              <p:tags r:id="rId1"/>
            </p:custDataLst>
            <p:extLst>
              <p:ext uri="{D42A27DB-BD31-4B8C-83A1-F6EECF244321}">
                <p14:modId xmlns:p14="http://schemas.microsoft.com/office/powerpoint/2010/main" val="478942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50" imgH="350" progId="TCLayout.ActiveDocument.1">
                  <p:embed/>
                </p:oleObj>
              </mc:Choice>
              <mc:Fallback>
                <p:oleObj name="think-cell Slide" r:id="rId10" imgW="350" imgH="350" progId="TCLayout.ActiveDocument.1">
                  <p:embed/>
                  <p:pic>
                    <p:nvPicPr>
                      <p:cNvPr id="4" name="think-cell data - do not delete" hidden="1">
                        <a:extLst>
                          <a:ext uri="{FF2B5EF4-FFF2-40B4-BE49-F238E27FC236}">
                            <a16:creationId xmlns:a16="http://schemas.microsoft.com/office/drawing/2014/main" id="{CD1066CF-B144-EFAB-D1EC-86DB7ECD0645}"/>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DA556EE-6908-41C2-85C3-0AD308BB87FD}"/>
              </a:ext>
            </a:extLst>
          </p:cNvPr>
          <p:cNvSpPr>
            <a:spLocks noGrp="1"/>
          </p:cNvSpPr>
          <p:nvPr>
            <p:ph type="title"/>
          </p:nvPr>
        </p:nvSpPr>
        <p:spPr/>
        <p:txBody>
          <a:bodyPr vert="horz"/>
          <a:lstStyle/>
          <a:p>
            <a:r>
              <a:rPr lang="pt-BR" noProof="1"/>
              <a:t>XY matrix example</a:t>
            </a:r>
          </a:p>
        </p:txBody>
      </p:sp>
      <p:graphicFrame>
        <p:nvGraphicFramePr>
          <p:cNvPr id="54" name="Object 4" descr="Example of an XY matrix chart with data points plotted in a grid. Labels indicate high and low values on both X and Y axes.">
            <a:extLst>
              <a:ext uri="{FF2B5EF4-FFF2-40B4-BE49-F238E27FC236}">
                <a16:creationId xmlns:a16="http://schemas.microsoft.com/office/drawing/2014/main" id="{FB7F491E-D471-47A4-8FC9-08C8E7A2452F}"/>
              </a:ext>
              <a:ext uri="{C183D7F6-B498-43B3-948B-1728B52AA6E4}">
                <adec:decorative xmlns:adec="http://schemas.microsoft.com/office/drawing/2017/decorative" val="0"/>
              </a:ext>
            </a:extLst>
          </p:cNvPr>
          <p:cNvGraphicFramePr>
            <a:graphicFrameLocks noChangeAspect="1"/>
          </p:cNvGraphicFramePr>
          <p:nvPr>
            <p:custDataLst>
              <p:tags r:id="rId2"/>
            </p:custDataLst>
            <p:extLst>
              <p:ext uri="{D42A27DB-BD31-4B8C-83A1-F6EECF244321}">
                <p14:modId xmlns:p14="http://schemas.microsoft.com/office/powerpoint/2010/main" val="1572163449"/>
              </p:ext>
            </p:extLst>
          </p:nvPr>
        </p:nvGraphicFramePr>
        <p:xfrm>
          <a:off x="3277554" y="1781199"/>
          <a:ext cx="4696135" cy="4111407"/>
        </p:xfrm>
        <a:graphic>
          <a:graphicData uri="http://schemas.openxmlformats.org/drawingml/2006/chart">
            <c:chart xmlns:c="http://schemas.openxmlformats.org/drawingml/2006/chart" xmlns:r="http://schemas.openxmlformats.org/officeDocument/2006/relationships" r:id="rId12"/>
          </a:graphicData>
        </a:graphic>
      </p:graphicFrame>
      <p:sp>
        <p:nvSpPr>
          <p:cNvPr id="44" name="arrow">
            <a:extLst>
              <a:ext uri="{FF2B5EF4-FFF2-40B4-BE49-F238E27FC236}">
                <a16:creationId xmlns:a16="http://schemas.microsoft.com/office/drawing/2014/main" id="{DC19A5C4-E312-4C11-BC18-D08E71F300C2}"/>
              </a:ext>
              <a:ext uri="{C183D7F6-B498-43B3-948B-1728B52AA6E4}">
                <adec:decorative xmlns:adec="http://schemas.microsoft.com/office/drawing/2017/decorative" val="1"/>
              </a:ext>
            </a:extLst>
          </p:cNvPr>
          <p:cNvSpPr>
            <a:spLocks/>
          </p:cNvSpPr>
          <p:nvPr>
            <p:custDataLst>
              <p:tags r:id="rId3"/>
            </p:custDataLst>
          </p:nvPr>
        </p:nvSpPr>
        <p:spPr bwMode="auto">
          <a:xfrm>
            <a:off x="4324367" y="1627853"/>
            <a:ext cx="3737069" cy="3736115"/>
          </a:xfrm>
          <a:custGeom>
            <a:avLst/>
            <a:gdLst/>
            <a:ahLst/>
            <a:cxnLst>
              <a:cxn ang="0">
                <a:pos x="0" y="0"/>
              </a:cxn>
              <a:cxn ang="0">
                <a:pos x="0" y="2268"/>
              </a:cxn>
              <a:cxn ang="0">
                <a:pos x="2268" y="2268"/>
              </a:cxn>
            </a:cxnLst>
            <a:rect l="0" t="0" r="r" b="b"/>
            <a:pathLst>
              <a:path w="2268" h="2268">
                <a:moveTo>
                  <a:pt x="0" y="0"/>
                </a:moveTo>
                <a:lnTo>
                  <a:pt x="0" y="2268"/>
                </a:lnTo>
                <a:lnTo>
                  <a:pt x="2268" y="2268"/>
                </a:lnTo>
              </a:path>
            </a:pathLst>
          </a:custGeom>
          <a:noFill/>
          <a:ln w="12700" cap="flat" cmpd="sng">
            <a:solidFill>
              <a:schemeClr val="tx1"/>
            </a:solidFill>
            <a:prstDash val="solid"/>
            <a:round/>
            <a:headEnd type="triangle" w="med" len="med"/>
            <a:tailEnd type="triangle" w="med" len="med"/>
          </a:ln>
          <a:effectLst/>
        </p:spPr>
        <p:txBody>
          <a:bodyPr wrap="none" lIns="45720" rIns="45720"/>
          <a:lstStyle/>
          <a:p>
            <a:endParaRPr lang="pt-BR" sz="1351" noProof="1">
              <a:latin typeface="Graphik" panose="020B0503030202060203" pitchFamily="34" charset="77"/>
            </a:endParaRPr>
          </a:p>
        </p:txBody>
      </p:sp>
      <p:sp>
        <p:nvSpPr>
          <p:cNvPr id="47" name="Text Box 63">
            <a:extLst>
              <a:ext uri="{FF2B5EF4-FFF2-40B4-BE49-F238E27FC236}">
                <a16:creationId xmlns:a16="http://schemas.microsoft.com/office/drawing/2014/main" id="{C68AEE06-E13B-4750-92CE-D1D994404201}"/>
              </a:ext>
              <a:ext uri="{C183D7F6-B498-43B3-948B-1728B52AA6E4}">
                <adec:decorative xmlns:adec="http://schemas.microsoft.com/office/drawing/2017/decorative" val="1"/>
              </a:ext>
            </a:extLst>
          </p:cNvPr>
          <p:cNvSpPr txBox="1">
            <a:spLocks noChangeArrowheads="1"/>
          </p:cNvSpPr>
          <p:nvPr>
            <p:custDataLst>
              <p:tags r:id="rId4"/>
            </p:custDataLst>
          </p:nvPr>
        </p:nvSpPr>
        <p:spPr bwMode="auto">
          <a:xfrm>
            <a:off x="5005418" y="1484853"/>
            <a:ext cx="416781" cy="245640"/>
          </a:xfrm>
          <a:prstGeom prst="rect">
            <a:avLst/>
          </a:prstGeom>
          <a:noFill/>
          <a:ln w="3175">
            <a:noFill/>
            <a:miter lim="800000"/>
            <a:headEnd/>
            <a:tailEnd/>
          </a:ln>
          <a:effectLst/>
        </p:spPr>
        <p:txBody>
          <a:bodyPr wrap="none" lIns="0" tIns="0" rIns="0" bIns="36000" anchor="ctr">
            <a:spAutoFit/>
          </a:bodyPr>
          <a:lstStyle/>
          <a:p>
            <a:pPr algn="ctr" eaLnBrk="0" hangingPunct="0">
              <a:lnSpc>
                <a:spcPct val="85000"/>
              </a:lnSpc>
              <a:spcBef>
                <a:spcPct val="0"/>
              </a:spcBef>
            </a:pPr>
            <a:r>
              <a:rPr lang="pt-BR" sz="1600" b="1" noProof="1">
                <a:latin typeface="Graphik Semibold" panose="020B0503030202060203" pitchFamily="34" charset="77"/>
              </a:rPr>
              <a:t>Low</a:t>
            </a:r>
          </a:p>
        </p:txBody>
      </p:sp>
      <p:sp>
        <p:nvSpPr>
          <p:cNvPr id="48" name="Text Box 64">
            <a:extLst>
              <a:ext uri="{FF2B5EF4-FFF2-40B4-BE49-F238E27FC236}">
                <a16:creationId xmlns:a16="http://schemas.microsoft.com/office/drawing/2014/main" id="{9E9A6B87-2AAB-4F3C-9C1D-F094D2F7379E}"/>
              </a:ext>
              <a:ext uri="{C183D7F6-B498-43B3-948B-1728B52AA6E4}">
                <adec:decorative xmlns:adec="http://schemas.microsoft.com/office/drawing/2017/decorative" val="1"/>
              </a:ext>
            </a:extLst>
          </p:cNvPr>
          <p:cNvSpPr txBox="1">
            <a:spLocks noChangeArrowheads="1"/>
          </p:cNvSpPr>
          <p:nvPr>
            <p:custDataLst>
              <p:tags r:id="rId5"/>
            </p:custDataLst>
          </p:nvPr>
        </p:nvSpPr>
        <p:spPr bwMode="auto">
          <a:xfrm>
            <a:off x="6770844" y="1484853"/>
            <a:ext cx="480901" cy="245640"/>
          </a:xfrm>
          <a:prstGeom prst="rect">
            <a:avLst/>
          </a:prstGeom>
          <a:noFill/>
          <a:ln w="3175">
            <a:noFill/>
            <a:miter lim="800000"/>
            <a:headEnd/>
            <a:tailEnd/>
          </a:ln>
          <a:effectLst/>
        </p:spPr>
        <p:txBody>
          <a:bodyPr wrap="none" lIns="0" tIns="0" rIns="0" bIns="36000" anchor="ctr">
            <a:spAutoFit/>
          </a:bodyPr>
          <a:lstStyle/>
          <a:p>
            <a:pPr algn="ctr" eaLnBrk="0" hangingPunct="0">
              <a:lnSpc>
                <a:spcPct val="85000"/>
              </a:lnSpc>
              <a:spcBef>
                <a:spcPct val="0"/>
              </a:spcBef>
            </a:pPr>
            <a:r>
              <a:rPr lang="pt-BR" sz="1600" b="1" noProof="1">
                <a:latin typeface="Graphik Semibold" panose="020B0503030202060203" pitchFamily="34" charset="77"/>
              </a:rPr>
              <a:t>High</a:t>
            </a:r>
          </a:p>
        </p:txBody>
      </p:sp>
      <p:sp>
        <p:nvSpPr>
          <p:cNvPr id="45" name="Text Box 61">
            <a:extLst>
              <a:ext uri="{FF2B5EF4-FFF2-40B4-BE49-F238E27FC236}">
                <a16:creationId xmlns:a16="http://schemas.microsoft.com/office/drawing/2014/main" id="{B6324501-65BC-4134-BBC9-AF04ECC36B85}"/>
              </a:ext>
              <a:ext uri="{C183D7F6-B498-43B3-948B-1728B52AA6E4}">
                <adec:decorative xmlns:adec="http://schemas.microsoft.com/office/drawing/2017/decorative" val="1"/>
              </a:ext>
            </a:extLst>
          </p:cNvPr>
          <p:cNvSpPr txBox="1">
            <a:spLocks noChangeArrowheads="1"/>
          </p:cNvSpPr>
          <p:nvPr>
            <p:custDataLst>
              <p:tags r:id="rId6"/>
            </p:custDataLst>
          </p:nvPr>
        </p:nvSpPr>
        <p:spPr bwMode="auto">
          <a:xfrm>
            <a:off x="8021654" y="2563177"/>
            <a:ext cx="480901" cy="209288"/>
          </a:xfrm>
          <a:prstGeom prst="rect">
            <a:avLst/>
          </a:prstGeom>
          <a:noFill/>
          <a:ln w="3175">
            <a:noFill/>
            <a:miter lim="800000"/>
            <a:headEnd/>
            <a:tailEnd/>
          </a:ln>
          <a:effectLst/>
        </p:spPr>
        <p:txBody>
          <a:bodyPr wrap="none" lIns="0" tIns="0" rIns="0" bIns="0" anchor="ctr">
            <a:spAutoFit/>
          </a:bodyPr>
          <a:lstStyle/>
          <a:p>
            <a:pPr algn="l" eaLnBrk="0" hangingPunct="0">
              <a:lnSpc>
                <a:spcPct val="85000"/>
              </a:lnSpc>
              <a:spcBef>
                <a:spcPct val="0"/>
              </a:spcBef>
            </a:pPr>
            <a:r>
              <a:rPr lang="pt-BR" sz="1600" b="1" noProof="1">
                <a:latin typeface="Graphik Semibold" panose="020B0503030202060203" pitchFamily="34" charset="77"/>
              </a:rPr>
              <a:t>High</a:t>
            </a:r>
          </a:p>
        </p:txBody>
      </p:sp>
      <p:sp>
        <p:nvSpPr>
          <p:cNvPr id="46" name="Text Box 62">
            <a:extLst>
              <a:ext uri="{FF2B5EF4-FFF2-40B4-BE49-F238E27FC236}">
                <a16:creationId xmlns:a16="http://schemas.microsoft.com/office/drawing/2014/main" id="{67DA1EB2-5FC0-4F15-B9A2-9CC0FC3F1BF4}"/>
              </a:ext>
              <a:ext uri="{C183D7F6-B498-43B3-948B-1728B52AA6E4}">
                <adec:decorative xmlns:adec="http://schemas.microsoft.com/office/drawing/2017/decorative" val="1"/>
              </a:ext>
            </a:extLst>
          </p:cNvPr>
          <p:cNvSpPr txBox="1">
            <a:spLocks noChangeArrowheads="1"/>
          </p:cNvSpPr>
          <p:nvPr>
            <p:custDataLst>
              <p:tags r:id="rId7"/>
            </p:custDataLst>
          </p:nvPr>
        </p:nvSpPr>
        <p:spPr bwMode="auto">
          <a:xfrm>
            <a:off x="8021654" y="4372930"/>
            <a:ext cx="416781" cy="209288"/>
          </a:xfrm>
          <a:prstGeom prst="rect">
            <a:avLst/>
          </a:prstGeom>
          <a:noFill/>
          <a:ln w="3175">
            <a:noFill/>
            <a:miter lim="800000"/>
            <a:headEnd/>
            <a:tailEnd/>
          </a:ln>
          <a:effectLst/>
        </p:spPr>
        <p:txBody>
          <a:bodyPr wrap="none" lIns="0" tIns="0" rIns="0" bIns="0" anchor="ctr">
            <a:spAutoFit/>
          </a:bodyPr>
          <a:lstStyle/>
          <a:p>
            <a:pPr algn="l" eaLnBrk="0" hangingPunct="0">
              <a:lnSpc>
                <a:spcPct val="85000"/>
              </a:lnSpc>
              <a:spcBef>
                <a:spcPct val="0"/>
              </a:spcBef>
            </a:pPr>
            <a:r>
              <a:rPr lang="pt-BR" sz="1600" b="1" noProof="1">
                <a:latin typeface="Graphik Semibold" panose="020B0503030202060203" pitchFamily="34" charset="77"/>
              </a:rPr>
              <a:t>Low</a:t>
            </a:r>
          </a:p>
        </p:txBody>
      </p:sp>
    </p:spTree>
    <p:extLst>
      <p:ext uri="{BB962C8B-B14F-4D97-AF65-F5344CB8AC3E}">
        <p14:creationId xmlns:p14="http://schemas.microsoft.com/office/powerpoint/2010/main" val="319955070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668508C1-7127-6391-699A-A5A5CB39BF99}"/>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DF3EF81-612D-9304-B585-9F9220F9BA9A}"/>
              </a:ext>
            </a:extLst>
          </p:cNvPr>
          <p:cNvGraphicFramePr>
            <a:graphicFrameLocks noChangeAspect="1"/>
          </p:cNvGraphicFramePr>
          <p:nvPr>
            <p:custDataLst>
              <p:tags r:id="rId1"/>
            </p:custDataLst>
            <p:extLst>
              <p:ext uri="{D42A27DB-BD31-4B8C-83A1-F6EECF244321}">
                <p14:modId xmlns:p14="http://schemas.microsoft.com/office/powerpoint/2010/main" val="3486723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3" name="think-cell data - do not delete" hidden="1">
                        <a:extLst>
                          <a:ext uri="{FF2B5EF4-FFF2-40B4-BE49-F238E27FC236}">
                            <a16:creationId xmlns:a16="http://schemas.microsoft.com/office/drawing/2014/main" id="{0DF3EF81-612D-9304-B585-9F9220F9BA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92C31646-A874-B5BC-732D-7E9998B1A64F}"/>
              </a:ext>
              <a:ext uri="{C183D7F6-B498-43B3-948B-1728B52AA6E4}">
                <adec:decorative xmlns:adec="http://schemas.microsoft.com/office/drawing/2017/decorative" val="1"/>
              </a:ext>
            </a:extLst>
          </p:cNvPr>
          <p:cNvSpPr>
            <a:spLocks noGrp="1"/>
          </p:cNvSpPr>
          <p:nvPr>
            <p:ph type="body" sz="quarter" idx="11"/>
          </p:nvPr>
        </p:nvSpPr>
        <p:spPr>
          <a:xfrm>
            <a:off x="1189497" y="2433053"/>
            <a:ext cx="65" cy="1231106"/>
          </a:xfrm>
        </p:spPr>
        <p:txBody>
          <a:bodyPr/>
          <a:lstStyle/>
          <a:p>
            <a:endParaRPr lang="pt-BR" noProof="1"/>
          </a:p>
        </p:txBody>
      </p:sp>
      <p:sp>
        <p:nvSpPr>
          <p:cNvPr id="7" name="Title 6">
            <a:extLst>
              <a:ext uri="{FF2B5EF4-FFF2-40B4-BE49-F238E27FC236}">
                <a16:creationId xmlns:a16="http://schemas.microsoft.com/office/drawing/2014/main" id="{FED39209-0EEE-C020-24A9-7E5A545CC434}"/>
              </a:ext>
            </a:extLst>
          </p:cNvPr>
          <p:cNvSpPr>
            <a:spLocks noGrp="1"/>
          </p:cNvSpPr>
          <p:nvPr>
            <p:ph type="ctrTitle"/>
          </p:nvPr>
        </p:nvSpPr>
        <p:spPr>
          <a:xfrm>
            <a:off x="1182795" y="3776810"/>
            <a:ext cx="6831047" cy="1329595"/>
          </a:xfrm>
        </p:spPr>
        <p:txBody>
          <a:bodyPr vert="horz"/>
          <a:lstStyle/>
          <a:p>
            <a:r>
              <a:rPr lang="pt-BR" noProof="1"/>
              <a:t>Flows, diagrams,</a:t>
            </a:r>
            <a:br>
              <a:rPr lang="pt-BR" noProof="1"/>
            </a:br>
            <a:r>
              <a:rPr lang="pt-BR" noProof="1"/>
              <a:t>and other structures</a:t>
            </a:r>
          </a:p>
        </p:txBody>
      </p:sp>
      <p:sp>
        <p:nvSpPr>
          <p:cNvPr id="4" name="Text Placeholder 3">
            <a:extLst>
              <a:ext uri="{FF2B5EF4-FFF2-40B4-BE49-F238E27FC236}">
                <a16:creationId xmlns:a16="http://schemas.microsoft.com/office/drawing/2014/main" id="{5DE1C152-96B2-9B2B-6FE2-E4CAE70D4437}"/>
              </a:ext>
            </a:extLst>
          </p:cNvPr>
          <p:cNvSpPr>
            <a:spLocks noGrp="1"/>
          </p:cNvSpPr>
          <p:nvPr>
            <p:ph type="subTitle" idx="1"/>
          </p:nvPr>
        </p:nvSpPr>
        <p:spPr>
          <a:xfrm>
            <a:off x="1182795" y="5219056"/>
            <a:ext cx="6831047" cy="1092845"/>
          </a:xfrm>
        </p:spPr>
        <p:txBody>
          <a:bodyPr/>
          <a:lstStyle/>
          <a:p>
            <a:r>
              <a:rPr lang="pt-BR" noProof="1"/>
              <a:t>Visual frameworks for structure and clarity.</a:t>
            </a:r>
          </a:p>
        </p:txBody>
      </p:sp>
    </p:spTree>
    <p:extLst>
      <p:ext uri="{BB962C8B-B14F-4D97-AF65-F5344CB8AC3E}">
        <p14:creationId xmlns:p14="http://schemas.microsoft.com/office/powerpoint/2010/main" val="312438303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A7715E35-A55A-6D90-6166-83015168402B}"/>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24FF909-C50D-5192-E3F0-317D7E127DD8}"/>
              </a:ext>
            </a:extLst>
          </p:cNvPr>
          <p:cNvGraphicFramePr>
            <a:graphicFrameLocks noChangeAspect="1"/>
          </p:cNvGraphicFramePr>
          <p:nvPr>
            <p:custDataLst>
              <p:tags r:id="rId1"/>
            </p:custDataLst>
            <p:extLst>
              <p:ext uri="{D42A27DB-BD31-4B8C-83A1-F6EECF244321}">
                <p14:modId xmlns:p14="http://schemas.microsoft.com/office/powerpoint/2010/main" val="826198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5" name="think-cell data - do not delete" hidden="1">
                        <a:extLst>
                          <a:ext uri="{FF2B5EF4-FFF2-40B4-BE49-F238E27FC236}">
                            <a16:creationId xmlns:a16="http://schemas.microsoft.com/office/drawing/2014/main" id="{B24FF909-C50D-5192-E3F0-317D7E127DD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2EE1E5C-D7E3-4027-9B26-7A623B3E2C38}"/>
              </a:ext>
            </a:extLst>
          </p:cNvPr>
          <p:cNvSpPr>
            <a:spLocks noGrp="1"/>
          </p:cNvSpPr>
          <p:nvPr>
            <p:ph type="title"/>
          </p:nvPr>
        </p:nvSpPr>
        <p:spPr>
          <a:xfrm>
            <a:off x="565460" y="558086"/>
            <a:ext cx="11357865" cy="393954"/>
          </a:xfrm>
        </p:spPr>
        <p:txBody>
          <a:bodyPr vert="horz"/>
          <a:lstStyle/>
          <a:p>
            <a:r>
              <a:rPr lang="pt-BR" noProof="1"/>
              <a:t>Circle illustration</a:t>
            </a:r>
          </a:p>
        </p:txBody>
      </p:sp>
      <p:grpSp>
        <p:nvGrpSpPr>
          <p:cNvPr id="3" name="Group 2" descr="Example of a circular diagram with multiple segments and labels pointing to different sections, designed for illustrative purposes.">
            <a:extLst>
              <a:ext uri="{FF2B5EF4-FFF2-40B4-BE49-F238E27FC236}">
                <a16:creationId xmlns:a16="http://schemas.microsoft.com/office/drawing/2014/main" id="{E964FCEA-A287-7381-138A-988FC35DD521}"/>
              </a:ext>
            </a:extLst>
          </p:cNvPr>
          <p:cNvGrpSpPr/>
          <p:nvPr/>
        </p:nvGrpSpPr>
        <p:grpSpPr>
          <a:xfrm>
            <a:off x="2922954" y="1934876"/>
            <a:ext cx="6346092" cy="3305830"/>
            <a:chOff x="1822450" y="1641474"/>
            <a:chExt cx="8540749" cy="4449078"/>
          </a:xfrm>
        </p:grpSpPr>
        <p:grpSp>
          <p:nvGrpSpPr>
            <p:cNvPr id="24" name="Group 34">
              <a:extLst>
                <a:ext uri="{FF2B5EF4-FFF2-40B4-BE49-F238E27FC236}">
                  <a16:creationId xmlns:a16="http://schemas.microsoft.com/office/drawing/2014/main" id="{2F3DFD06-9D19-3189-5349-31AFC02DCBDA}"/>
                </a:ext>
                <a:ext uri="{C183D7F6-B498-43B3-948B-1728B52AA6E4}">
                  <adec:decorative xmlns:adec="http://schemas.microsoft.com/office/drawing/2017/decorative" val="1"/>
                </a:ext>
              </a:extLst>
            </p:cNvPr>
            <p:cNvGrpSpPr/>
            <p:nvPr/>
          </p:nvGrpSpPr>
          <p:grpSpPr bwMode="auto">
            <a:xfrm>
              <a:off x="3903026" y="1641474"/>
              <a:ext cx="4416425" cy="4416426"/>
              <a:chOff x="2363788" y="1670050"/>
              <a:chExt cx="4416425" cy="4416426"/>
            </a:xfrm>
          </p:grpSpPr>
          <p:sp>
            <p:nvSpPr>
              <p:cNvPr id="25" name="Freeform 6">
                <a:extLst>
                  <a:ext uri="{FF2B5EF4-FFF2-40B4-BE49-F238E27FC236}">
                    <a16:creationId xmlns:a16="http://schemas.microsoft.com/office/drawing/2014/main" id="{67D51E3F-72D7-9D5C-A362-C5B3D850AE56}"/>
                  </a:ext>
                </a:extLst>
              </p:cNvPr>
              <p:cNvSpPr>
                <a:spLocks/>
              </p:cNvSpPr>
              <p:nvPr/>
            </p:nvSpPr>
            <p:spPr bwMode="auto">
              <a:xfrm>
                <a:off x="2676526" y="1670050"/>
                <a:ext cx="3794125" cy="1362075"/>
              </a:xfrm>
              <a:custGeom>
                <a:avLst/>
                <a:gdLst/>
                <a:ahLst/>
                <a:cxnLst>
                  <a:cxn ang="0">
                    <a:pos x="1229" y="351"/>
                  </a:cxn>
                  <a:cxn ang="0">
                    <a:pos x="1334" y="360"/>
                  </a:cxn>
                  <a:cxn ang="0">
                    <a:pos x="1434" y="380"/>
                  </a:cxn>
                  <a:cxn ang="0">
                    <a:pos x="1532" y="408"/>
                  </a:cxn>
                  <a:cxn ang="0">
                    <a:pos x="1625" y="444"/>
                  </a:cxn>
                  <a:cxn ang="0">
                    <a:pos x="1713" y="491"/>
                  </a:cxn>
                  <a:cxn ang="0">
                    <a:pos x="1797" y="545"/>
                  </a:cxn>
                  <a:cxn ang="0">
                    <a:pos x="1875" y="606"/>
                  </a:cxn>
                  <a:cxn ang="0">
                    <a:pos x="1946" y="674"/>
                  </a:cxn>
                  <a:cxn ang="0">
                    <a:pos x="2010" y="749"/>
                  </a:cxn>
                  <a:cxn ang="0">
                    <a:pos x="2069" y="830"/>
                  </a:cxn>
                  <a:cxn ang="0">
                    <a:pos x="2390" y="683"/>
                  </a:cxn>
                  <a:cxn ang="0">
                    <a:pos x="2316" y="570"/>
                  </a:cxn>
                  <a:cxn ang="0">
                    <a:pos x="2234" y="468"/>
                  </a:cxn>
                  <a:cxn ang="0">
                    <a:pos x="2141" y="372"/>
                  </a:cxn>
                  <a:cxn ang="0">
                    <a:pos x="2039" y="287"/>
                  </a:cxn>
                  <a:cxn ang="0">
                    <a:pos x="1931" y="212"/>
                  </a:cxn>
                  <a:cxn ang="0">
                    <a:pos x="1814" y="146"/>
                  </a:cxn>
                  <a:cxn ang="0">
                    <a:pos x="1691" y="92"/>
                  </a:cxn>
                  <a:cxn ang="0">
                    <a:pos x="1562" y="50"/>
                  </a:cxn>
                  <a:cxn ang="0">
                    <a:pos x="1427" y="20"/>
                  </a:cxn>
                  <a:cxn ang="0">
                    <a:pos x="1289" y="3"/>
                  </a:cxn>
                  <a:cxn ang="0">
                    <a:pos x="1194" y="0"/>
                  </a:cxn>
                  <a:cxn ang="0">
                    <a:pos x="1053" y="8"/>
                  </a:cxn>
                  <a:cxn ang="0">
                    <a:pos x="916" y="29"/>
                  </a:cxn>
                  <a:cxn ang="0">
                    <a:pos x="784" y="62"/>
                  </a:cxn>
                  <a:cxn ang="0">
                    <a:pos x="657" y="108"/>
                  </a:cxn>
                  <a:cxn ang="0">
                    <a:pos x="537" y="165"/>
                  </a:cxn>
                  <a:cxn ang="0">
                    <a:pos x="423" y="234"/>
                  </a:cxn>
                  <a:cxn ang="0">
                    <a:pos x="316" y="312"/>
                  </a:cxn>
                  <a:cxn ang="0">
                    <a:pos x="217" y="401"/>
                  </a:cxn>
                  <a:cxn ang="0">
                    <a:pos x="127" y="498"/>
                  </a:cxn>
                  <a:cxn ang="0">
                    <a:pos x="48" y="603"/>
                  </a:cxn>
                  <a:cxn ang="0">
                    <a:pos x="304" y="854"/>
                  </a:cxn>
                  <a:cxn ang="0">
                    <a:pos x="340" y="798"/>
                  </a:cxn>
                  <a:cxn ang="0">
                    <a:pos x="400" y="720"/>
                  </a:cxn>
                  <a:cxn ang="0">
                    <a:pos x="468" y="648"/>
                  </a:cxn>
                  <a:cxn ang="0">
                    <a:pos x="540" y="582"/>
                  </a:cxn>
                  <a:cxn ang="0">
                    <a:pos x="619" y="524"/>
                  </a:cxn>
                  <a:cxn ang="0">
                    <a:pos x="705" y="473"/>
                  </a:cxn>
                  <a:cxn ang="0">
                    <a:pos x="795" y="431"/>
                  </a:cxn>
                  <a:cxn ang="0">
                    <a:pos x="889" y="396"/>
                  </a:cxn>
                  <a:cxn ang="0">
                    <a:pos x="987" y="372"/>
                  </a:cxn>
                  <a:cxn ang="0">
                    <a:pos x="1089" y="356"/>
                  </a:cxn>
                  <a:cxn ang="0">
                    <a:pos x="1194" y="351"/>
                  </a:cxn>
                </a:cxnLst>
                <a:rect l="0" t="0" r="r" b="b"/>
                <a:pathLst>
                  <a:path w="2390" h="858">
                    <a:moveTo>
                      <a:pt x="1194" y="351"/>
                    </a:moveTo>
                    <a:lnTo>
                      <a:pt x="1194" y="351"/>
                    </a:lnTo>
                    <a:lnTo>
                      <a:pt x="1229" y="351"/>
                    </a:lnTo>
                    <a:lnTo>
                      <a:pt x="1265" y="353"/>
                    </a:lnTo>
                    <a:lnTo>
                      <a:pt x="1299" y="356"/>
                    </a:lnTo>
                    <a:lnTo>
                      <a:pt x="1334" y="360"/>
                    </a:lnTo>
                    <a:lnTo>
                      <a:pt x="1367" y="366"/>
                    </a:lnTo>
                    <a:lnTo>
                      <a:pt x="1401" y="372"/>
                    </a:lnTo>
                    <a:lnTo>
                      <a:pt x="1434" y="380"/>
                    </a:lnTo>
                    <a:lnTo>
                      <a:pt x="1467" y="387"/>
                    </a:lnTo>
                    <a:lnTo>
                      <a:pt x="1500" y="398"/>
                    </a:lnTo>
                    <a:lnTo>
                      <a:pt x="1532" y="408"/>
                    </a:lnTo>
                    <a:lnTo>
                      <a:pt x="1563" y="419"/>
                    </a:lnTo>
                    <a:lnTo>
                      <a:pt x="1595" y="431"/>
                    </a:lnTo>
                    <a:lnTo>
                      <a:pt x="1625" y="444"/>
                    </a:lnTo>
                    <a:lnTo>
                      <a:pt x="1655" y="459"/>
                    </a:lnTo>
                    <a:lnTo>
                      <a:pt x="1685" y="474"/>
                    </a:lnTo>
                    <a:lnTo>
                      <a:pt x="1713" y="491"/>
                    </a:lnTo>
                    <a:lnTo>
                      <a:pt x="1742" y="507"/>
                    </a:lnTo>
                    <a:lnTo>
                      <a:pt x="1770" y="525"/>
                    </a:lnTo>
                    <a:lnTo>
                      <a:pt x="1797" y="545"/>
                    </a:lnTo>
                    <a:lnTo>
                      <a:pt x="1824" y="564"/>
                    </a:lnTo>
                    <a:lnTo>
                      <a:pt x="1850" y="585"/>
                    </a:lnTo>
                    <a:lnTo>
                      <a:pt x="1875" y="606"/>
                    </a:lnTo>
                    <a:lnTo>
                      <a:pt x="1899" y="627"/>
                    </a:lnTo>
                    <a:lnTo>
                      <a:pt x="1923" y="651"/>
                    </a:lnTo>
                    <a:lnTo>
                      <a:pt x="1946" y="674"/>
                    </a:lnTo>
                    <a:lnTo>
                      <a:pt x="1968" y="698"/>
                    </a:lnTo>
                    <a:lnTo>
                      <a:pt x="1991" y="723"/>
                    </a:lnTo>
                    <a:lnTo>
                      <a:pt x="2010" y="749"/>
                    </a:lnTo>
                    <a:lnTo>
                      <a:pt x="2031" y="776"/>
                    </a:lnTo>
                    <a:lnTo>
                      <a:pt x="2051" y="803"/>
                    </a:lnTo>
                    <a:lnTo>
                      <a:pt x="2069" y="830"/>
                    </a:lnTo>
                    <a:lnTo>
                      <a:pt x="2085" y="858"/>
                    </a:lnTo>
                    <a:lnTo>
                      <a:pt x="2390" y="683"/>
                    </a:lnTo>
                    <a:lnTo>
                      <a:pt x="2390" y="683"/>
                    </a:lnTo>
                    <a:lnTo>
                      <a:pt x="2367" y="644"/>
                    </a:lnTo>
                    <a:lnTo>
                      <a:pt x="2343" y="608"/>
                    </a:lnTo>
                    <a:lnTo>
                      <a:pt x="2316" y="570"/>
                    </a:lnTo>
                    <a:lnTo>
                      <a:pt x="2291" y="536"/>
                    </a:lnTo>
                    <a:lnTo>
                      <a:pt x="2262" y="501"/>
                    </a:lnTo>
                    <a:lnTo>
                      <a:pt x="2234" y="468"/>
                    </a:lnTo>
                    <a:lnTo>
                      <a:pt x="2204" y="435"/>
                    </a:lnTo>
                    <a:lnTo>
                      <a:pt x="2172" y="404"/>
                    </a:lnTo>
                    <a:lnTo>
                      <a:pt x="2141" y="372"/>
                    </a:lnTo>
                    <a:lnTo>
                      <a:pt x="2108" y="344"/>
                    </a:lnTo>
                    <a:lnTo>
                      <a:pt x="2075" y="315"/>
                    </a:lnTo>
                    <a:lnTo>
                      <a:pt x="2039" y="287"/>
                    </a:lnTo>
                    <a:lnTo>
                      <a:pt x="2004" y="261"/>
                    </a:lnTo>
                    <a:lnTo>
                      <a:pt x="1967" y="236"/>
                    </a:lnTo>
                    <a:lnTo>
                      <a:pt x="1931" y="212"/>
                    </a:lnTo>
                    <a:lnTo>
                      <a:pt x="1892" y="188"/>
                    </a:lnTo>
                    <a:lnTo>
                      <a:pt x="1853" y="167"/>
                    </a:lnTo>
                    <a:lnTo>
                      <a:pt x="1814" y="146"/>
                    </a:lnTo>
                    <a:lnTo>
                      <a:pt x="1773" y="126"/>
                    </a:lnTo>
                    <a:lnTo>
                      <a:pt x="1733" y="108"/>
                    </a:lnTo>
                    <a:lnTo>
                      <a:pt x="1691" y="92"/>
                    </a:lnTo>
                    <a:lnTo>
                      <a:pt x="1649" y="77"/>
                    </a:lnTo>
                    <a:lnTo>
                      <a:pt x="1605" y="62"/>
                    </a:lnTo>
                    <a:lnTo>
                      <a:pt x="1562" y="50"/>
                    </a:lnTo>
                    <a:lnTo>
                      <a:pt x="1517" y="38"/>
                    </a:lnTo>
                    <a:lnTo>
                      <a:pt x="1473" y="29"/>
                    </a:lnTo>
                    <a:lnTo>
                      <a:pt x="1427" y="20"/>
                    </a:lnTo>
                    <a:lnTo>
                      <a:pt x="1382" y="14"/>
                    </a:lnTo>
                    <a:lnTo>
                      <a:pt x="1335" y="8"/>
                    </a:lnTo>
                    <a:lnTo>
                      <a:pt x="1289" y="3"/>
                    </a:lnTo>
                    <a:lnTo>
                      <a:pt x="1241" y="2"/>
                    </a:lnTo>
                    <a:lnTo>
                      <a:pt x="1194" y="0"/>
                    </a:lnTo>
                    <a:lnTo>
                      <a:pt x="1194" y="0"/>
                    </a:lnTo>
                    <a:lnTo>
                      <a:pt x="1146" y="2"/>
                    </a:lnTo>
                    <a:lnTo>
                      <a:pt x="1099" y="3"/>
                    </a:lnTo>
                    <a:lnTo>
                      <a:pt x="1053" y="8"/>
                    </a:lnTo>
                    <a:lnTo>
                      <a:pt x="1006" y="12"/>
                    </a:lnTo>
                    <a:lnTo>
                      <a:pt x="961" y="20"/>
                    </a:lnTo>
                    <a:lnTo>
                      <a:pt x="916" y="29"/>
                    </a:lnTo>
                    <a:lnTo>
                      <a:pt x="871" y="38"/>
                    </a:lnTo>
                    <a:lnTo>
                      <a:pt x="828" y="50"/>
                    </a:lnTo>
                    <a:lnTo>
                      <a:pt x="784" y="62"/>
                    </a:lnTo>
                    <a:lnTo>
                      <a:pt x="741" y="75"/>
                    </a:lnTo>
                    <a:lnTo>
                      <a:pt x="699" y="92"/>
                    </a:lnTo>
                    <a:lnTo>
                      <a:pt x="657" y="108"/>
                    </a:lnTo>
                    <a:lnTo>
                      <a:pt x="616" y="126"/>
                    </a:lnTo>
                    <a:lnTo>
                      <a:pt x="576" y="144"/>
                    </a:lnTo>
                    <a:lnTo>
                      <a:pt x="537" y="165"/>
                    </a:lnTo>
                    <a:lnTo>
                      <a:pt x="498" y="186"/>
                    </a:lnTo>
                    <a:lnTo>
                      <a:pt x="460" y="210"/>
                    </a:lnTo>
                    <a:lnTo>
                      <a:pt x="423" y="234"/>
                    </a:lnTo>
                    <a:lnTo>
                      <a:pt x="385" y="258"/>
                    </a:lnTo>
                    <a:lnTo>
                      <a:pt x="351" y="285"/>
                    </a:lnTo>
                    <a:lnTo>
                      <a:pt x="316" y="312"/>
                    </a:lnTo>
                    <a:lnTo>
                      <a:pt x="282" y="341"/>
                    </a:lnTo>
                    <a:lnTo>
                      <a:pt x="249" y="371"/>
                    </a:lnTo>
                    <a:lnTo>
                      <a:pt x="217" y="401"/>
                    </a:lnTo>
                    <a:lnTo>
                      <a:pt x="186" y="432"/>
                    </a:lnTo>
                    <a:lnTo>
                      <a:pt x="157" y="464"/>
                    </a:lnTo>
                    <a:lnTo>
                      <a:pt x="127" y="498"/>
                    </a:lnTo>
                    <a:lnTo>
                      <a:pt x="100" y="531"/>
                    </a:lnTo>
                    <a:lnTo>
                      <a:pt x="73" y="567"/>
                    </a:lnTo>
                    <a:lnTo>
                      <a:pt x="48" y="603"/>
                    </a:lnTo>
                    <a:lnTo>
                      <a:pt x="24" y="639"/>
                    </a:lnTo>
                    <a:lnTo>
                      <a:pt x="0" y="677"/>
                    </a:lnTo>
                    <a:lnTo>
                      <a:pt x="304" y="854"/>
                    </a:lnTo>
                    <a:lnTo>
                      <a:pt x="304" y="854"/>
                    </a:lnTo>
                    <a:lnTo>
                      <a:pt x="322" y="825"/>
                    </a:lnTo>
                    <a:lnTo>
                      <a:pt x="340" y="798"/>
                    </a:lnTo>
                    <a:lnTo>
                      <a:pt x="360" y="771"/>
                    </a:lnTo>
                    <a:lnTo>
                      <a:pt x="379" y="746"/>
                    </a:lnTo>
                    <a:lnTo>
                      <a:pt x="400" y="720"/>
                    </a:lnTo>
                    <a:lnTo>
                      <a:pt x="421" y="695"/>
                    </a:lnTo>
                    <a:lnTo>
                      <a:pt x="444" y="671"/>
                    </a:lnTo>
                    <a:lnTo>
                      <a:pt x="468" y="648"/>
                    </a:lnTo>
                    <a:lnTo>
                      <a:pt x="490" y="626"/>
                    </a:lnTo>
                    <a:lnTo>
                      <a:pt x="516" y="603"/>
                    </a:lnTo>
                    <a:lnTo>
                      <a:pt x="540" y="582"/>
                    </a:lnTo>
                    <a:lnTo>
                      <a:pt x="567" y="563"/>
                    </a:lnTo>
                    <a:lnTo>
                      <a:pt x="592" y="543"/>
                    </a:lnTo>
                    <a:lnTo>
                      <a:pt x="619" y="524"/>
                    </a:lnTo>
                    <a:lnTo>
                      <a:pt x="648" y="506"/>
                    </a:lnTo>
                    <a:lnTo>
                      <a:pt x="676" y="489"/>
                    </a:lnTo>
                    <a:lnTo>
                      <a:pt x="705" y="473"/>
                    </a:lnTo>
                    <a:lnTo>
                      <a:pt x="735" y="458"/>
                    </a:lnTo>
                    <a:lnTo>
                      <a:pt x="765" y="444"/>
                    </a:lnTo>
                    <a:lnTo>
                      <a:pt x="795" y="431"/>
                    </a:lnTo>
                    <a:lnTo>
                      <a:pt x="826" y="419"/>
                    </a:lnTo>
                    <a:lnTo>
                      <a:pt x="856" y="407"/>
                    </a:lnTo>
                    <a:lnTo>
                      <a:pt x="889" y="396"/>
                    </a:lnTo>
                    <a:lnTo>
                      <a:pt x="921" y="387"/>
                    </a:lnTo>
                    <a:lnTo>
                      <a:pt x="954" y="378"/>
                    </a:lnTo>
                    <a:lnTo>
                      <a:pt x="987" y="372"/>
                    </a:lnTo>
                    <a:lnTo>
                      <a:pt x="1021" y="365"/>
                    </a:lnTo>
                    <a:lnTo>
                      <a:pt x="1054" y="360"/>
                    </a:lnTo>
                    <a:lnTo>
                      <a:pt x="1089" y="356"/>
                    </a:lnTo>
                    <a:lnTo>
                      <a:pt x="1123" y="353"/>
                    </a:lnTo>
                    <a:lnTo>
                      <a:pt x="1158" y="351"/>
                    </a:lnTo>
                    <a:lnTo>
                      <a:pt x="1194" y="351"/>
                    </a:lnTo>
                    <a:lnTo>
                      <a:pt x="1194" y="351"/>
                    </a:lnTo>
                    <a:close/>
                  </a:path>
                </a:pathLst>
              </a:custGeom>
              <a:solidFill>
                <a:schemeClr val="accent2">
                  <a:lumMod val="50000"/>
                  <a:alpha val="7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pt-BR" sz="1400" noProof="1">
                  <a:latin typeface="Graphik" panose="020B0503030202060203" pitchFamily="34" charset="77"/>
                </a:endParaRPr>
              </a:p>
            </p:txBody>
          </p:sp>
          <p:sp>
            <p:nvSpPr>
              <p:cNvPr id="26" name="Freeform 7">
                <a:extLst>
                  <a:ext uri="{FF2B5EF4-FFF2-40B4-BE49-F238E27FC236}">
                    <a16:creationId xmlns:a16="http://schemas.microsoft.com/office/drawing/2014/main" id="{71B9AD76-117C-2EDE-33DD-0A0FEBA64015}"/>
                  </a:ext>
                </a:extLst>
              </p:cNvPr>
              <p:cNvSpPr>
                <a:spLocks/>
              </p:cNvSpPr>
              <p:nvPr/>
            </p:nvSpPr>
            <p:spPr bwMode="auto">
              <a:xfrm>
                <a:off x="3216276" y="2293938"/>
                <a:ext cx="2713038" cy="1050925"/>
              </a:xfrm>
              <a:custGeom>
                <a:avLst/>
                <a:gdLst/>
                <a:ahLst/>
                <a:cxnLst>
                  <a:cxn ang="0">
                    <a:pos x="854" y="0"/>
                  </a:cxn>
                  <a:cxn ang="0">
                    <a:pos x="786" y="2"/>
                  </a:cxn>
                  <a:cxn ang="0">
                    <a:pos x="720" y="9"/>
                  </a:cxn>
                  <a:cxn ang="0">
                    <a:pos x="656" y="20"/>
                  </a:cxn>
                  <a:cxn ang="0">
                    <a:pos x="593" y="35"/>
                  </a:cxn>
                  <a:cxn ang="0">
                    <a:pos x="531" y="54"/>
                  </a:cxn>
                  <a:cxn ang="0">
                    <a:pos x="471" y="77"/>
                  </a:cxn>
                  <a:cxn ang="0">
                    <a:pos x="413" y="102"/>
                  </a:cxn>
                  <a:cxn ang="0">
                    <a:pos x="357" y="132"/>
                  </a:cxn>
                  <a:cxn ang="0">
                    <a:pos x="303" y="165"/>
                  </a:cxn>
                  <a:cxn ang="0">
                    <a:pos x="252" y="203"/>
                  </a:cxn>
                  <a:cxn ang="0">
                    <a:pos x="203" y="242"/>
                  </a:cxn>
                  <a:cxn ang="0">
                    <a:pos x="156" y="284"/>
                  </a:cxn>
                  <a:cxn ang="0">
                    <a:pos x="113" y="330"/>
                  </a:cxn>
                  <a:cxn ang="0">
                    <a:pos x="72" y="378"/>
                  </a:cxn>
                  <a:cxn ang="0">
                    <a:pos x="35" y="428"/>
                  </a:cxn>
                  <a:cxn ang="0">
                    <a:pos x="0" y="482"/>
                  </a:cxn>
                  <a:cxn ang="0">
                    <a:pos x="305" y="657"/>
                  </a:cxn>
                  <a:cxn ang="0">
                    <a:pos x="351" y="591"/>
                  </a:cxn>
                  <a:cxn ang="0">
                    <a:pos x="407" y="533"/>
                  </a:cxn>
                  <a:cxn ang="0">
                    <a:pos x="468" y="480"/>
                  </a:cxn>
                  <a:cxn ang="0">
                    <a:pos x="536" y="437"/>
                  </a:cxn>
                  <a:cxn ang="0">
                    <a:pos x="608" y="401"/>
                  </a:cxn>
                  <a:cxn ang="0">
                    <a:pos x="686" y="374"/>
                  </a:cxn>
                  <a:cxn ang="0">
                    <a:pos x="768" y="357"/>
                  </a:cxn>
                  <a:cxn ang="0">
                    <a:pos x="854" y="353"/>
                  </a:cxn>
                  <a:cxn ang="0">
                    <a:pos x="898" y="354"/>
                  </a:cxn>
                  <a:cxn ang="0">
                    <a:pos x="982" y="365"/>
                  </a:cxn>
                  <a:cxn ang="0">
                    <a:pos x="1063" y="387"/>
                  </a:cxn>
                  <a:cxn ang="0">
                    <a:pos x="1138" y="419"/>
                  </a:cxn>
                  <a:cxn ang="0">
                    <a:pos x="1210" y="459"/>
                  </a:cxn>
                  <a:cxn ang="0">
                    <a:pos x="1274" y="507"/>
                  </a:cxn>
                  <a:cxn ang="0">
                    <a:pos x="1333" y="564"/>
                  </a:cxn>
                  <a:cxn ang="0">
                    <a:pos x="1382" y="627"/>
                  </a:cxn>
                  <a:cxn ang="0">
                    <a:pos x="1709" y="486"/>
                  </a:cxn>
                  <a:cxn ang="0">
                    <a:pos x="1693" y="459"/>
                  </a:cxn>
                  <a:cxn ang="0">
                    <a:pos x="1657" y="407"/>
                  </a:cxn>
                  <a:cxn ang="0">
                    <a:pos x="1618" y="357"/>
                  </a:cxn>
                  <a:cxn ang="0">
                    <a:pos x="1576" y="309"/>
                  </a:cxn>
                  <a:cxn ang="0">
                    <a:pos x="1531" y="266"/>
                  </a:cxn>
                  <a:cxn ang="0">
                    <a:pos x="1483" y="224"/>
                  </a:cxn>
                  <a:cxn ang="0">
                    <a:pos x="1432" y="186"/>
                  </a:cxn>
                  <a:cxn ang="0">
                    <a:pos x="1379" y="150"/>
                  </a:cxn>
                  <a:cxn ang="0">
                    <a:pos x="1325" y="119"/>
                  </a:cxn>
                  <a:cxn ang="0">
                    <a:pos x="1267" y="90"/>
                  </a:cxn>
                  <a:cxn ang="0">
                    <a:pos x="1208" y="65"/>
                  </a:cxn>
                  <a:cxn ang="0">
                    <a:pos x="1147" y="44"/>
                  </a:cxn>
                  <a:cxn ang="0">
                    <a:pos x="1085" y="27"/>
                  </a:cxn>
                  <a:cxn ang="0">
                    <a:pos x="1021" y="14"/>
                  </a:cxn>
                  <a:cxn ang="0">
                    <a:pos x="955" y="5"/>
                  </a:cxn>
                  <a:cxn ang="0">
                    <a:pos x="887" y="0"/>
                  </a:cxn>
                  <a:cxn ang="0">
                    <a:pos x="854" y="0"/>
                  </a:cxn>
                </a:cxnLst>
                <a:rect l="0" t="0" r="r" b="b"/>
                <a:pathLst>
                  <a:path w="1709" h="662">
                    <a:moveTo>
                      <a:pt x="854" y="0"/>
                    </a:moveTo>
                    <a:lnTo>
                      <a:pt x="854" y="0"/>
                    </a:lnTo>
                    <a:lnTo>
                      <a:pt x="819" y="0"/>
                    </a:lnTo>
                    <a:lnTo>
                      <a:pt x="786" y="2"/>
                    </a:lnTo>
                    <a:lnTo>
                      <a:pt x="753" y="5"/>
                    </a:lnTo>
                    <a:lnTo>
                      <a:pt x="720" y="9"/>
                    </a:lnTo>
                    <a:lnTo>
                      <a:pt x="687" y="14"/>
                    </a:lnTo>
                    <a:lnTo>
                      <a:pt x="656" y="20"/>
                    </a:lnTo>
                    <a:lnTo>
                      <a:pt x="624" y="27"/>
                    </a:lnTo>
                    <a:lnTo>
                      <a:pt x="593" y="35"/>
                    </a:lnTo>
                    <a:lnTo>
                      <a:pt x="561" y="44"/>
                    </a:lnTo>
                    <a:lnTo>
                      <a:pt x="531" y="54"/>
                    </a:lnTo>
                    <a:lnTo>
                      <a:pt x="501" y="65"/>
                    </a:lnTo>
                    <a:lnTo>
                      <a:pt x="471" y="77"/>
                    </a:lnTo>
                    <a:lnTo>
                      <a:pt x="441" y="89"/>
                    </a:lnTo>
                    <a:lnTo>
                      <a:pt x="413" y="102"/>
                    </a:lnTo>
                    <a:lnTo>
                      <a:pt x="384" y="117"/>
                    </a:lnTo>
                    <a:lnTo>
                      <a:pt x="357" y="132"/>
                    </a:lnTo>
                    <a:lnTo>
                      <a:pt x="330" y="149"/>
                    </a:lnTo>
                    <a:lnTo>
                      <a:pt x="303" y="165"/>
                    </a:lnTo>
                    <a:lnTo>
                      <a:pt x="278" y="183"/>
                    </a:lnTo>
                    <a:lnTo>
                      <a:pt x="252" y="203"/>
                    </a:lnTo>
                    <a:lnTo>
                      <a:pt x="227" y="222"/>
                    </a:lnTo>
                    <a:lnTo>
                      <a:pt x="203" y="242"/>
                    </a:lnTo>
                    <a:lnTo>
                      <a:pt x="180" y="263"/>
                    </a:lnTo>
                    <a:lnTo>
                      <a:pt x="156" y="284"/>
                    </a:lnTo>
                    <a:lnTo>
                      <a:pt x="135" y="306"/>
                    </a:lnTo>
                    <a:lnTo>
                      <a:pt x="113" y="330"/>
                    </a:lnTo>
                    <a:lnTo>
                      <a:pt x="93" y="353"/>
                    </a:lnTo>
                    <a:lnTo>
                      <a:pt x="72" y="378"/>
                    </a:lnTo>
                    <a:lnTo>
                      <a:pt x="53" y="402"/>
                    </a:lnTo>
                    <a:lnTo>
                      <a:pt x="35" y="428"/>
                    </a:lnTo>
                    <a:lnTo>
                      <a:pt x="17" y="455"/>
                    </a:lnTo>
                    <a:lnTo>
                      <a:pt x="0" y="482"/>
                    </a:lnTo>
                    <a:lnTo>
                      <a:pt x="305" y="657"/>
                    </a:lnTo>
                    <a:lnTo>
                      <a:pt x="305" y="657"/>
                    </a:lnTo>
                    <a:lnTo>
                      <a:pt x="327" y="623"/>
                    </a:lnTo>
                    <a:lnTo>
                      <a:pt x="351" y="591"/>
                    </a:lnTo>
                    <a:lnTo>
                      <a:pt x="378" y="561"/>
                    </a:lnTo>
                    <a:lnTo>
                      <a:pt x="407" y="533"/>
                    </a:lnTo>
                    <a:lnTo>
                      <a:pt x="437" y="506"/>
                    </a:lnTo>
                    <a:lnTo>
                      <a:pt x="468" y="480"/>
                    </a:lnTo>
                    <a:lnTo>
                      <a:pt x="501" y="458"/>
                    </a:lnTo>
                    <a:lnTo>
                      <a:pt x="536" y="437"/>
                    </a:lnTo>
                    <a:lnTo>
                      <a:pt x="572" y="417"/>
                    </a:lnTo>
                    <a:lnTo>
                      <a:pt x="608" y="401"/>
                    </a:lnTo>
                    <a:lnTo>
                      <a:pt x="647" y="386"/>
                    </a:lnTo>
                    <a:lnTo>
                      <a:pt x="686" y="374"/>
                    </a:lnTo>
                    <a:lnTo>
                      <a:pt x="726" y="365"/>
                    </a:lnTo>
                    <a:lnTo>
                      <a:pt x="768" y="357"/>
                    </a:lnTo>
                    <a:lnTo>
                      <a:pt x="810" y="354"/>
                    </a:lnTo>
                    <a:lnTo>
                      <a:pt x="854" y="353"/>
                    </a:lnTo>
                    <a:lnTo>
                      <a:pt x="854" y="353"/>
                    </a:lnTo>
                    <a:lnTo>
                      <a:pt x="898" y="354"/>
                    </a:lnTo>
                    <a:lnTo>
                      <a:pt x="940" y="357"/>
                    </a:lnTo>
                    <a:lnTo>
                      <a:pt x="982" y="365"/>
                    </a:lnTo>
                    <a:lnTo>
                      <a:pt x="1022" y="375"/>
                    </a:lnTo>
                    <a:lnTo>
                      <a:pt x="1063" y="387"/>
                    </a:lnTo>
                    <a:lnTo>
                      <a:pt x="1100" y="401"/>
                    </a:lnTo>
                    <a:lnTo>
                      <a:pt x="1138" y="419"/>
                    </a:lnTo>
                    <a:lnTo>
                      <a:pt x="1174" y="437"/>
                    </a:lnTo>
                    <a:lnTo>
                      <a:pt x="1210" y="459"/>
                    </a:lnTo>
                    <a:lnTo>
                      <a:pt x="1243" y="482"/>
                    </a:lnTo>
                    <a:lnTo>
                      <a:pt x="1274" y="507"/>
                    </a:lnTo>
                    <a:lnTo>
                      <a:pt x="1304" y="534"/>
                    </a:lnTo>
                    <a:lnTo>
                      <a:pt x="1333" y="564"/>
                    </a:lnTo>
                    <a:lnTo>
                      <a:pt x="1358" y="594"/>
                    </a:lnTo>
                    <a:lnTo>
                      <a:pt x="1382" y="627"/>
                    </a:lnTo>
                    <a:lnTo>
                      <a:pt x="1405" y="662"/>
                    </a:lnTo>
                    <a:lnTo>
                      <a:pt x="1709" y="486"/>
                    </a:lnTo>
                    <a:lnTo>
                      <a:pt x="1709" y="486"/>
                    </a:lnTo>
                    <a:lnTo>
                      <a:pt x="1693" y="459"/>
                    </a:lnTo>
                    <a:lnTo>
                      <a:pt x="1675" y="432"/>
                    </a:lnTo>
                    <a:lnTo>
                      <a:pt x="1657" y="407"/>
                    </a:lnTo>
                    <a:lnTo>
                      <a:pt x="1637" y="381"/>
                    </a:lnTo>
                    <a:lnTo>
                      <a:pt x="1618" y="357"/>
                    </a:lnTo>
                    <a:lnTo>
                      <a:pt x="1597" y="333"/>
                    </a:lnTo>
                    <a:lnTo>
                      <a:pt x="1576" y="309"/>
                    </a:lnTo>
                    <a:lnTo>
                      <a:pt x="1553" y="287"/>
                    </a:lnTo>
                    <a:lnTo>
                      <a:pt x="1531" y="266"/>
                    </a:lnTo>
                    <a:lnTo>
                      <a:pt x="1507" y="245"/>
                    </a:lnTo>
                    <a:lnTo>
                      <a:pt x="1483" y="224"/>
                    </a:lnTo>
                    <a:lnTo>
                      <a:pt x="1457" y="204"/>
                    </a:lnTo>
                    <a:lnTo>
                      <a:pt x="1432" y="186"/>
                    </a:lnTo>
                    <a:lnTo>
                      <a:pt x="1406" y="168"/>
                    </a:lnTo>
                    <a:lnTo>
                      <a:pt x="1379" y="150"/>
                    </a:lnTo>
                    <a:lnTo>
                      <a:pt x="1352" y="134"/>
                    </a:lnTo>
                    <a:lnTo>
                      <a:pt x="1325" y="119"/>
                    </a:lnTo>
                    <a:lnTo>
                      <a:pt x="1297" y="104"/>
                    </a:lnTo>
                    <a:lnTo>
                      <a:pt x="1267" y="90"/>
                    </a:lnTo>
                    <a:lnTo>
                      <a:pt x="1238" y="77"/>
                    </a:lnTo>
                    <a:lnTo>
                      <a:pt x="1208" y="65"/>
                    </a:lnTo>
                    <a:lnTo>
                      <a:pt x="1178" y="54"/>
                    </a:lnTo>
                    <a:lnTo>
                      <a:pt x="1147" y="44"/>
                    </a:lnTo>
                    <a:lnTo>
                      <a:pt x="1117" y="35"/>
                    </a:lnTo>
                    <a:lnTo>
                      <a:pt x="1085" y="27"/>
                    </a:lnTo>
                    <a:lnTo>
                      <a:pt x="1052" y="20"/>
                    </a:lnTo>
                    <a:lnTo>
                      <a:pt x="1021" y="14"/>
                    </a:lnTo>
                    <a:lnTo>
                      <a:pt x="988" y="9"/>
                    </a:lnTo>
                    <a:lnTo>
                      <a:pt x="955" y="5"/>
                    </a:lnTo>
                    <a:lnTo>
                      <a:pt x="922" y="2"/>
                    </a:lnTo>
                    <a:lnTo>
                      <a:pt x="887" y="0"/>
                    </a:lnTo>
                    <a:lnTo>
                      <a:pt x="854" y="0"/>
                    </a:lnTo>
                    <a:lnTo>
                      <a:pt x="854" y="0"/>
                    </a:lnTo>
                    <a:close/>
                  </a:path>
                </a:pathLst>
              </a:custGeom>
              <a:solidFill>
                <a:schemeClr val="accent1">
                  <a:lumMod val="60000"/>
                  <a:lumOff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pt-BR" sz="1400" noProof="1">
                  <a:latin typeface="Graphik" panose="020B0503030202060203" pitchFamily="34" charset="77"/>
                </a:endParaRPr>
              </a:p>
            </p:txBody>
          </p:sp>
          <p:sp>
            <p:nvSpPr>
              <p:cNvPr id="27" name="Freeform 8">
                <a:extLst>
                  <a:ext uri="{FF2B5EF4-FFF2-40B4-BE49-F238E27FC236}">
                    <a16:creationId xmlns:a16="http://schemas.microsoft.com/office/drawing/2014/main" id="{0BE1E18F-EB88-A3C5-9392-5A4A3E8D7D0E}"/>
                  </a:ext>
                </a:extLst>
              </p:cNvPr>
              <p:cNvSpPr>
                <a:spLocks/>
              </p:cNvSpPr>
              <p:nvPr/>
            </p:nvSpPr>
            <p:spPr bwMode="auto">
              <a:xfrm>
                <a:off x="2363788" y="2803525"/>
                <a:ext cx="2176463" cy="3282950"/>
              </a:xfrm>
              <a:custGeom>
                <a:avLst/>
                <a:gdLst/>
                <a:ahLst/>
                <a:cxnLst>
                  <a:cxn ang="0">
                    <a:pos x="1371" y="1715"/>
                  </a:cxn>
                  <a:cxn ang="0">
                    <a:pos x="1266" y="1708"/>
                  </a:cxn>
                  <a:cxn ang="0">
                    <a:pos x="1166" y="1691"/>
                  </a:cxn>
                  <a:cxn ang="0">
                    <a:pos x="1067" y="1664"/>
                  </a:cxn>
                  <a:cxn ang="0">
                    <a:pos x="974" y="1628"/>
                  </a:cxn>
                  <a:cxn ang="0">
                    <a:pos x="885" y="1583"/>
                  </a:cxn>
                  <a:cxn ang="0">
                    <a:pos x="801" y="1531"/>
                  </a:cxn>
                  <a:cxn ang="0">
                    <a:pos x="722" y="1471"/>
                  </a:cxn>
                  <a:cxn ang="0">
                    <a:pos x="650" y="1405"/>
                  </a:cxn>
                  <a:cxn ang="0">
                    <a:pos x="584" y="1331"/>
                  </a:cxn>
                  <a:cxn ang="0">
                    <a:pos x="525" y="1252"/>
                  </a:cxn>
                  <a:cxn ang="0">
                    <a:pos x="474" y="1166"/>
                  </a:cxn>
                  <a:cxn ang="0">
                    <a:pos x="431" y="1076"/>
                  </a:cxn>
                  <a:cxn ang="0">
                    <a:pos x="398" y="982"/>
                  </a:cxn>
                  <a:cxn ang="0">
                    <a:pos x="372" y="883"/>
                  </a:cxn>
                  <a:cxn ang="0">
                    <a:pos x="357" y="781"/>
                  </a:cxn>
                  <a:cxn ang="0">
                    <a:pos x="351" y="677"/>
                  </a:cxn>
                  <a:cxn ang="0">
                    <a:pos x="351" y="642"/>
                  </a:cxn>
                  <a:cxn ang="0">
                    <a:pos x="356" y="575"/>
                  </a:cxn>
                  <a:cxn ang="0">
                    <a:pos x="365" y="510"/>
                  </a:cxn>
                  <a:cxn ang="0">
                    <a:pos x="377" y="446"/>
                  </a:cxn>
                  <a:cxn ang="0">
                    <a:pos x="393" y="383"/>
                  </a:cxn>
                  <a:cxn ang="0">
                    <a:pos x="414" y="321"/>
                  </a:cxn>
                  <a:cxn ang="0">
                    <a:pos x="438" y="261"/>
                  </a:cxn>
                  <a:cxn ang="0">
                    <a:pos x="465" y="204"/>
                  </a:cxn>
                  <a:cxn ang="0">
                    <a:pos x="176" y="0"/>
                  </a:cxn>
                  <a:cxn ang="0">
                    <a:pos x="155" y="38"/>
                  </a:cxn>
                  <a:cxn ang="0">
                    <a:pos x="117" y="116"/>
                  </a:cxn>
                  <a:cxn ang="0">
                    <a:pos x="84" y="197"/>
                  </a:cxn>
                  <a:cxn ang="0">
                    <a:pos x="57" y="279"/>
                  </a:cxn>
                  <a:cxn ang="0">
                    <a:pos x="35" y="365"/>
                  </a:cxn>
                  <a:cxn ang="0">
                    <a:pos x="18" y="452"/>
                  </a:cxn>
                  <a:cxn ang="0">
                    <a:pos x="6" y="540"/>
                  </a:cxn>
                  <a:cxn ang="0">
                    <a:pos x="0" y="632"/>
                  </a:cxn>
                  <a:cxn ang="0">
                    <a:pos x="0" y="677"/>
                  </a:cxn>
                  <a:cxn ang="0">
                    <a:pos x="6" y="818"/>
                  </a:cxn>
                  <a:cxn ang="0">
                    <a:pos x="27" y="956"/>
                  </a:cxn>
                  <a:cxn ang="0">
                    <a:pos x="62" y="1088"/>
                  </a:cxn>
                  <a:cxn ang="0">
                    <a:pos x="107" y="1216"/>
                  </a:cxn>
                  <a:cxn ang="0">
                    <a:pos x="165" y="1336"/>
                  </a:cxn>
                  <a:cxn ang="0">
                    <a:pos x="233" y="1450"/>
                  </a:cxn>
                  <a:cxn ang="0">
                    <a:pos x="312" y="1556"/>
                  </a:cxn>
                  <a:cxn ang="0">
                    <a:pos x="401" y="1655"/>
                  </a:cxn>
                  <a:cxn ang="0">
                    <a:pos x="498" y="1745"/>
                  </a:cxn>
                  <a:cxn ang="0">
                    <a:pos x="603" y="1825"/>
                  </a:cxn>
                  <a:cxn ang="0">
                    <a:pos x="717" y="1895"/>
                  </a:cxn>
                  <a:cxn ang="0">
                    <a:pos x="836" y="1954"/>
                  </a:cxn>
                  <a:cxn ang="0">
                    <a:pos x="963" y="2002"/>
                  </a:cxn>
                  <a:cxn ang="0">
                    <a:pos x="1094" y="2036"/>
                  </a:cxn>
                  <a:cxn ang="0">
                    <a:pos x="1230" y="2060"/>
                  </a:cxn>
                  <a:cxn ang="0">
                    <a:pos x="1371" y="2068"/>
                  </a:cxn>
                </a:cxnLst>
                <a:rect l="0" t="0" r="r" b="b"/>
                <a:pathLst>
                  <a:path w="1371" h="2068">
                    <a:moveTo>
                      <a:pt x="1371" y="1715"/>
                    </a:moveTo>
                    <a:lnTo>
                      <a:pt x="1371" y="1715"/>
                    </a:lnTo>
                    <a:lnTo>
                      <a:pt x="1319" y="1714"/>
                    </a:lnTo>
                    <a:lnTo>
                      <a:pt x="1266" y="1708"/>
                    </a:lnTo>
                    <a:lnTo>
                      <a:pt x="1215" y="1700"/>
                    </a:lnTo>
                    <a:lnTo>
                      <a:pt x="1166" y="1691"/>
                    </a:lnTo>
                    <a:lnTo>
                      <a:pt x="1116" y="1679"/>
                    </a:lnTo>
                    <a:lnTo>
                      <a:pt x="1067" y="1664"/>
                    </a:lnTo>
                    <a:lnTo>
                      <a:pt x="1020" y="1648"/>
                    </a:lnTo>
                    <a:lnTo>
                      <a:pt x="974" y="1628"/>
                    </a:lnTo>
                    <a:lnTo>
                      <a:pt x="929" y="1607"/>
                    </a:lnTo>
                    <a:lnTo>
                      <a:pt x="885" y="1583"/>
                    </a:lnTo>
                    <a:lnTo>
                      <a:pt x="842" y="1559"/>
                    </a:lnTo>
                    <a:lnTo>
                      <a:pt x="801" y="1531"/>
                    </a:lnTo>
                    <a:lnTo>
                      <a:pt x="761" y="1502"/>
                    </a:lnTo>
                    <a:lnTo>
                      <a:pt x="722" y="1471"/>
                    </a:lnTo>
                    <a:lnTo>
                      <a:pt x="686" y="1439"/>
                    </a:lnTo>
                    <a:lnTo>
                      <a:pt x="650" y="1405"/>
                    </a:lnTo>
                    <a:lnTo>
                      <a:pt x="615" y="1369"/>
                    </a:lnTo>
                    <a:lnTo>
                      <a:pt x="584" y="1331"/>
                    </a:lnTo>
                    <a:lnTo>
                      <a:pt x="554" y="1292"/>
                    </a:lnTo>
                    <a:lnTo>
                      <a:pt x="525" y="1252"/>
                    </a:lnTo>
                    <a:lnTo>
                      <a:pt x="498" y="1210"/>
                    </a:lnTo>
                    <a:lnTo>
                      <a:pt x="474" y="1166"/>
                    </a:lnTo>
                    <a:lnTo>
                      <a:pt x="452" y="1123"/>
                    </a:lnTo>
                    <a:lnTo>
                      <a:pt x="431" y="1076"/>
                    </a:lnTo>
                    <a:lnTo>
                      <a:pt x="413" y="1030"/>
                    </a:lnTo>
                    <a:lnTo>
                      <a:pt x="398" y="982"/>
                    </a:lnTo>
                    <a:lnTo>
                      <a:pt x="383" y="934"/>
                    </a:lnTo>
                    <a:lnTo>
                      <a:pt x="372" y="883"/>
                    </a:lnTo>
                    <a:lnTo>
                      <a:pt x="363" y="833"/>
                    </a:lnTo>
                    <a:lnTo>
                      <a:pt x="357" y="781"/>
                    </a:lnTo>
                    <a:lnTo>
                      <a:pt x="353" y="730"/>
                    </a:lnTo>
                    <a:lnTo>
                      <a:pt x="351" y="677"/>
                    </a:lnTo>
                    <a:lnTo>
                      <a:pt x="351" y="677"/>
                    </a:lnTo>
                    <a:lnTo>
                      <a:pt x="351" y="642"/>
                    </a:lnTo>
                    <a:lnTo>
                      <a:pt x="354" y="609"/>
                    </a:lnTo>
                    <a:lnTo>
                      <a:pt x="356" y="575"/>
                    </a:lnTo>
                    <a:lnTo>
                      <a:pt x="360" y="542"/>
                    </a:lnTo>
                    <a:lnTo>
                      <a:pt x="365" y="510"/>
                    </a:lnTo>
                    <a:lnTo>
                      <a:pt x="371" y="477"/>
                    </a:lnTo>
                    <a:lnTo>
                      <a:pt x="377" y="446"/>
                    </a:lnTo>
                    <a:lnTo>
                      <a:pt x="384" y="414"/>
                    </a:lnTo>
                    <a:lnTo>
                      <a:pt x="393" y="383"/>
                    </a:lnTo>
                    <a:lnTo>
                      <a:pt x="404" y="351"/>
                    </a:lnTo>
                    <a:lnTo>
                      <a:pt x="414" y="321"/>
                    </a:lnTo>
                    <a:lnTo>
                      <a:pt x="425" y="291"/>
                    </a:lnTo>
                    <a:lnTo>
                      <a:pt x="438" y="261"/>
                    </a:lnTo>
                    <a:lnTo>
                      <a:pt x="450" y="233"/>
                    </a:lnTo>
                    <a:lnTo>
                      <a:pt x="465" y="204"/>
                    </a:lnTo>
                    <a:lnTo>
                      <a:pt x="480" y="176"/>
                    </a:lnTo>
                    <a:lnTo>
                      <a:pt x="176" y="0"/>
                    </a:lnTo>
                    <a:lnTo>
                      <a:pt x="176" y="0"/>
                    </a:lnTo>
                    <a:lnTo>
                      <a:pt x="155" y="38"/>
                    </a:lnTo>
                    <a:lnTo>
                      <a:pt x="135" y="77"/>
                    </a:lnTo>
                    <a:lnTo>
                      <a:pt x="117" y="116"/>
                    </a:lnTo>
                    <a:lnTo>
                      <a:pt x="101" y="156"/>
                    </a:lnTo>
                    <a:lnTo>
                      <a:pt x="84" y="197"/>
                    </a:lnTo>
                    <a:lnTo>
                      <a:pt x="71" y="237"/>
                    </a:lnTo>
                    <a:lnTo>
                      <a:pt x="57" y="279"/>
                    </a:lnTo>
                    <a:lnTo>
                      <a:pt x="45" y="321"/>
                    </a:lnTo>
                    <a:lnTo>
                      <a:pt x="35" y="365"/>
                    </a:lnTo>
                    <a:lnTo>
                      <a:pt x="26" y="408"/>
                    </a:lnTo>
                    <a:lnTo>
                      <a:pt x="18" y="452"/>
                    </a:lnTo>
                    <a:lnTo>
                      <a:pt x="11" y="497"/>
                    </a:lnTo>
                    <a:lnTo>
                      <a:pt x="6" y="540"/>
                    </a:lnTo>
                    <a:lnTo>
                      <a:pt x="3" y="585"/>
                    </a:lnTo>
                    <a:lnTo>
                      <a:pt x="0" y="632"/>
                    </a:lnTo>
                    <a:lnTo>
                      <a:pt x="0" y="677"/>
                    </a:lnTo>
                    <a:lnTo>
                      <a:pt x="0" y="677"/>
                    </a:lnTo>
                    <a:lnTo>
                      <a:pt x="2" y="749"/>
                    </a:lnTo>
                    <a:lnTo>
                      <a:pt x="6" y="818"/>
                    </a:lnTo>
                    <a:lnTo>
                      <a:pt x="15" y="887"/>
                    </a:lnTo>
                    <a:lnTo>
                      <a:pt x="27" y="956"/>
                    </a:lnTo>
                    <a:lnTo>
                      <a:pt x="42" y="1022"/>
                    </a:lnTo>
                    <a:lnTo>
                      <a:pt x="62" y="1088"/>
                    </a:lnTo>
                    <a:lnTo>
                      <a:pt x="83" y="1153"/>
                    </a:lnTo>
                    <a:lnTo>
                      <a:pt x="107" y="1216"/>
                    </a:lnTo>
                    <a:lnTo>
                      <a:pt x="134" y="1276"/>
                    </a:lnTo>
                    <a:lnTo>
                      <a:pt x="165" y="1336"/>
                    </a:lnTo>
                    <a:lnTo>
                      <a:pt x="198" y="1394"/>
                    </a:lnTo>
                    <a:lnTo>
                      <a:pt x="233" y="1450"/>
                    </a:lnTo>
                    <a:lnTo>
                      <a:pt x="272" y="1504"/>
                    </a:lnTo>
                    <a:lnTo>
                      <a:pt x="312" y="1556"/>
                    </a:lnTo>
                    <a:lnTo>
                      <a:pt x="356" y="1607"/>
                    </a:lnTo>
                    <a:lnTo>
                      <a:pt x="401" y="1655"/>
                    </a:lnTo>
                    <a:lnTo>
                      <a:pt x="449" y="1700"/>
                    </a:lnTo>
                    <a:lnTo>
                      <a:pt x="498" y="1745"/>
                    </a:lnTo>
                    <a:lnTo>
                      <a:pt x="549" y="1786"/>
                    </a:lnTo>
                    <a:lnTo>
                      <a:pt x="603" y="1825"/>
                    </a:lnTo>
                    <a:lnTo>
                      <a:pt x="659" y="1861"/>
                    </a:lnTo>
                    <a:lnTo>
                      <a:pt x="717" y="1895"/>
                    </a:lnTo>
                    <a:lnTo>
                      <a:pt x="776" y="1925"/>
                    </a:lnTo>
                    <a:lnTo>
                      <a:pt x="836" y="1954"/>
                    </a:lnTo>
                    <a:lnTo>
                      <a:pt x="899" y="1979"/>
                    </a:lnTo>
                    <a:lnTo>
                      <a:pt x="963" y="2002"/>
                    </a:lnTo>
                    <a:lnTo>
                      <a:pt x="1028" y="2021"/>
                    </a:lnTo>
                    <a:lnTo>
                      <a:pt x="1094" y="2036"/>
                    </a:lnTo>
                    <a:lnTo>
                      <a:pt x="1161" y="2050"/>
                    </a:lnTo>
                    <a:lnTo>
                      <a:pt x="1230" y="2060"/>
                    </a:lnTo>
                    <a:lnTo>
                      <a:pt x="1301" y="2066"/>
                    </a:lnTo>
                    <a:lnTo>
                      <a:pt x="1371" y="2068"/>
                    </a:lnTo>
                    <a:lnTo>
                      <a:pt x="1371" y="1715"/>
                    </a:lnTo>
                    <a:close/>
                  </a:path>
                </a:pathLst>
              </a:custGeom>
              <a:solidFill>
                <a:schemeClr val="tx2">
                  <a:alpha val="6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pt-BR" sz="1400" noProof="1">
                  <a:latin typeface="Graphik" panose="020B0503030202060203" pitchFamily="34" charset="77"/>
                </a:endParaRPr>
              </a:p>
            </p:txBody>
          </p:sp>
          <p:sp>
            <p:nvSpPr>
              <p:cNvPr id="28" name="Freeform 9">
                <a:extLst>
                  <a:ext uri="{FF2B5EF4-FFF2-40B4-BE49-F238E27FC236}">
                    <a16:creationId xmlns:a16="http://schemas.microsoft.com/office/drawing/2014/main" id="{4B2DE289-6772-9E6D-B821-768CFE9504DA}"/>
                  </a:ext>
                </a:extLst>
              </p:cNvPr>
              <p:cNvSpPr>
                <a:spLocks/>
              </p:cNvSpPr>
              <p:nvPr/>
            </p:nvSpPr>
            <p:spPr bwMode="auto">
              <a:xfrm>
                <a:off x="4608513" y="2811463"/>
                <a:ext cx="2171700" cy="3275013"/>
              </a:xfrm>
              <a:custGeom>
                <a:avLst/>
                <a:gdLst/>
                <a:ahLst/>
                <a:cxnLst>
                  <a:cxn ang="0">
                    <a:pos x="891" y="175"/>
                  </a:cxn>
                  <a:cxn ang="0">
                    <a:pos x="904" y="204"/>
                  </a:cxn>
                  <a:cxn ang="0">
                    <a:pos x="931" y="261"/>
                  </a:cxn>
                  <a:cxn ang="0">
                    <a:pos x="955" y="319"/>
                  </a:cxn>
                  <a:cxn ang="0">
                    <a:pos x="975" y="381"/>
                  </a:cxn>
                  <a:cxn ang="0">
                    <a:pos x="991" y="442"/>
                  </a:cxn>
                  <a:cxn ang="0">
                    <a:pos x="1003" y="507"/>
                  </a:cxn>
                  <a:cxn ang="0">
                    <a:pos x="1011" y="571"/>
                  </a:cxn>
                  <a:cxn ang="0">
                    <a:pos x="1015" y="637"/>
                  </a:cxn>
                  <a:cxn ang="0">
                    <a:pos x="1015" y="672"/>
                  </a:cxn>
                  <a:cxn ang="0">
                    <a:pos x="1011" y="776"/>
                  </a:cxn>
                  <a:cxn ang="0">
                    <a:pos x="996" y="878"/>
                  </a:cxn>
                  <a:cxn ang="0">
                    <a:pos x="970" y="977"/>
                  </a:cxn>
                  <a:cxn ang="0">
                    <a:pos x="936" y="1071"/>
                  </a:cxn>
                  <a:cxn ang="0">
                    <a:pos x="894" y="1160"/>
                  </a:cxn>
                  <a:cxn ang="0">
                    <a:pos x="843" y="1245"/>
                  </a:cxn>
                  <a:cxn ang="0">
                    <a:pos x="784" y="1325"/>
                  </a:cxn>
                  <a:cxn ang="0">
                    <a:pos x="718" y="1398"/>
                  </a:cxn>
                  <a:cxn ang="0">
                    <a:pos x="646" y="1466"/>
                  </a:cxn>
                  <a:cxn ang="0">
                    <a:pos x="568" y="1526"/>
                  </a:cxn>
                  <a:cxn ang="0">
                    <a:pos x="484" y="1578"/>
                  </a:cxn>
                  <a:cxn ang="0">
                    <a:pos x="396" y="1622"/>
                  </a:cxn>
                  <a:cxn ang="0">
                    <a:pos x="303" y="1658"/>
                  </a:cxn>
                  <a:cxn ang="0">
                    <a:pos x="205" y="1685"/>
                  </a:cxn>
                  <a:cxn ang="0">
                    <a:pos x="105" y="1703"/>
                  </a:cxn>
                  <a:cxn ang="0">
                    <a:pos x="0" y="1710"/>
                  </a:cxn>
                  <a:cxn ang="0">
                    <a:pos x="0" y="2063"/>
                  </a:cxn>
                  <a:cxn ang="0">
                    <a:pos x="141" y="2054"/>
                  </a:cxn>
                  <a:cxn ang="0">
                    <a:pos x="276" y="2031"/>
                  </a:cxn>
                  <a:cxn ang="0">
                    <a:pos x="408" y="1995"/>
                  </a:cxn>
                  <a:cxn ang="0">
                    <a:pos x="534" y="1947"/>
                  </a:cxn>
                  <a:cxn ang="0">
                    <a:pos x="652" y="1889"/>
                  </a:cxn>
                  <a:cxn ang="0">
                    <a:pos x="766" y="1818"/>
                  </a:cxn>
                  <a:cxn ang="0">
                    <a:pos x="871" y="1739"/>
                  </a:cxn>
                  <a:cxn ang="0">
                    <a:pos x="967" y="1649"/>
                  </a:cxn>
                  <a:cxn ang="0">
                    <a:pos x="1056" y="1550"/>
                  </a:cxn>
                  <a:cxn ang="0">
                    <a:pos x="1135" y="1443"/>
                  </a:cxn>
                  <a:cxn ang="0">
                    <a:pos x="1203" y="1329"/>
                  </a:cxn>
                  <a:cxn ang="0">
                    <a:pos x="1261" y="1209"/>
                  </a:cxn>
                  <a:cxn ang="0">
                    <a:pos x="1306" y="1083"/>
                  </a:cxn>
                  <a:cxn ang="0">
                    <a:pos x="1341" y="950"/>
                  </a:cxn>
                  <a:cxn ang="0">
                    <a:pos x="1360" y="813"/>
                  </a:cxn>
                  <a:cxn ang="0">
                    <a:pos x="1368" y="672"/>
                  </a:cxn>
                  <a:cxn ang="0">
                    <a:pos x="1366" y="627"/>
                  </a:cxn>
                  <a:cxn ang="0">
                    <a:pos x="1362" y="537"/>
                  </a:cxn>
                  <a:cxn ang="0">
                    <a:pos x="1350" y="448"/>
                  </a:cxn>
                  <a:cxn ang="0">
                    <a:pos x="1333" y="361"/>
                  </a:cxn>
                  <a:cxn ang="0">
                    <a:pos x="1311" y="277"/>
                  </a:cxn>
                  <a:cxn ang="0">
                    <a:pos x="1284" y="195"/>
                  </a:cxn>
                  <a:cxn ang="0">
                    <a:pos x="1251" y="115"/>
                  </a:cxn>
                  <a:cxn ang="0">
                    <a:pos x="1215" y="37"/>
                  </a:cxn>
                  <a:cxn ang="0">
                    <a:pos x="1195" y="0"/>
                  </a:cxn>
                </a:cxnLst>
                <a:rect l="0" t="0" r="r" b="b"/>
                <a:pathLst>
                  <a:path w="1368" h="2063">
                    <a:moveTo>
                      <a:pt x="1195" y="0"/>
                    </a:moveTo>
                    <a:lnTo>
                      <a:pt x="891" y="175"/>
                    </a:lnTo>
                    <a:lnTo>
                      <a:pt x="891" y="175"/>
                    </a:lnTo>
                    <a:lnTo>
                      <a:pt x="904" y="204"/>
                    </a:lnTo>
                    <a:lnTo>
                      <a:pt x="918" y="232"/>
                    </a:lnTo>
                    <a:lnTo>
                      <a:pt x="931" y="261"/>
                    </a:lnTo>
                    <a:lnTo>
                      <a:pt x="943" y="291"/>
                    </a:lnTo>
                    <a:lnTo>
                      <a:pt x="955" y="319"/>
                    </a:lnTo>
                    <a:lnTo>
                      <a:pt x="966" y="349"/>
                    </a:lnTo>
                    <a:lnTo>
                      <a:pt x="975" y="381"/>
                    </a:lnTo>
                    <a:lnTo>
                      <a:pt x="984" y="411"/>
                    </a:lnTo>
                    <a:lnTo>
                      <a:pt x="991" y="442"/>
                    </a:lnTo>
                    <a:lnTo>
                      <a:pt x="997" y="474"/>
                    </a:lnTo>
                    <a:lnTo>
                      <a:pt x="1003" y="507"/>
                    </a:lnTo>
                    <a:lnTo>
                      <a:pt x="1008" y="538"/>
                    </a:lnTo>
                    <a:lnTo>
                      <a:pt x="1011" y="571"/>
                    </a:lnTo>
                    <a:lnTo>
                      <a:pt x="1014" y="604"/>
                    </a:lnTo>
                    <a:lnTo>
                      <a:pt x="1015" y="637"/>
                    </a:lnTo>
                    <a:lnTo>
                      <a:pt x="1015" y="672"/>
                    </a:lnTo>
                    <a:lnTo>
                      <a:pt x="1015" y="672"/>
                    </a:lnTo>
                    <a:lnTo>
                      <a:pt x="1015" y="725"/>
                    </a:lnTo>
                    <a:lnTo>
                      <a:pt x="1011" y="776"/>
                    </a:lnTo>
                    <a:lnTo>
                      <a:pt x="1005" y="828"/>
                    </a:lnTo>
                    <a:lnTo>
                      <a:pt x="996" y="878"/>
                    </a:lnTo>
                    <a:lnTo>
                      <a:pt x="984" y="927"/>
                    </a:lnTo>
                    <a:lnTo>
                      <a:pt x="970" y="977"/>
                    </a:lnTo>
                    <a:lnTo>
                      <a:pt x="954" y="1023"/>
                    </a:lnTo>
                    <a:lnTo>
                      <a:pt x="936" y="1071"/>
                    </a:lnTo>
                    <a:lnTo>
                      <a:pt x="916" y="1116"/>
                    </a:lnTo>
                    <a:lnTo>
                      <a:pt x="894" y="1160"/>
                    </a:lnTo>
                    <a:lnTo>
                      <a:pt x="870" y="1203"/>
                    </a:lnTo>
                    <a:lnTo>
                      <a:pt x="843" y="1245"/>
                    </a:lnTo>
                    <a:lnTo>
                      <a:pt x="814" y="1286"/>
                    </a:lnTo>
                    <a:lnTo>
                      <a:pt x="784" y="1325"/>
                    </a:lnTo>
                    <a:lnTo>
                      <a:pt x="753" y="1362"/>
                    </a:lnTo>
                    <a:lnTo>
                      <a:pt x="718" y="1398"/>
                    </a:lnTo>
                    <a:lnTo>
                      <a:pt x="684" y="1433"/>
                    </a:lnTo>
                    <a:lnTo>
                      <a:pt x="646" y="1466"/>
                    </a:lnTo>
                    <a:lnTo>
                      <a:pt x="609" y="1496"/>
                    </a:lnTo>
                    <a:lnTo>
                      <a:pt x="568" y="1526"/>
                    </a:lnTo>
                    <a:lnTo>
                      <a:pt x="528" y="1553"/>
                    </a:lnTo>
                    <a:lnTo>
                      <a:pt x="484" y="1578"/>
                    </a:lnTo>
                    <a:lnTo>
                      <a:pt x="441" y="1601"/>
                    </a:lnTo>
                    <a:lnTo>
                      <a:pt x="396" y="1622"/>
                    </a:lnTo>
                    <a:lnTo>
                      <a:pt x="349" y="1641"/>
                    </a:lnTo>
                    <a:lnTo>
                      <a:pt x="303" y="1658"/>
                    </a:lnTo>
                    <a:lnTo>
                      <a:pt x="255" y="1673"/>
                    </a:lnTo>
                    <a:lnTo>
                      <a:pt x="205" y="1685"/>
                    </a:lnTo>
                    <a:lnTo>
                      <a:pt x="154" y="1695"/>
                    </a:lnTo>
                    <a:lnTo>
                      <a:pt x="105" y="1703"/>
                    </a:lnTo>
                    <a:lnTo>
                      <a:pt x="52" y="1707"/>
                    </a:lnTo>
                    <a:lnTo>
                      <a:pt x="0" y="1710"/>
                    </a:lnTo>
                    <a:lnTo>
                      <a:pt x="0" y="2063"/>
                    </a:lnTo>
                    <a:lnTo>
                      <a:pt x="0" y="2063"/>
                    </a:lnTo>
                    <a:lnTo>
                      <a:pt x="70" y="2061"/>
                    </a:lnTo>
                    <a:lnTo>
                      <a:pt x="141" y="2054"/>
                    </a:lnTo>
                    <a:lnTo>
                      <a:pt x="208" y="2045"/>
                    </a:lnTo>
                    <a:lnTo>
                      <a:pt x="276" y="2031"/>
                    </a:lnTo>
                    <a:lnTo>
                      <a:pt x="343" y="2015"/>
                    </a:lnTo>
                    <a:lnTo>
                      <a:pt x="408" y="1995"/>
                    </a:lnTo>
                    <a:lnTo>
                      <a:pt x="471" y="1973"/>
                    </a:lnTo>
                    <a:lnTo>
                      <a:pt x="534" y="1947"/>
                    </a:lnTo>
                    <a:lnTo>
                      <a:pt x="594" y="1920"/>
                    </a:lnTo>
                    <a:lnTo>
                      <a:pt x="652" y="1889"/>
                    </a:lnTo>
                    <a:lnTo>
                      <a:pt x="711" y="1854"/>
                    </a:lnTo>
                    <a:lnTo>
                      <a:pt x="766" y="1818"/>
                    </a:lnTo>
                    <a:lnTo>
                      <a:pt x="819" y="1779"/>
                    </a:lnTo>
                    <a:lnTo>
                      <a:pt x="871" y="1739"/>
                    </a:lnTo>
                    <a:lnTo>
                      <a:pt x="921" y="1695"/>
                    </a:lnTo>
                    <a:lnTo>
                      <a:pt x="967" y="1649"/>
                    </a:lnTo>
                    <a:lnTo>
                      <a:pt x="1014" y="1601"/>
                    </a:lnTo>
                    <a:lnTo>
                      <a:pt x="1056" y="1550"/>
                    </a:lnTo>
                    <a:lnTo>
                      <a:pt x="1096" y="1497"/>
                    </a:lnTo>
                    <a:lnTo>
                      <a:pt x="1135" y="1443"/>
                    </a:lnTo>
                    <a:lnTo>
                      <a:pt x="1170" y="1388"/>
                    </a:lnTo>
                    <a:lnTo>
                      <a:pt x="1203" y="1329"/>
                    </a:lnTo>
                    <a:lnTo>
                      <a:pt x="1233" y="1271"/>
                    </a:lnTo>
                    <a:lnTo>
                      <a:pt x="1261" y="1209"/>
                    </a:lnTo>
                    <a:lnTo>
                      <a:pt x="1285" y="1146"/>
                    </a:lnTo>
                    <a:lnTo>
                      <a:pt x="1306" y="1083"/>
                    </a:lnTo>
                    <a:lnTo>
                      <a:pt x="1324" y="1017"/>
                    </a:lnTo>
                    <a:lnTo>
                      <a:pt x="1341" y="950"/>
                    </a:lnTo>
                    <a:lnTo>
                      <a:pt x="1353" y="882"/>
                    </a:lnTo>
                    <a:lnTo>
                      <a:pt x="1360" y="813"/>
                    </a:lnTo>
                    <a:lnTo>
                      <a:pt x="1366" y="744"/>
                    </a:lnTo>
                    <a:lnTo>
                      <a:pt x="1368" y="672"/>
                    </a:lnTo>
                    <a:lnTo>
                      <a:pt x="1368" y="672"/>
                    </a:lnTo>
                    <a:lnTo>
                      <a:pt x="1366" y="627"/>
                    </a:lnTo>
                    <a:lnTo>
                      <a:pt x="1365" y="582"/>
                    </a:lnTo>
                    <a:lnTo>
                      <a:pt x="1362" y="537"/>
                    </a:lnTo>
                    <a:lnTo>
                      <a:pt x="1356" y="492"/>
                    </a:lnTo>
                    <a:lnTo>
                      <a:pt x="1350" y="448"/>
                    </a:lnTo>
                    <a:lnTo>
                      <a:pt x="1342" y="405"/>
                    </a:lnTo>
                    <a:lnTo>
                      <a:pt x="1333" y="361"/>
                    </a:lnTo>
                    <a:lnTo>
                      <a:pt x="1323" y="319"/>
                    </a:lnTo>
                    <a:lnTo>
                      <a:pt x="1311" y="277"/>
                    </a:lnTo>
                    <a:lnTo>
                      <a:pt x="1297" y="235"/>
                    </a:lnTo>
                    <a:lnTo>
                      <a:pt x="1284" y="195"/>
                    </a:lnTo>
                    <a:lnTo>
                      <a:pt x="1269" y="154"/>
                    </a:lnTo>
                    <a:lnTo>
                      <a:pt x="1251" y="115"/>
                    </a:lnTo>
                    <a:lnTo>
                      <a:pt x="1234" y="76"/>
                    </a:lnTo>
                    <a:lnTo>
                      <a:pt x="1215" y="37"/>
                    </a:lnTo>
                    <a:lnTo>
                      <a:pt x="1195" y="0"/>
                    </a:lnTo>
                    <a:lnTo>
                      <a:pt x="1195" y="0"/>
                    </a:lnTo>
                    <a:close/>
                  </a:path>
                </a:pathLst>
              </a:custGeom>
              <a:solidFill>
                <a:schemeClr val="tx2">
                  <a:lumMod val="20000"/>
                  <a:lumOff val="80000"/>
                  <a:alpha val="6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pt-BR" sz="1400" noProof="1">
                  <a:latin typeface="Graphik" panose="020B0503030202060203" pitchFamily="34" charset="77"/>
                </a:endParaRPr>
              </a:p>
            </p:txBody>
          </p:sp>
          <p:sp>
            <p:nvSpPr>
              <p:cNvPr id="29" name="Freeform 10">
                <a:extLst>
                  <a:ext uri="{FF2B5EF4-FFF2-40B4-BE49-F238E27FC236}">
                    <a16:creationId xmlns:a16="http://schemas.microsoft.com/office/drawing/2014/main" id="{8F7C4E61-CF02-3710-4F6D-E3452DC352A7}"/>
                  </a:ext>
                </a:extLst>
              </p:cNvPr>
              <p:cNvSpPr>
                <a:spLocks/>
              </p:cNvSpPr>
              <p:nvPr/>
            </p:nvSpPr>
            <p:spPr bwMode="auto">
              <a:xfrm>
                <a:off x="2987676" y="3116263"/>
                <a:ext cx="1552575" cy="2343150"/>
              </a:xfrm>
              <a:custGeom>
                <a:avLst/>
                <a:gdLst/>
                <a:ahLst/>
                <a:cxnLst>
                  <a:cxn ang="0">
                    <a:pos x="978" y="1127"/>
                  </a:cxn>
                  <a:cxn ang="0">
                    <a:pos x="914" y="1122"/>
                  </a:cxn>
                  <a:cxn ang="0">
                    <a:pos x="851" y="1110"/>
                  </a:cxn>
                  <a:cxn ang="0">
                    <a:pos x="791" y="1094"/>
                  </a:cxn>
                  <a:cxn ang="0">
                    <a:pos x="734" y="1071"/>
                  </a:cxn>
                  <a:cxn ang="0">
                    <a:pos x="678" y="1043"/>
                  </a:cxn>
                  <a:cxn ang="0">
                    <a:pos x="627" y="1010"/>
                  </a:cxn>
                  <a:cxn ang="0">
                    <a:pos x="579" y="972"/>
                  </a:cxn>
                  <a:cxn ang="0">
                    <a:pos x="534" y="932"/>
                  </a:cxn>
                  <a:cxn ang="0">
                    <a:pos x="494" y="885"/>
                  </a:cxn>
                  <a:cxn ang="0">
                    <a:pos x="458" y="836"/>
                  </a:cxn>
                  <a:cxn ang="0">
                    <a:pos x="426" y="783"/>
                  </a:cxn>
                  <a:cxn ang="0">
                    <a:pos x="401" y="728"/>
                  </a:cxn>
                  <a:cxn ang="0">
                    <a:pos x="380" y="669"/>
                  </a:cxn>
                  <a:cxn ang="0">
                    <a:pos x="363" y="609"/>
                  </a:cxn>
                  <a:cxn ang="0">
                    <a:pos x="354" y="546"/>
                  </a:cxn>
                  <a:cxn ang="0">
                    <a:pos x="351" y="480"/>
                  </a:cxn>
                  <a:cxn ang="0">
                    <a:pos x="353" y="439"/>
                  </a:cxn>
                  <a:cxn ang="0">
                    <a:pos x="363" y="360"/>
                  </a:cxn>
                  <a:cxn ang="0">
                    <a:pos x="383" y="283"/>
                  </a:cxn>
                  <a:cxn ang="0">
                    <a:pos x="410" y="210"/>
                  </a:cxn>
                  <a:cxn ang="0">
                    <a:pos x="123" y="0"/>
                  </a:cxn>
                  <a:cxn ang="0">
                    <a:pos x="108" y="27"/>
                  </a:cxn>
                  <a:cxn ang="0">
                    <a:pos x="83" y="82"/>
                  </a:cxn>
                  <a:cxn ang="0">
                    <a:pos x="60" y="139"/>
                  </a:cxn>
                  <a:cxn ang="0">
                    <a:pos x="41" y="198"/>
                  </a:cxn>
                  <a:cxn ang="0">
                    <a:pos x="26" y="258"/>
                  </a:cxn>
                  <a:cxn ang="0">
                    <a:pos x="14" y="319"/>
                  </a:cxn>
                  <a:cxn ang="0">
                    <a:pos x="5" y="382"/>
                  </a:cxn>
                  <a:cxn ang="0">
                    <a:pos x="0" y="447"/>
                  </a:cxn>
                  <a:cxn ang="0">
                    <a:pos x="0" y="480"/>
                  </a:cxn>
                  <a:cxn ang="0">
                    <a:pos x="5" y="581"/>
                  </a:cxn>
                  <a:cxn ang="0">
                    <a:pos x="20" y="678"/>
                  </a:cxn>
                  <a:cxn ang="0">
                    <a:pos x="44" y="773"/>
                  </a:cxn>
                  <a:cxn ang="0">
                    <a:pos x="77" y="863"/>
                  </a:cxn>
                  <a:cxn ang="0">
                    <a:pos x="119" y="950"/>
                  </a:cxn>
                  <a:cxn ang="0">
                    <a:pos x="167" y="1031"/>
                  </a:cxn>
                  <a:cxn ang="0">
                    <a:pos x="224" y="1107"/>
                  </a:cxn>
                  <a:cxn ang="0">
                    <a:pos x="287" y="1178"/>
                  </a:cxn>
                  <a:cxn ang="0">
                    <a:pos x="356" y="1242"/>
                  </a:cxn>
                  <a:cxn ang="0">
                    <a:pos x="431" y="1299"/>
                  </a:cxn>
                  <a:cxn ang="0">
                    <a:pos x="512" y="1350"/>
                  </a:cxn>
                  <a:cxn ang="0">
                    <a:pos x="597" y="1392"/>
                  </a:cxn>
                  <a:cxn ang="0">
                    <a:pos x="687" y="1427"/>
                  </a:cxn>
                  <a:cxn ang="0">
                    <a:pos x="780" y="1452"/>
                  </a:cxn>
                  <a:cxn ang="0">
                    <a:pos x="878" y="1469"/>
                  </a:cxn>
                  <a:cxn ang="0">
                    <a:pos x="978" y="1476"/>
                  </a:cxn>
                </a:cxnLst>
                <a:rect l="0" t="0" r="r" b="b"/>
                <a:pathLst>
                  <a:path w="978" h="1476">
                    <a:moveTo>
                      <a:pt x="978" y="1127"/>
                    </a:moveTo>
                    <a:lnTo>
                      <a:pt x="978" y="1127"/>
                    </a:lnTo>
                    <a:lnTo>
                      <a:pt x="945" y="1125"/>
                    </a:lnTo>
                    <a:lnTo>
                      <a:pt x="914" y="1122"/>
                    </a:lnTo>
                    <a:lnTo>
                      <a:pt x="882" y="1116"/>
                    </a:lnTo>
                    <a:lnTo>
                      <a:pt x="851" y="1110"/>
                    </a:lnTo>
                    <a:lnTo>
                      <a:pt x="821" y="1103"/>
                    </a:lnTo>
                    <a:lnTo>
                      <a:pt x="791" y="1094"/>
                    </a:lnTo>
                    <a:lnTo>
                      <a:pt x="762" y="1083"/>
                    </a:lnTo>
                    <a:lnTo>
                      <a:pt x="734" y="1071"/>
                    </a:lnTo>
                    <a:lnTo>
                      <a:pt x="705" y="1058"/>
                    </a:lnTo>
                    <a:lnTo>
                      <a:pt x="678" y="1043"/>
                    </a:lnTo>
                    <a:lnTo>
                      <a:pt x="653" y="1028"/>
                    </a:lnTo>
                    <a:lnTo>
                      <a:pt x="627" y="1010"/>
                    </a:lnTo>
                    <a:lnTo>
                      <a:pt x="602" y="992"/>
                    </a:lnTo>
                    <a:lnTo>
                      <a:pt x="579" y="972"/>
                    </a:lnTo>
                    <a:lnTo>
                      <a:pt x="555" y="953"/>
                    </a:lnTo>
                    <a:lnTo>
                      <a:pt x="534" y="932"/>
                    </a:lnTo>
                    <a:lnTo>
                      <a:pt x="513" y="909"/>
                    </a:lnTo>
                    <a:lnTo>
                      <a:pt x="494" y="885"/>
                    </a:lnTo>
                    <a:lnTo>
                      <a:pt x="476" y="861"/>
                    </a:lnTo>
                    <a:lnTo>
                      <a:pt x="458" y="836"/>
                    </a:lnTo>
                    <a:lnTo>
                      <a:pt x="441" y="810"/>
                    </a:lnTo>
                    <a:lnTo>
                      <a:pt x="426" y="783"/>
                    </a:lnTo>
                    <a:lnTo>
                      <a:pt x="413" y="756"/>
                    </a:lnTo>
                    <a:lnTo>
                      <a:pt x="401" y="728"/>
                    </a:lnTo>
                    <a:lnTo>
                      <a:pt x="389" y="699"/>
                    </a:lnTo>
                    <a:lnTo>
                      <a:pt x="380" y="669"/>
                    </a:lnTo>
                    <a:lnTo>
                      <a:pt x="371" y="639"/>
                    </a:lnTo>
                    <a:lnTo>
                      <a:pt x="363" y="609"/>
                    </a:lnTo>
                    <a:lnTo>
                      <a:pt x="359" y="578"/>
                    </a:lnTo>
                    <a:lnTo>
                      <a:pt x="354" y="546"/>
                    </a:lnTo>
                    <a:lnTo>
                      <a:pt x="353" y="513"/>
                    </a:lnTo>
                    <a:lnTo>
                      <a:pt x="351" y="480"/>
                    </a:lnTo>
                    <a:lnTo>
                      <a:pt x="351" y="480"/>
                    </a:lnTo>
                    <a:lnTo>
                      <a:pt x="353" y="439"/>
                    </a:lnTo>
                    <a:lnTo>
                      <a:pt x="356" y="399"/>
                    </a:lnTo>
                    <a:lnTo>
                      <a:pt x="363" y="360"/>
                    </a:lnTo>
                    <a:lnTo>
                      <a:pt x="371" y="321"/>
                    </a:lnTo>
                    <a:lnTo>
                      <a:pt x="383" y="283"/>
                    </a:lnTo>
                    <a:lnTo>
                      <a:pt x="395" y="246"/>
                    </a:lnTo>
                    <a:lnTo>
                      <a:pt x="410" y="210"/>
                    </a:lnTo>
                    <a:lnTo>
                      <a:pt x="428" y="175"/>
                    </a:lnTo>
                    <a:lnTo>
                      <a:pt x="123" y="0"/>
                    </a:lnTo>
                    <a:lnTo>
                      <a:pt x="123" y="0"/>
                    </a:lnTo>
                    <a:lnTo>
                      <a:pt x="108" y="27"/>
                    </a:lnTo>
                    <a:lnTo>
                      <a:pt x="96" y="54"/>
                    </a:lnTo>
                    <a:lnTo>
                      <a:pt x="83" y="82"/>
                    </a:lnTo>
                    <a:lnTo>
                      <a:pt x="71" y="111"/>
                    </a:lnTo>
                    <a:lnTo>
                      <a:pt x="60" y="139"/>
                    </a:lnTo>
                    <a:lnTo>
                      <a:pt x="50" y="168"/>
                    </a:lnTo>
                    <a:lnTo>
                      <a:pt x="41" y="198"/>
                    </a:lnTo>
                    <a:lnTo>
                      <a:pt x="32" y="228"/>
                    </a:lnTo>
                    <a:lnTo>
                      <a:pt x="26" y="258"/>
                    </a:lnTo>
                    <a:lnTo>
                      <a:pt x="18" y="289"/>
                    </a:lnTo>
                    <a:lnTo>
                      <a:pt x="14" y="319"/>
                    </a:lnTo>
                    <a:lnTo>
                      <a:pt x="9" y="351"/>
                    </a:lnTo>
                    <a:lnTo>
                      <a:pt x="5" y="382"/>
                    </a:lnTo>
                    <a:lnTo>
                      <a:pt x="2" y="415"/>
                    </a:lnTo>
                    <a:lnTo>
                      <a:pt x="0" y="447"/>
                    </a:lnTo>
                    <a:lnTo>
                      <a:pt x="0" y="480"/>
                    </a:lnTo>
                    <a:lnTo>
                      <a:pt x="0" y="480"/>
                    </a:lnTo>
                    <a:lnTo>
                      <a:pt x="2" y="530"/>
                    </a:lnTo>
                    <a:lnTo>
                      <a:pt x="5" y="581"/>
                    </a:lnTo>
                    <a:lnTo>
                      <a:pt x="12" y="629"/>
                    </a:lnTo>
                    <a:lnTo>
                      <a:pt x="20" y="678"/>
                    </a:lnTo>
                    <a:lnTo>
                      <a:pt x="32" y="726"/>
                    </a:lnTo>
                    <a:lnTo>
                      <a:pt x="44" y="773"/>
                    </a:lnTo>
                    <a:lnTo>
                      <a:pt x="60" y="818"/>
                    </a:lnTo>
                    <a:lnTo>
                      <a:pt x="77" y="863"/>
                    </a:lnTo>
                    <a:lnTo>
                      <a:pt x="96" y="906"/>
                    </a:lnTo>
                    <a:lnTo>
                      <a:pt x="119" y="950"/>
                    </a:lnTo>
                    <a:lnTo>
                      <a:pt x="141" y="990"/>
                    </a:lnTo>
                    <a:lnTo>
                      <a:pt x="167" y="1031"/>
                    </a:lnTo>
                    <a:lnTo>
                      <a:pt x="194" y="1070"/>
                    </a:lnTo>
                    <a:lnTo>
                      <a:pt x="224" y="1107"/>
                    </a:lnTo>
                    <a:lnTo>
                      <a:pt x="254" y="1143"/>
                    </a:lnTo>
                    <a:lnTo>
                      <a:pt x="287" y="1178"/>
                    </a:lnTo>
                    <a:lnTo>
                      <a:pt x="320" y="1211"/>
                    </a:lnTo>
                    <a:lnTo>
                      <a:pt x="356" y="1242"/>
                    </a:lnTo>
                    <a:lnTo>
                      <a:pt x="393" y="1272"/>
                    </a:lnTo>
                    <a:lnTo>
                      <a:pt x="431" y="1299"/>
                    </a:lnTo>
                    <a:lnTo>
                      <a:pt x="471" y="1326"/>
                    </a:lnTo>
                    <a:lnTo>
                      <a:pt x="512" y="1350"/>
                    </a:lnTo>
                    <a:lnTo>
                      <a:pt x="554" y="1373"/>
                    </a:lnTo>
                    <a:lnTo>
                      <a:pt x="597" y="1392"/>
                    </a:lnTo>
                    <a:lnTo>
                      <a:pt x="642" y="1410"/>
                    </a:lnTo>
                    <a:lnTo>
                      <a:pt x="687" y="1427"/>
                    </a:lnTo>
                    <a:lnTo>
                      <a:pt x="734" y="1442"/>
                    </a:lnTo>
                    <a:lnTo>
                      <a:pt x="780" y="1452"/>
                    </a:lnTo>
                    <a:lnTo>
                      <a:pt x="828" y="1463"/>
                    </a:lnTo>
                    <a:lnTo>
                      <a:pt x="878" y="1469"/>
                    </a:lnTo>
                    <a:lnTo>
                      <a:pt x="927" y="1475"/>
                    </a:lnTo>
                    <a:lnTo>
                      <a:pt x="978" y="1476"/>
                    </a:lnTo>
                    <a:lnTo>
                      <a:pt x="978" y="1127"/>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pt-BR" sz="1400" noProof="1">
                  <a:latin typeface="Graphik" panose="020B0503030202060203" pitchFamily="34" charset="77"/>
                </a:endParaRPr>
              </a:p>
            </p:txBody>
          </p:sp>
          <p:sp>
            <p:nvSpPr>
              <p:cNvPr id="30" name="Freeform 11">
                <a:extLst>
                  <a:ext uri="{FF2B5EF4-FFF2-40B4-BE49-F238E27FC236}">
                    <a16:creationId xmlns:a16="http://schemas.microsoft.com/office/drawing/2014/main" id="{50ED7FD7-1A13-2F8A-1BB4-5A805E53CB1A}"/>
                  </a:ext>
                </a:extLst>
              </p:cNvPr>
              <p:cNvSpPr>
                <a:spLocks/>
              </p:cNvSpPr>
              <p:nvPr/>
            </p:nvSpPr>
            <p:spPr bwMode="auto">
              <a:xfrm>
                <a:off x="4608513" y="3122613"/>
                <a:ext cx="1544638" cy="2336800"/>
              </a:xfrm>
              <a:custGeom>
                <a:avLst/>
                <a:gdLst/>
                <a:ahLst/>
                <a:cxnLst>
                  <a:cxn ang="0">
                    <a:pos x="549" y="176"/>
                  </a:cxn>
                  <a:cxn ang="0">
                    <a:pos x="565" y="210"/>
                  </a:cxn>
                  <a:cxn ang="0">
                    <a:pos x="594" y="282"/>
                  </a:cxn>
                  <a:cxn ang="0">
                    <a:pos x="612" y="357"/>
                  </a:cxn>
                  <a:cxn ang="0">
                    <a:pos x="622" y="437"/>
                  </a:cxn>
                  <a:cxn ang="0">
                    <a:pos x="622" y="476"/>
                  </a:cxn>
                  <a:cxn ang="0">
                    <a:pos x="619" y="542"/>
                  </a:cxn>
                  <a:cxn ang="0">
                    <a:pos x="610" y="604"/>
                  </a:cxn>
                  <a:cxn ang="0">
                    <a:pos x="595" y="665"/>
                  </a:cxn>
                  <a:cxn ang="0">
                    <a:pos x="574" y="724"/>
                  </a:cxn>
                  <a:cxn ang="0">
                    <a:pos x="549" y="779"/>
                  </a:cxn>
                  <a:cxn ang="0">
                    <a:pos x="517" y="832"/>
                  </a:cxn>
                  <a:cxn ang="0">
                    <a:pos x="481" y="880"/>
                  </a:cxn>
                  <a:cxn ang="0">
                    <a:pos x="441" y="926"/>
                  </a:cxn>
                  <a:cxn ang="0">
                    <a:pos x="397" y="968"/>
                  </a:cxn>
                  <a:cxn ang="0">
                    <a:pos x="349" y="1004"/>
                  </a:cxn>
                  <a:cxn ang="0">
                    <a:pos x="298" y="1037"/>
                  </a:cxn>
                  <a:cxn ang="0">
                    <a:pos x="243" y="1066"/>
                  </a:cxn>
                  <a:cxn ang="0">
                    <a:pos x="186" y="1088"/>
                  </a:cxn>
                  <a:cxn ang="0">
                    <a:pos x="126" y="1106"/>
                  </a:cxn>
                  <a:cxn ang="0">
                    <a:pos x="64" y="1117"/>
                  </a:cxn>
                  <a:cxn ang="0">
                    <a:pos x="0" y="1123"/>
                  </a:cxn>
                  <a:cxn ang="0">
                    <a:pos x="0" y="1472"/>
                  </a:cxn>
                  <a:cxn ang="0">
                    <a:pos x="100" y="1465"/>
                  </a:cxn>
                  <a:cxn ang="0">
                    <a:pos x="196" y="1448"/>
                  </a:cxn>
                  <a:cxn ang="0">
                    <a:pos x="291" y="1423"/>
                  </a:cxn>
                  <a:cxn ang="0">
                    <a:pos x="379" y="1388"/>
                  </a:cxn>
                  <a:cxn ang="0">
                    <a:pos x="465" y="1345"/>
                  </a:cxn>
                  <a:cxn ang="0">
                    <a:pos x="546" y="1294"/>
                  </a:cxn>
                  <a:cxn ang="0">
                    <a:pos x="619" y="1237"/>
                  </a:cxn>
                  <a:cxn ang="0">
                    <a:pos x="690" y="1172"/>
                  </a:cxn>
                  <a:cxn ang="0">
                    <a:pos x="751" y="1102"/>
                  </a:cxn>
                  <a:cxn ang="0">
                    <a:pos x="808" y="1025"/>
                  </a:cxn>
                  <a:cxn ang="0">
                    <a:pos x="856" y="944"/>
                  </a:cxn>
                  <a:cxn ang="0">
                    <a:pos x="898" y="859"/>
                  </a:cxn>
                  <a:cxn ang="0">
                    <a:pos x="930" y="767"/>
                  </a:cxn>
                  <a:cxn ang="0">
                    <a:pos x="954" y="674"/>
                  </a:cxn>
                  <a:cxn ang="0">
                    <a:pos x="969" y="575"/>
                  </a:cxn>
                  <a:cxn ang="0">
                    <a:pos x="973" y="476"/>
                  </a:cxn>
                  <a:cxn ang="0">
                    <a:pos x="973" y="443"/>
                  </a:cxn>
                  <a:cxn ang="0">
                    <a:pos x="969" y="380"/>
                  </a:cxn>
                  <a:cxn ang="0">
                    <a:pos x="961" y="317"/>
                  </a:cxn>
                  <a:cxn ang="0">
                    <a:pos x="949" y="257"/>
                  </a:cxn>
                  <a:cxn ang="0">
                    <a:pos x="934" y="197"/>
                  </a:cxn>
                  <a:cxn ang="0">
                    <a:pos x="916" y="138"/>
                  </a:cxn>
                  <a:cxn ang="0">
                    <a:pos x="894" y="83"/>
                  </a:cxn>
                  <a:cxn ang="0">
                    <a:pos x="868" y="27"/>
                  </a:cxn>
                  <a:cxn ang="0">
                    <a:pos x="853" y="0"/>
                  </a:cxn>
                </a:cxnLst>
                <a:rect l="0" t="0" r="r" b="b"/>
                <a:pathLst>
                  <a:path w="973" h="1472">
                    <a:moveTo>
                      <a:pt x="853" y="0"/>
                    </a:moveTo>
                    <a:lnTo>
                      <a:pt x="549" y="176"/>
                    </a:lnTo>
                    <a:lnTo>
                      <a:pt x="549" y="176"/>
                    </a:lnTo>
                    <a:lnTo>
                      <a:pt x="565" y="210"/>
                    </a:lnTo>
                    <a:lnTo>
                      <a:pt x="580" y="246"/>
                    </a:lnTo>
                    <a:lnTo>
                      <a:pt x="594" y="282"/>
                    </a:lnTo>
                    <a:lnTo>
                      <a:pt x="604" y="320"/>
                    </a:lnTo>
                    <a:lnTo>
                      <a:pt x="612" y="357"/>
                    </a:lnTo>
                    <a:lnTo>
                      <a:pt x="618" y="396"/>
                    </a:lnTo>
                    <a:lnTo>
                      <a:pt x="622" y="437"/>
                    </a:lnTo>
                    <a:lnTo>
                      <a:pt x="622" y="476"/>
                    </a:lnTo>
                    <a:lnTo>
                      <a:pt x="622" y="476"/>
                    </a:lnTo>
                    <a:lnTo>
                      <a:pt x="622" y="509"/>
                    </a:lnTo>
                    <a:lnTo>
                      <a:pt x="619" y="542"/>
                    </a:lnTo>
                    <a:lnTo>
                      <a:pt x="616" y="574"/>
                    </a:lnTo>
                    <a:lnTo>
                      <a:pt x="610" y="604"/>
                    </a:lnTo>
                    <a:lnTo>
                      <a:pt x="603" y="635"/>
                    </a:lnTo>
                    <a:lnTo>
                      <a:pt x="595" y="665"/>
                    </a:lnTo>
                    <a:lnTo>
                      <a:pt x="585" y="694"/>
                    </a:lnTo>
                    <a:lnTo>
                      <a:pt x="574" y="724"/>
                    </a:lnTo>
                    <a:lnTo>
                      <a:pt x="562" y="751"/>
                    </a:lnTo>
                    <a:lnTo>
                      <a:pt x="549" y="779"/>
                    </a:lnTo>
                    <a:lnTo>
                      <a:pt x="534" y="805"/>
                    </a:lnTo>
                    <a:lnTo>
                      <a:pt x="517" y="832"/>
                    </a:lnTo>
                    <a:lnTo>
                      <a:pt x="499" y="856"/>
                    </a:lnTo>
                    <a:lnTo>
                      <a:pt x="481" y="880"/>
                    </a:lnTo>
                    <a:lnTo>
                      <a:pt x="462" y="904"/>
                    </a:lnTo>
                    <a:lnTo>
                      <a:pt x="441" y="926"/>
                    </a:lnTo>
                    <a:lnTo>
                      <a:pt x="420" y="947"/>
                    </a:lnTo>
                    <a:lnTo>
                      <a:pt x="397" y="968"/>
                    </a:lnTo>
                    <a:lnTo>
                      <a:pt x="373" y="986"/>
                    </a:lnTo>
                    <a:lnTo>
                      <a:pt x="349" y="1004"/>
                    </a:lnTo>
                    <a:lnTo>
                      <a:pt x="324" y="1022"/>
                    </a:lnTo>
                    <a:lnTo>
                      <a:pt x="298" y="1037"/>
                    </a:lnTo>
                    <a:lnTo>
                      <a:pt x="271" y="1052"/>
                    </a:lnTo>
                    <a:lnTo>
                      <a:pt x="243" y="1066"/>
                    </a:lnTo>
                    <a:lnTo>
                      <a:pt x="214" y="1078"/>
                    </a:lnTo>
                    <a:lnTo>
                      <a:pt x="186" y="1088"/>
                    </a:lnTo>
                    <a:lnTo>
                      <a:pt x="156" y="1097"/>
                    </a:lnTo>
                    <a:lnTo>
                      <a:pt x="126" y="1106"/>
                    </a:lnTo>
                    <a:lnTo>
                      <a:pt x="96" y="1112"/>
                    </a:lnTo>
                    <a:lnTo>
                      <a:pt x="64" y="1117"/>
                    </a:lnTo>
                    <a:lnTo>
                      <a:pt x="33" y="1121"/>
                    </a:lnTo>
                    <a:lnTo>
                      <a:pt x="0" y="1123"/>
                    </a:lnTo>
                    <a:lnTo>
                      <a:pt x="0" y="1472"/>
                    </a:lnTo>
                    <a:lnTo>
                      <a:pt x="0" y="1472"/>
                    </a:lnTo>
                    <a:lnTo>
                      <a:pt x="51" y="1469"/>
                    </a:lnTo>
                    <a:lnTo>
                      <a:pt x="100" y="1465"/>
                    </a:lnTo>
                    <a:lnTo>
                      <a:pt x="148" y="1457"/>
                    </a:lnTo>
                    <a:lnTo>
                      <a:pt x="196" y="1448"/>
                    </a:lnTo>
                    <a:lnTo>
                      <a:pt x="244" y="1436"/>
                    </a:lnTo>
                    <a:lnTo>
                      <a:pt x="291" y="1423"/>
                    </a:lnTo>
                    <a:lnTo>
                      <a:pt x="336" y="1406"/>
                    </a:lnTo>
                    <a:lnTo>
                      <a:pt x="379" y="1388"/>
                    </a:lnTo>
                    <a:lnTo>
                      <a:pt x="423" y="1367"/>
                    </a:lnTo>
                    <a:lnTo>
                      <a:pt x="465" y="1345"/>
                    </a:lnTo>
                    <a:lnTo>
                      <a:pt x="505" y="1321"/>
                    </a:lnTo>
                    <a:lnTo>
                      <a:pt x="546" y="1294"/>
                    </a:lnTo>
                    <a:lnTo>
                      <a:pt x="583" y="1267"/>
                    </a:lnTo>
                    <a:lnTo>
                      <a:pt x="619" y="1237"/>
                    </a:lnTo>
                    <a:lnTo>
                      <a:pt x="655" y="1205"/>
                    </a:lnTo>
                    <a:lnTo>
                      <a:pt x="690" y="1172"/>
                    </a:lnTo>
                    <a:lnTo>
                      <a:pt x="721" y="1138"/>
                    </a:lnTo>
                    <a:lnTo>
                      <a:pt x="751" y="1102"/>
                    </a:lnTo>
                    <a:lnTo>
                      <a:pt x="781" y="1064"/>
                    </a:lnTo>
                    <a:lnTo>
                      <a:pt x="808" y="1025"/>
                    </a:lnTo>
                    <a:lnTo>
                      <a:pt x="834" y="986"/>
                    </a:lnTo>
                    <a:lnTo>
                      <a:pt x="856" y="944"/>
                    </a:lnTo>
                    <a:lnTo>
                      <a:pt x="879" y="902"/>
                    </a:lnTo>
                    <a:lnTo>
                      <a:pt x="898" y="859"/>
                    </a:lnTo>
                    <a:lnTo>
                      <a:pt x="915" y="814"/>
                    </a:lnTo>
                    <a:lnTo>
                      <a:pt x="930" y="767"/>
                    </a:lnTo>
                    <a:lnTo>
                      <a:pt x="943" y="721"/>
                    </a:lnTo>
                    <a:lnTo>
                      <a:pt x="954" y="674"/>
                    </a:lnTo>
                    <a:lnTo>
                      <a:pt x="963" y="625"/>
                    </a:lnTo>
                    <a:lnTo>
                      <a:pt x="969" y="575"/>
                    </a:lnTo>
                    <a:lnTo>
                      <a:pt x="973" y="526"/>
                    </a:lnTo>
                    <a:lnTo>
                      <a:pt x="973" y="476"/>
                    </a:lnTo>
                    <a:lnTo>
                      <a:pt x="973" y="476"/>
                    </a:lnTo>
                    <a:lnTo>
                      <a:pt x="973" y="443"/>
                    </a:lnTo>
                    <a:lnTo>
                      <a:pt x="972" y="411"/>
                    </a:lnTo>
                    <a:lnTo>
                      <a:pt x="969" y="380"/>
                    </a:lnTo>
                    <a:lnTo>
                      <a:pt x="966" y="348"/>
                    </a:lnTo>
                    <a:lnTo>
                      <a:pt x="961" y="317"/>
                    </a:lnTo>
                    <a:lnTo>
                      <a:pt x="957" y="287"/>
                    </a:lnTo>
                    <a:lnTo>
                      <a:pt x="949" y="257"/>
                    </a:lnTo>
                    <a:lnTo>
                      <a:pt x="943" y="227"/>
                    </a:lnTo>
                    <a:lnTo>
                      <a:pt x="934" y="197"/>
                    </a:lnTo>
                    <a:lnTo>
                      <a:pt x="925" y="168"/>
                    </a:lnTo>
                    <a:lnTo>
                      <a:pt x="916" y="138"/>
                    </a:lnTo>
                    <a:lnTo>
                      <a:pt x="904" y="110"/>
                    </a:lnTo>
                    <a:lnTo>
                      <a:pt x="894" y="83"/>
                    </a:lnTo>
                    <a:lnTo>
                      <a:pt x="880" y="54"/>
                    </a:lnTo>
                    <a:lnTo>
                      <a:pt x="868" y="27"/>
                    </a:lnTo>
                    <a:lnTo>
                      <a:pt x="853" y="0"/>
                    </a:lnTo>
                    <a:lnTo>
                      <a:pt x="853" y="0"/>
                    </a:lnTo>
                    <a:close/>
                  </a:path>
                </a:pathLst>
              </a:custGeom>
              <a:solidFill>
                <a:schemeClr val="tx2">
                  <a:lumMod val="20000"/>
                  <a:lumOff val="8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pt-BR" sz="1400" noProof="1">
                  <a:latin typeface="Graphik" panose="020B0503030202060203" pitchFamily="34" charset="77"/>
                </a:endParaRPr>
              </a:p>
            </p:txBody>
          </p:sp>
        </p:grpSp>
        <p:sp>
          <p:nvSpPr>
            <p:cNvPr id="41" name="TextBox 40">
              <a:extLst>
                <a:ext uri="{FF2B5EF4-FFF2-40B4-BE49-F238E27FC236}">
                  <a16:creationId xmlns:a16="http://schemas.microsoft.com/office/drawing/2014/main" id="{3C442A03-47B5-E584-F419-0A36048BB0B5}"/>
                </a:ext>
              </a:extLst>
            </p:cNvPr>
            <p:cNvSpPr txBox="1"/>
            <p:nvPr/>
          </p:nvSpPr>
          <p:spPr bwMode="auto">
            <a:xfrm flipH="1">
              <a:off x="1822451" y="4349002"/>
              <a:ext cx="2675531" cy="849139"/>
            </a:xfrm>
            <a:prstGeom prst="rect">
              <a:avLst/>
            </a:prstGeom>
            <a:noFill/>
          </p:spPr>
          <p:txBody>
            <a:bodyPr wrap="square" lIns="0" rIns="0" rtlCol="0">
              <a:spAutoFit/>
            </a:bodyPr>
            <a:lstStyle/>
            <a:p>
              <a:pPr fontAlgn="base">
                <a:spcBef>
                  <a:spcPct val="50000"/>
                </a:spcBef>
                <a:spcAft>
                  <a:spcPct val="0"/>
                </a:spcAft>
                <a:buClr>
                  <a:srgbClr val="F0AB00"/>
                </a:buClr>
                <a:buSzPct val="80000"/>
              </a:pPr>
              <a:r>
                <a:rPr lang="pt-BR" sz="1400" kern="0" noProof="1">
                  <a:latin typeface="Graphik" panose="020B0503030202060203" pitchFamily="34" charset="77"/>
                  <a:ea typeface="Graphik Unicode MS" pitchFamily="34" charset="-128"/>
                  <a:cs typeface="Graphik Unicode MS" pitchFamily="34" charset="-128"/>
                </a:rPr>
                <a:t>Text placeholder</a:t>
              </a:r>
            </a:p>
            <a:p>
              <a:pPr fontAlgn="base">
                <a:spcBef>
                  <a:spcPct val="50000"/>
                </a:spcBef>
                <a:spcAft>
                  <a:spcPct val="0"/>
                </a:spcAft>
                <a:buClr>
                  <a:srgbClr val="F0AB00"/>
                </a:buClr>
                <a:buSzPct val="80000"/>
              </a:pPr>
              <a:endParaRPr lang="pt-BR" sz="1400" kern="0" noProof="1">
                <a:latin typeface="Graphik" panose="020B0503030202060203" pitchFamily="34" charset="77"/>
                <a:ea typeface="Graphik Unicode MS" pitchFamily="34" charset="-128"/>
                <a:cs typeface="Graphik Unicode MS" pitchFamily="34" charset="-128"/>
              </a:endParaRPr>
            </a:p>
          </p:txBody>
        </p:sp>
        <p:cxnSp>
          <p:nvCxnSpPr>
            <p:cNvPr id="42" name="Straight Connector 41">
              <a:extLst>
                <a:ext uri="{FF2B5EF4-FFF2-40B4-BE49-F238E27FC236}">
                  <a16:creationId xmlns:a16="http://schemas.microsoft.com/office/drawing/2014/main" id="{02D5E3F7-0181-5D60-0416-BF4A2F366376}"/>
                </a:ext>
                <a:ext uri="{C183D7F6-B498-43B3-948B-1728B52AA6E4}">
                  <adec:decorative xmlns:adec="http://schemas.microsoft.com/office/drawing/2017/decorative" val="1"/>
                </a:ext>
              </a:extLst>
            </p:cNvPr>
            <p:cNvCxnSpPr/>
            <p:nvPr/>
          </p:nvCxnSpPr>
          <p:spPr bwMode="auto">
            <a:xfrm>
              <a:off x="1822450" y="4745002"/>
              <a:ext cx="3074802" cy="0"/>
            </a:xfrm>
            <a:prstGeom prst="line">
              <a:avLst/>
            </a:prstGeom>
            <a:ln w="127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6D805870-F58A-0BED-82D0-008A817BB472}"/>
                </a:ext>
              </a:extLst>
            </p:cNvPr>
            <p:cNvSpPr txBox="1"/>
            <p:nvPr/>
          </p:nvSpPr>
          <p:spPr bwMode="auto">
            <a:xfrm flipH="1">
              <a:off x="1822451" y="5241413"/>
              <a:ext cx="2955593" cy="849139"/>
            </a:xfrm>
            <a:prstGeom prst="rect">
              <a:avLst/>
            </a:prstGeom>
            <a:noFill/>
          </p:spPr>
          <p:txBody>
            <a:bodyPr wrap="square" lIns="0" rIns="0" rtlCol="0">
              <a:spAutoFit/>
            </a:bodyPr>
            <a:lstStyle/>
            <a:p>
              <a:pPr fontAlgn="base">
                <a:spcBef>
                  <a:spcPct val="50000"/>
                </a:spcBef>
                <a:spcAft>
                  <a:spcPct val="0"/>
                </a:spcAft>
                <a:buClr>
                  <a:srgbClr val="F0AB00"/>
                </a:buClr>
                <a:buSzPct val="80000"/>
              </a:pPr>
              <a:r>
                <a:rPr lang="pt-BR" sz="1400" kern="0" noProof="1">
                  <a:latin typeface="Graphik" panose="020B0503030202060203" pitchFamily="34" charset="77"/>
                  <a:ea typeface="Graphik Unicode MS" pitchFamily="34" charset="-128"/>
                  <a:cs typeface="Graphik Unicode MS" pitchFamily="34" charset="-128"/>
                </a:rPr>
                <a:t>Text placeholder</a:t>
              </a:r>
            </a:p>
            <a:p>
              <a:pPr fontAlgn="base">
                <a:spcBef>
                  <a:spcPct val="50000"/>
                </a:spcBef>
                <a:spcAft>
                  <a:spcPct val="0"/>
                </a:spcAft>
                <a:buClr>
                  <a:srgbClr val="F0AB00"/>
                </a:buClr>
                <a:buSzPct val="80000"/>
              </a:pPr>
              <a:endParaRPr lang="pt-BR" sz="1400" kern="0" noProof="1">
                <a:latin typeface="Graphik" panose="020B0503030202060203" pitchFamily="34" charset="77"/>
                <a:ea typeface="Graphik Unicode MS" pitchFamily="34" charset="-128"/>
                <a:cs typeface="Graphik Unicode MS" pitchFamily="34" charset="-128"/>
              </a:endParaRPr>
            </a:p>
          </p:txBody>
        </p:sp>
        <p:cxnSp>
          <p:nvCxnSpPr>
            <p:cNvPr id="40" name="Straight Connector 39">
              <a:extLst>
                <a:ext uri="{FF2B5EF4-FFF2-40B4-BE49-F238E27FC236}">
                  <a16:creationId xmlns:a16="http://schemas.microsoft.com/office/drawing/2014/main" id="{40D43EB9-44AF-028E-029B-5DED40F26B3C}"/>
                </a:ext>
                <a:ext uri="{C183D7F6-B498-43B3-948B-1728B52AA6E4}">
                  <adec:decorative xmlns:adec="http://schemas.microsoft.com/office/drawing/2017/decorative" val="1"/>
                </a:ext>
              </a:extLst>
            </p:cNvPr>
            <p:cNvCxnSpPr/>
            <p:nvPr/>
          </p:nvCxnSpPr>
          <p:spPr bwMode="auto">
            <a:xfrm>
              <a:off x="1822450" y="5637414"/>
              <a:ext cx="3396659" cy="0"/>
            </a:xfrm>
            <a:prstGeom prst="line">
              <a:avLst/>
            </a:prstGeom>
            <a:ln w="127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C4902A79-4255-18D0-7B6C-58E36053B7DF}"/>
                </a:ext>
              </a:extLst>
            </p:cNvPr>
            <p:cNvSpPr txBox="1"/>
            <p:nvPr/>
          </p:nvSpPr>
          <p:spPr bwMode="auto">
            <a:xfrm>
              <a:off x="7488471" y="1665362"/>
              <a:ext cx="2874728" cy="849139"/>
            </a:xfrm>
            <a:prstGeom prst="rect">
              <a:avLst/>
            </a:prstGeom>
            <a:noFill/>
          </p:spPr>
          <p:txBody>
            <a:bodyPr wrap="square" lIns="0" rIns="0" rtlCol="0">
              <a:spAutoFit/>
            </a:bodyPr>
            <a:lstStyle/>
            <a:p>
              <a:pPr algn="r" fontAlgn="base">
                <a:spcBef>
                  <a:spcPct val="50000"/>
                </a:spcBef>
                <a:spcAft>
                  <a:spcPct val="0"/>
                </a:spcAft>
                <a:buClr>
                  <a:srgbClr val="F0AB00"/>
                </a:buClr>
                <a:buSzPct val="80000"/>
              </a:pPr>
              <a:r>
                <a:rPr lang="pt-BR" sz="1400" kern="0" noProof="1">
                  <a:latin typeface="Graphik" panose="020B0503030202060203" pitchFamily="34" charset="77"/>
                  <a:ea typeface="Graphik Unicode MS" pitchFamily="34" charset="-128"/>
                  <a:cs typeface="Graphik Unicode MS" pitchFamily="34" charset="-128"/>
                </a:rPr>
                <a:t>Text placeholder</a:t>
              </a:r>
            </a:p>
            <a:p>
              <a:pPr algn="r" fontAlgn="base">
                <a:spcBef>
                  <a:spcPct val="50000"/>
                </a:spcBef>
                <a:spcAft>
                  <a:spcPct val="0"/>
                </a:spcAft>
                <a:buClr>
                  <a:srgbClr val="F0AB00"/>
                </a:buClr>
                <a:buSzPct val="80000"/>
              </a:pPr>
              <a:endParaRPr lang="pt-BR" sz="1400" kern="0" noProof="1">
                <a:latin typeface="Graphik" panose="020B0503030202060203" pitchFamily="34" charset="77"/>
                <a:ea typeface="Graphik Unicode MS" pitchFamily="34" charset="-128"/>
                <a:cs typeface="Graphik Unicode MS" pitchFamily="34" charset="-128"/>
              </a:endParaRPr>
            </a:p>
          </p:txBody>
        </p:sp>
        <p:cxnSp>
          <p:nvCxnSpPr>
            <p:cNvPr id="34" name="Straight Connector 33">
              <a:extLst>
                <a:ext uri="{FF2B5EF4-FFF2-40B4-BE49-F238E27FC236}">
                  <a16:creationId xmlns:a16="http://schemas.microsoft.com/office/drawing/2014/main" id="{1D4D27E4-424B-8F59-31CB-5104C8DC3D26}"/>
                </a:ext>
                <a:ext uri="{C183D7F6-B498-43B3-948B-1728B52AA6E4}">
                  <adec:decorative xmlns:adec="http://schemas.microsoft.com/office/drawing/2017/decorative" val="1"/>
                </a:ext>
              </a:extLst>
            </p:cNvPr>
            <p:cNvCxnSpPr/>
            <p:nvPr/>
          </p:nvCxnSpPr>
          <p:spPr bwMode="auto">
            <a:xfrm flipH="1">
              <a:off x="7059468" y="2057221"/>
              <a:ext cx="3303728" cy="0"/>
            </a:xfrm>
            <a:prstGeom prst="line">
              <a:avLst/>
            </a:prstGeom>
            <a:ln w="127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F57E5F75-FDB1-CBBF-6AB7-1BA4955A02B7}"/>
                </a:ext>
              </a:extLst>
            </p:cNvPr>
            <p:cNvSpPr txBox="1"/>
            <p:nvPr/>
          </p:nvSpPr>
          <p:spPr bwMode="auto">
            <a:xfrm>
              <a:off x="7645619" y="2441217"/>
              <a:ext cx="2717577" cy="849139"/>
            </a:xfrm>
            <a:prstGeom prst="rect">
              <a:avLst/>
            </a:prstGeom>
            <a:noFill/>
          </p:spPr>
          <p:txBody>
            <a:bodyPr wrap="square" lIns="0" rIns="0" rtlCol="0">
              <a:spAutoFit/>
            </a:bodyPr>
            <a:lstStyle/>
            <a:p>
              <a:pPr algn="r" fontAlgn="base">
                <a:spcBef>
                  <a:spcPct val="50000"/>
                </a:spcBef>
                <a:spcAft>
                  <a:spcPct val="0"/>
                </a:spcAft>
                <a:buClr>
                  <a:srgbClr val="F0AB00"/>
                </a:buClr>
                <a:buSzPct val="80000"/>
              </a:pPr>
              <a:r>
                <a:rPr lang="pt-BR" sz="1400" kern="0" noProof="1">
                  <a:latin typeface="Graphik" panose="020B0503030202060203" pitchFamily="34" charset="77"/>
                  <a:ea typeface="Graphik Unicode MS" pitchFamily="34" charset="-128"/>
                  <a:cs typeface="Graphik Unicode MS" pitchFamily="34" charset="-128"/>
                </a:rPr>
                <a:t>Text placeholder</a:t>
              </a:r>
            </a:p>
            <a:p>
              <a:pPr algn="r" fontAlgn="base">
                <a:spcBef>
                  <a:spcPct val="50000"/>
                </a:spcBef>
                <a:spcAft>
                  <a:spcPct val="0"/>
                </a:spcAft>
                <a:buClr>
                  <a:srgbClr val="F0AB00"/>
                </a:buClr>
                <a:buSzPct val="80000"/>
              </a:pPr>
              <a:endParaRPr lang="pt-BR" sz="1400" kern="0" noProof="1">
                <a:latin typeface="Graphik" panose="020B0503030202060203" pitchFamily="34" charset="77"/>
                <a:ea typeface="Graphik Unicode MS" pitchFamily="34" charset="-128"/>
                <a:cs typeface="Graphik Unicode MS" pitchFamily="34" charset="-128"/>
              </a:endParaRPr>
            </a:p>
          </p:txBody>
        </p:sp>
        <p:cxnSp>
          <p:nvCxnSpPr>
            <p:cNvPr id="36" name="Straight Connector 35">
              <a:extLst>
                <a:ext uri="{FF2B5EF4-FFF2-40B4-BE49-F238E27FC236}">
                  <a16:creationId xmlns:a16="http://schemas.microsoft.com/office/drawing/2014/main" id="{83E2BC1B-C070-FC38-2F87-4CAA16C0CDAF}"/>
                </a:ext>
                <a:ext uri="{C183D7F6-B498-43B3-948B-1728B52AA6E4}">
                  <adec:decorative xmlns:adec="http://schemas.microsoft.com/office/drawing/2017/decorative" val="1"/>
                </a:ext>
              </a:extLst>
            </p:cNvPr>
            <p:cNvCxnSpPr/>
            <p:nvPr/>
          </p:nvCxnSpPr>
          <p:spPr bwMode="auto">
            <a:xfrm rot="10800000">
              <a:off x="6850769" y="2833075"/>
              <a:ext cx="3512427" cy="0"/>
            </a:xfrm>
            <a:prstGeom prst="line">
              <a:avLst/>
            </a:prstGeom>
            <a:ln w="127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9A2B4755-896F-047F-9228-44F818E00E26}"/>
                </a:ext>
              </a:extLst>
            </p:cNvPr>
            <p:cNvSpPr txBox="1"/>
            <p:nvPr/>
          </p:nvSpPr>
          <p:spPr bwMode="auto">
            <a:xfrm>
              <a:off x="7730604" y="4349002"/>
              <a:ext cx="2632595" cy="849139"/>
            </a:xfrm>
            <a:prstGeom prst="rect">
              <a:avLst/>
            </a:prstGeom>
            <a:noFill/>
          </p:spPr>
          <p:txBody>
            <a:bodyPr wrap="square" lIns="0" rIns="0" rtlCol="0">
              <a:spAutoFit/>
            </a:bodyPr>
            <a:lstStyle/>
            <a:p>
              <a:pPr algn="r" fontAlgn="base">
                <a:spcBef>
                  <a:spcPct val="50000"/>
                </a:spcBef>
                <a:spcAft>
                  <a:spcPct val="0"/>
                </a:spcAft>
                <a:buClr>
                  <a:srgbClr val="F0AB00"/>
                </a:buClr>
                <a:buSzPct val="80000"/>
              </a:pPr>
              <a:r>
                <a:rPr lang="pt-BR" sz="1400" kern="0" noProof="1">
                  <a:latin typeface="Graphik" panose="020B0503030202060203" pitchFamily="34" charset="77"/>
                  <a:ea typeface="Graphik Unicode MS" pitchFamily="34" charset="-128"/>
                  <a:cs typeface="Graphik Unicode MS" pitchFamily="34" charset="-128"/>
                </a:rPr>
                <a:t>Text placeholder</a:t>
              </a:r>
            </a:p>
            <a:p>
              <a:pPr algn="r" fontAlgn="base">
                <a:spcBef>
                  <a:spcPct val="50000"/>
                </a:spcBef>
                <a:spcAft>
                  <a:spcPct val="0"/>
                </a:spcAft>
                <a:buClr>
                  <a:srgbClr val="F0AB00"/>
                </a:buClr>
                <a:buSzPct val="80000"/>
              </a:pPr>
              <a:endParaRPr lang="pt-BR" sz="1400" kern="0" noProof="1">
                <a:latin typeface="Graphik" panose="020B0503030202060203" pitchFamily="34" charset="77"/>
                <a:ea typeface="Graphik Unicode MS" pitchFamily="34" charset="-128"/>
                <a:cs typeface="Graphik Unicode MS" pitchFamily="34" charset="-128"/>
              </a:endParaRPr>
            </a:p>
          </p:txBody>
        </p:sp>
        <p:cxnSp>
          <p:nvCxnSpPr>
            <p:cNvPr id="38" name="Straight Connector 37">
              <a:extLst>
                <a:ext uri="{FF2B5EF4-FFF2-40B4-BE49-F238E27FC236}">
                  <a16:creationId xmlns:a16="http://schemas.microsoft.com/office/drawing/2014/main" id="{A1C4CD37-80E9-EA79-7F06-C34B15130944}"/>
                </a:ext>
                <a:ext uri="{C183D7F6-B498-43B3-948B-1728B52AA6E4}">
                  <adec:decorative xmlns:adec="http://schemas.microsoft.com/office/drawing/2017/decorative" val="1"/>
                </a:ext>
              </a:extLst>
            </p:cNvPr>
            <p:cNvCxnSpPr/>
            <p:nvPr/>
          </p:nvCxnSpPr>
          <p:spPr bwMode="auto">
            <a:xfrm flipH="1">
              <a:off x="7337737" y="4745002"/>
              <a:ext cx="3025459" cy="0"/>
            </a:xfrm>
            <a:prstGeom prst="line">
              <a:avLst/>
            </a:prstGeom>
            <a:ln w="127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1863CEE7-874B-34A4-3509-F23F090B1BAC}"/>
                </a:ext>
              </a:extLst>
            </p:cNvPr>
            <p:cNvSpPr txBox="1"/>
            <p:nvPr/>
          </p:nvSpPr>
          <p:spPr bwMode="auto">
            <a:xfrm>
              <a:off x="7488471" y="5241413"/>
              <a:ext cx="2874728" cy="849139"/>
            </a:xfrm>
            <a:prstGeom prst="rect">
              <a:avLst/>
            </a:prstGeom>
            <a:noFill/>
          </p:spPr>
          <p:txBody>
            <a:bodyPr wrap="square" lIns="0" rIns="0" rtlCol="0">
              <a:spAutoFit/>
            </a:bodyPr>
            <a:lstStyle/>
            <a:p>
              <a:pPr algn="r" fontAlgn="base">
                <a:spcBef>
                  <a:spcPct val="50000"/>
                </a:spcBef>
                <a:spcAft>
                  <a:spcPct val="0"/>
                </a:spcAft>
                <a:buClr>
                  <a:srgbClr val="F0AB00"/>
                </a:buClr>
                <a:buSzPct val="80000"/>
              </a:pPr>
              <a:r>
                <a:rPr lang="pt-BR" sz="1400" kern="0" noProof="1">
                  <a:latin typeface="Graphik" panose="020B0503030202060203" pitchFamily="34" charset="77"/>
                  <a:ea typeface="Graphik Unicode MS" pitchFamily="34" charset="-128"/>
                  <a:cs typeface="Graphik Unicode MS" pitchFamily="34" charset="-128"/>
                </a:rPr>
                <a:t>Text placeholder</a:t>
              </a:r>
            </a:p>
            <a:p>
              <a:pPr algn="r" fontAlgn="base">
                <a:spcBef>
                  <a:spcPct val="50000"/>
                </a:spcBef>
                <a:spcAft>
                  <a:spcPct val="0"/>
                </a:spcAft>
                <a:buClr>
                  <a:srgbClr val="F0AB00"/>
                </a:buClr>
                <a:buSzPct val="80000"/>
              </a:pPr>
              <a:endParaRPr lang="pt-BR" sz="1400" kern="0" noProof="1">
                <a:latin typeface="Graphik" panose="020B0503030202060203" pitchFamily="34" charset="77"/>
                <a:ea typeface="Graphik Unicode MS" pitchFamily="34" charset="-128"/>
                <a:cs typeface="Graphik Unicode MS" pitchFamily="34" charset="-128"/>
              </a:endParaRPr>
            </a:p>
          </p:txBody>
        </p:sp>
        <p:cxnSp>
          <p:nvCxnSpPr>
            <p:cNvPr id="32" name="Straight Connector 31">
              <a:extLst>
                <a:ext uri="{FF2B5EF4-FFF2-40B4-BE49-F238E27FC236}">
                  <a16:creationId xmlns:a16="http://schemas.microsoft.com/office/drawing/2014/main" id="{D898B5D6-6163-BB02-6D15-C612F8566825}"/>
                </a:ext>
                <a:ext uri="{C183D7F6-B498-43B3-948B-1728B52AA6E4}">
                  <adec:decorative xmlns:adec="http://schemas.microsoft.com/office/drawing/2017/decorative" val="1"/>
                </a:ext>
              </a:extLst>
            </p:cNvPr>
            <p:cNvCxnSpPr/>
            <p:nvPr/>
          </p:nvCxnSpPr>
          <p:spPr bwMode="auto">
            <a:xfrm flipH="1">
              <a:off x="7059468" y="5637414"/>
              <a:ext cx="3303728" cy="0"/>
            </a:xfrm>
            <a:prstGeom prst="line">
              <a:avLst/>
            </a:prstGeom>
            <a:ln w="127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066749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F13B7F0-E4E9-CF89-088A-A7917E423893}"/>
              </a:ext>
            </a:extLst>
          </p:cNvPr>
          <p:cNvGraphicFramePr>
            <a:graphicFrameLocks noChangeAspect="1"/>
          </p:cNvGraphicFramePr>
          <p:nvPr>
            <p:custDataLst>
              <p:tags r:id="rId1"/>
            </p:custDataLst>
            <p:extLst>
              <p:ext uri="{D42A27DB-BD31-4B8C-83A1-F6EECF244321}">
                <p14:modId xmlns:p14="http://schemas.microsoft.com/office/powerpoint/2010/main" val="1521261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5" name="think-cell data - do not delete" hidden="1">
                        <a:extLst>
                          <a:ext uri="{FF2B5EF4-FFF2-40B4-BE49-F238E27FC236}">
                            <a16:creationId xmlns:a16="http://schemas.microsoft.com/office/drawing/2014/main" id="{8F13B7F0-E4E9-CF89-088A-A7917E4238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vert="horz"/>
          <a:lstStyle/>
          <a:p>
            <a:r>
              <a:rPr lang="pt-BR" noProof="1"/>
              <a:t>Horizontal issue tree example – </a:t>
            </a:r>
            <a:r>
              <a:rPr lang="pt-BR" b="1" noProof="1"/>
              <a:t>PROPOSAL </a:t>
            </a:r>
            <a:endParaRPr lang="pt-BR" noProof="1"/>
          </a:p>
        </p:txBody>
      </p:sp>
      <p:grpSp>
        <p:nvGrpSpPr>
          <p:cNvPr id="3" name="Group 2" descr="Example of a horizontal issue tree diagram with branching nodes representing hierarchical relationships. The structure expands from left to right.">
            <a:extLst>
              <a:ext uri="{FF2B5EF4-FFF2-40B4-BE49-F238E27FC236}">
                <a16:creationId xmlns:a16="http://schemas.microsoft.com/office/drawing/2014/main" id="{F807EF46-7207-4C70-836C-4161F1B96D51}"/>
              </a:ext>
            </a:extLst>
          </p:cNvPr>
          <p:cNvGrpSpPr/>
          <p:nvPr/>
        </p:nvGrpSpPr>
        <p:grpSpPr>
          <a:xfrm>
            <a:off x="2100071" y="1530391"/>
            <a:ext cx="7721263" cy="4225643"/>
            <a:chOff x="1822449" y="1378561"/>
            <a:chExt cx="8550275" cy="4679339"/>
          </a:xfrm>
        </p:grpSpPr>
        <p:sp>
          <p:nvSpPr>
            <p:cNvPr id="56" name="TextBox 55">
              <a:extLst>
                <a:ext uri="{FF2B5EF4-FFF2-40B4-BE49-F238E27FC236}">
                  <a16:creationId xmlns:a16="http://schemas.microsoft.com/office/drawing/2014/main" id="{1884C4F0-2513-468E-9418-FD6224AC5417}"/>
                </a:ext>
              </a:extLst>
            </p:cNvPr>
            <p:cNvSpPr txBox="1"/>
            <p:nvPr/>
          </p:nvSpPr>
          <p:spPr>
            <a:xfrm>
              <a:off x="1822449" y="3523623"/>
              <a:ext cx="1224165" cy="291085"/>
            </a:xfrm>
            <a:prstGeom prst="rect">
              <a:avLst/>
            </a:prstGeom>
            <a:solidFill>
              <a:schemeClr val="accent1"/>
            </a:solidFill>
            <a:ln>
              <a:noFill/>
            </a:ln>
          </p:spPr>
          <p:txBody>
            <a:bodyPr wrap="square" lIns="71977" tIns="64785" rIns="71977" bIns="45707" rtlCol="0" anchor="ctr">
              <a:noAutofit/>
            </a:bodyPr>
            <a:lstStyle>
              <a:defPPr>
                <a:defRPr lang="en-US"/>
              </a:defPPr>
              <a:lvl1pPr>
                <a:defRPr sz="1400">
                  <a:solidFill>
                    <a:schemeClr val="bg1"/>
                  </a:solidFill>
                </a:defRPr>
              </a:lvl1pPr>
            </a:lstStyle>
            <a:p>
              <a:pPr>
                <a:lnSpc>
                  <a:spcPct val="90000"/>
                </a:lnSpc>
              </a:pPr>
              <a:r>
                <a:rPr lang="pt-BR" noProof="1">
                  <a:solidFill>
                    <a:srgbClr val="FFFFFF"/>
                  </a:solidFill>
                  <a:latin typeface="Graphik" panose="020B0503030202060203" pitchFamily="34" charset="77"/>
                </a:rPr>
                <a:t>Insert text</a:t>
              </a:r>
            </a:p>
          </p:txBody>
        </p:sp>
        <p:sp>
          <p:nvSpPr>
            <p:cNvPr id="53" name="Freeform 74">
              <a:extLst>
                <a:ext uri="{FF2B5EF4-FFF2-40B4-BE49-F238E27FC236}">
                  <a16:creationId xmlns:a16="http://schemas.microsoft.com/office/drawing/2014/main" id="{6A19F19F-0CBA-4C31-8242-C3090D799929}"/>
                </a:ext>
                <a:ext uri="{C183D7F6-B498-43B3-948B-1728B52AA6E4}">
                  <adec:decorative xmlns:adec="http://schemas.microsoft.com/office/drawing/2017/decorative" val="1"/>
                </a:ext>
              </a:extLst>
            </p:cNvPr>
            <p:cNvSpPr/>
            <p:nvPr/>
          </p:nvSpPr>
          <p:spPr>
            <a:xfrm>
              <a:off x="3028600" y="3656210"/>
              <a:ext cx="370526" cy="0"/>
            </a:xfrm>
            <a:custGeom>
              <a:avLst/>
              <a:gdLst>
                <a:gd name="connsiteX0" fmla="*/ 0 w 365760"/>
                <a:gd name="connsiteY0" fmla="*/ 0 h 0"/>
                <a:gd name="connsiteX1" fmla="*/ 365760 w 365760"/>
                <a:gd name="connsiteY1" fmla="*/ 0 h 0"/>
              </a:gdLst>
              <a:ahLst/>
              <a:cxnLst>
                <a:cxn ang="0">
                  <a:pos x="connsiteX0" y="connsiteY0"/>
                </a:cxn>
                <a:cxn ang="0">
                  <a:pos x="connsiteX1" y="connsiteY1"/>
                </a:cxn>
              </a:cxnLst>
              <a:rect l="l" t="t" r="r" b="b"/>
              <a:pathLst>
                <a:path w="365760">
                  <a:moveTo>
                    <a:pt x="0" y="0"/>
                  </a:moveTo>
                  <a:lnTo>
                    <a:pt x="365760" y="0"/>
                  </a:lnTo>
                </a:path>
              </a:pathLst>
            </a:custGeom>
            <a:no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pt-BR" sz="1400" noProof="1">
                <a:solidFill>
                  <a:schemeClr val="accent2"/>
                </a:solidFill>
              </a:endParaRPr>
            </a:p>
          </p:txBody>
        </p:sp>
        <p:cxnSp>
          <p:nvCxnSpPr>
            <p:cNvPr id="50" name="Elbow Connector 71">
              <a:extLst>
                <a:ext uri="{FF2B5EF4-FFF2-40B4-BE49-F238E27FC236}">
                  <a16:creationId xmlns:a16="http://schemas.microsoft.com/office/drawing/2014/main" id="{5BCB43C7-A8CD-4CBA-B76E-5408B52AD0E1}"/>
                </a:ext>
                <a:ext uri="{C183D7F6-B498-43B3-948B-1728B52AA6E4}">
                  <adec:decorative xmlns:adec="http://schemas.microsoft.com/office/drawing/2017/decorative" val="1"/>
                </a:ext>
              </a:extLst>
            </p:cNvPr>
            <p:cNvCxnSpPr>
              <a:stCxn id="57" idx="1"/>
              <a:endCxn id="58" idx="1"/>
            </p:cNvCxnSpPr>
            <p:nvPr/>
          </p:nvCxnSpPr>
          <p:spPr>
            <a:xfrm rot="10800000" flipV="1">
              <a:off x="3612639" y="2680650"/>
              <a:ext cx="12865" cy="2500413"/>
            </a:xfrm>
            <a:prstGeom prst="bentConnector3">
              <a:avLst>
                <a:gd name="adj1" fmla="val 1800000"/>
              </a:avLst>
            </a:prstGeom>
            <a:ln w="9525" cap="rnd">
              <a:solidFill>
                <a:schemeClr val="tx1">
                  <a:lumMod val="75000"/>
                  <a:lumOff val="25000"/>
                </a:schemeClr>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57" name="TextBox 56">
              <a:extLst>
                <a:ext uri="{FF2B5EF4-FFF2-40B4-BE49-F238E27FC236}">
                  <a16:creationId xmlns:a16="http://schemas.microsoft.com/office/drawing/2014/main" id="{5C6D34DE-BDAD-412A-B790-35A4208D24A5}"/>
                </a:ext>
              </a:extLst>
            </p:cNvPr>
            <p:cNvSpPr txBox="1"/>
            <p:nvPr/>
          </p:nvSpPr>
          <p:spPr>
            <a:xfrm>
              <a:off x="3612637" y="2535106"/>
              <a:ext cx="1348303" cy="291085"/>
            </a:xfrm>
            <a:prstGeom prst="rect">
              <a:avLst/>
            </a:prstGeom>
            <a:solidFill>
              <a:schemeClr val="accent2"/>
            </a:solidFill>
            <a:ln>
              <a:noFill/>
            </a:ln>
          </p:spPr>
          <p:txBody>
            <a:bodyPr wrap="square" lIns="71977" tIns="64785" rIns="71977" bIns="45707" rtlCol="0" anchor="ctr">
              <a:noAutofit/>
            </a:bodyPr>
            <a:lstStyle>
              <a:defPPr>
                <a:defRPr lang="en-US"/>
              </a:defPPr>
              <a:lvl1pPr>
                <a:defRPr sz="1400">
                  <a:solidFill>
                    <a:schemeClr val="bg1"/>
                  </a:solidFill>
                </a:defRPr>
              </a:lvl1pPr>
            </a:lstStyle>
            <a:p>
              <a:pPr>
                <a:lnSpc>
                  <a:spcPct val="90000"/>
                </a:lnSpc>
              </a:pPr>
              <a:r>
                <a:rPr lang="pt-BR" noProof="1">
                  <a:solidFill>
                    <a:srgbClr val="000000"/>
                  </a:solidFill>
                  <a:latin typeface="Graphik" panose="020B0503030202060203" pitchFamily="34" charset="77"/>
                </a:rPr>
                <a:t>Insert text</a:t>
              </a:r>
            </a:p>
          </p:txBody>
        </p:sp>
        <p:sp>
          <p:nvSpPr>
            <p:cNvPr id="55" name="Freeform 87">
              <a:extLst>
                <a:ext uri="{FF2B5EF4-FFF2-40B4-BE49-F238E27FC236}">
                  <a16:creationId xmlns:a16="http://schemas.microsoft.com/office/drawing/2014/main" id="{9069A19C-1B7E-408E-8D53-CBD2249D4A93}"/>
                </a:ext>
                <a:ext uri="{C183D7F6-B498-43B3-948B-1728B52AA6E4}">
                  <adec:decorative xmlns:adec="http://schemas.microsoft.com/office/drawing/2017/decorative" val="1"/>
                </a:ext>
              </a:extLst>
            </p:cNvPr>
            <p:cNvSpPr/>
            <p:nvPr/>
          </p:nvSpPr>
          <p:spPr>
            <a:xfrm>
              <a:off x="4958255" y="2679711"/>
              <a:ext cx="336159" cy="45476"/>
            </a:xfrm>
            <a:custGeom>
              <a:avLst/>
              <a:gdLst>
                <a:gd name="connsiteX0" fmla="*/ 0 w 365760"/>
                <a:gd name="connsiteY0" fmla="*/ 0 h 0"/>
                <a:gd name="connsiteX1" fmla="*/ 365760 w 365760"/>
                <a:gd name="connsiteY1" fmla="*/ 0 h 0"/>
              </a:gdLst>
              <a:ahLst/>
              <a:cxnLst>
                <a:cxn ang="0">
                  <a:pos x="connsiteX0" y="connsiteY0"/>
                </a:cxn>
                <a:cxn ang="0">
                  <a:pos x="connsiteX1" y="connsiteY1"/>
                </a:cxn>
              </a:cxnLst>
              <a:rect l="l" t="t" r="r" b="b"/>
              <a:pathLst>
                <a:path w="365760">
                  <a:moveTo>
                    <a:pt x="0" y="0"/>
                  </a:moveTo>
                  <a:lnTo>
                    <a:pt x="365760" y="0"/>
                  </a:lnTo>
                </a:path>
              </a:pathLst>
            </a:custGeom>
            <a:ln w="9525" cap="rnd">
              <a:solidFill>
                <a:schemeClr val="tx1">
                  <a:lumMod val="75000"/>
                  <a:lumOff val="25000"/>
                </a:schemeClr>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lIns="91411" tIns="45707" rIns="91411" bIns="45707" rtlCol="0" anchor="ctr"/>
            <a:lstStyle/>
            <a:p>
              <a:pPr algn="ctr">
                <a:lnSpc>
                  <a:spcPct val="90000"/>
                </a:lnSpc>
              </a:pPr>
              <a:endParaRPr lang="pt-BR" sz="1351" noProof="1">
                <a:latin typeface="Graphik" panose="020B0503030202060203" pitchFamily="34" charset="77"/>
              </a:endParaRPr>
            </a:p>
          </p:txBody>
        </p:sp>
        <p:cxnSp>
          <p:nvCxnSpPr>
            <p:cNvPr id="51" name="Elbow Connector 72">
              <a:extLst>
                <a:ext uri="{FF2B5EF4-FFF2-40B4-BE49-F238E27FC236}">
                  <a16:creationId xmlns:a16="http://schemas.microsoft.com/office/drawing/2014/main" id="{BB22CE4C-6D58-4442-B09F-32E03E8803A0}"/>
                </a:ext>
                <a:ext uri="{C183D7F6-B498-43B3-948B-1728B52AA6E4}">
                  <adec:decorative xmlns:adec="http://schemas.microsoft.com/office/drawing/2017/decorative" val="1"/>
                </a:ext>
              </a:extLst>
            </p:cNvPr>
            <p:cNvCxnSpPr>
              <a:stCxn id="59" idx="1"/>
              <a:endCxn id="60" idx="1"/>
            </p:cNvCxnSpPr>
            <p:nvPr/>
          </p:nvCxnSpPr>
          <p:spPr>
            <a:xfrm rot="10800000" flipV="1">
              <a:off x="5526967" y="1908798"/>
              <a:ext cx="13607" cy="1206135"/>
            </a:xfrm>
            <a:prstGeom prst="bentConnector3">
              <a:avLst>
                <a:gd name="adj1" fmla="val 1800000"/>
              </a:avLst>
            </a:prstGeom>
            <a:no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59" name="TextBox 58">
              <a:extLst>
                <a:ext uri="{FF2B5EF4-FFF2-40B4-BE49-F238E27FC236}">
                  <a16:creationId xmlns:a16="http://schemas.microsoft.com/office/drawing/2014/main" id="{1BA99F97-E099-4A78-A78E-13C481CF7913}"/>
                </a:ext>
              </a:extLst>
            </p:cNvPr>
            <p:cNvSpPr txBox="1"/>
            <p:nvPr/>
          </p:nvSpPr>
          <p:spPr>
            <a:xfrm>
              <a:off x="5526967" y="1763148"/>
              <a:ext cx="2137038" cy="291303"/>
            </a:xfrm>
            <a:prstGeom prst="rect">
              <a:avLst/>
            </a:prstGeom>
            <a:solidFill>
              <a:schemeClr val="accent1">
                <a:lumMod val="60000"/>
                <a:lumOff val="40000"/>
              </a:schemeClr>
            </a:solidFill>
            <a:ln>
              <a:noFill/>
            </a:ln>
          </p:spPr>
          <p:txBody>
            <a:bodyPr wrap="square" lIns="71977" tIns="64785" rIns="71977" bIns="45707" rtlCol="0" anchor="ctr">
              <a:noAutofit/>
            </a:bodyPr>
            <a:lstStyle>
              <a:defPPr>
                <a:defRPr lang="en-US"/>
              </a:defPPr>
              <a:lvl1pPr>
                <a:defRPr sz="1400">
                  <a:solidFill>
                    <a:schemeClr val="bg1"/>
                  </a:solidFill>
                </a:defRPr>
              </a:lvl1pPr>
            </a:lstStyle>
            <a:p>
              <a:pPr>
                <a:lnSpc>
                  <a:spcPct val="90000"/>
                </a:lnSpc>
              </a:pPr>
              <a:r>
                <a:rPr lang="pt-BR" noProof="1">
                  <a:solidFill>
                    <a:schemeClr val="tx1">
                      <a:lumMod val="95000"/>
                      <a:lumOff val="5000"/>
                    </a:schemeClr>
                  </a:solidFill>
                  <a:latin typeface="Graphik" panose="020B0503030202060203" pitchFamily="34" charset="77"/>
                </a:rPr>
                <a:t>Insert text</a:t>
              </a:r>
            </a:p>
          </p:txBody>
        </p:sp>
        <p:cxnSp>
          <p:nvCxnSpPr>
            <p:cNvPr id="67" name="AutoShape 30">
              <a:extLst>
                <a:ext uri="{FF2B5EF4-FFF2-40B4-BE49-F238E27FC236}">
                  <a16:creationId xmlns:a16="http://schemas.microsoft.com/office/drawing/2014/main" id="{5175DA3F-C00E-4280-A26D-C7AC2AF961D6}"/>
                </a:ext>
                <a:ext uri="{C183D7F6-B498-43B3-948B-1728B52AA6E4}">
                  <adec:decorative xmlns:adec="http://schemas.microsoft.com/office/drawing/2017/decorative" val="1"/>
                </a:ext>
              </a:extLst>
            </p:cNvPr>
            <p:cNvCxnSpPr>
              <a:cxnSpLocks noChangeShapeType="1"/>
              <a:stCxn id="59" idx="3"/>
              <a:endCxn id="64" idx="1"/>
            </p:cNvCxnSpPr>
            <p:nvPr/>
          </p:nvCxnSpPr>
          <p:spPr bwMode="auto">
            <a:xfrm>
              <a:off x="7664006" y="1908799"/>
              <a:ext cx="571845" cy="0"/>
            </a:xfrm>
            <a:prstGeom prst="straightConnector1">
              <a:avLst/>
            </a:prstGeom>
            <a:ln w="9525" cap="rnd">
              <a:solidFill>
                <a:schemeClr val="tx1">
                  <a:lumMod val="75000"/>
                  <a:lumOff val="25000"/>
                </a:schemeClr>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66" name="AutoShape 29">
              <a:extLst>
                <a:ext uri="{FF2B5EF4-FFF2-40B4-BE49-F238E27FC236}">
                  <a16:creationId xmlns:a16="http://schemas.microsoft.com/office/drawing/2014/main" id="{1A49B9B8-CFC5-49C2-850E-905EB4AFB46C}"/>
                </a:ext>
                <a:ext uri="{C183D7F6-B498-43B3-948B-1728B52AA6E4}">
                  <adec:decorative xmlns:adec="http://schemas.microsoft.com/office/drawing/2017/decorative" val="1"/>
                </a:ext>
              </a:extLst>
            </p:cNvPr>
            <p:cNvCxnSpPr>
              <a:cxnSpLocks noChangeShapeType="1"/>
              <a:stCxn id="59" idx="3"/>
              <a:endCxn id="63" idx="1"/>
            </p:cNvCxnSpPr>
            <p:nvPr/>
          </p:nvCxnSpPr>
          <p:spPr bwMode="auto">
            <a:xfrm flipV="1">
              <a:off x="7664006" y="1524213"/>
              <a:ext cx="571845" cy="384587"/>
            </a:xfrm>
            <a:prstGeom prst="bentConnector3">
              <a:avLst>
                <a:gd name="adj1" fmla="val 50000"/>
              </a:avLst>
            </a:prstGeom>
            <a:ln w="9525" cap="rnd">
              <a:solidFill>
                <a:schemeClr val="tx1">
                  <a:lumMod val="75000"/>
                  <a:lumOff val="25000"/>
                </a:schemeClr>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68" name="AutoShape 31">
              <a:extLst>
                <a:ext uri="{FF2B5EF4-FFF2-40B4-BE49-F238E27FC236}">
                  <a16:creationId xmlns:a16="http://schemas.microsoft.com/office/drawing/2014/main" id="{DBABA56B-F9C4-43A1-A93E-47720401ADEB}"/>
                </a:ext>
                <a:ext uri="{C183D7F6-B498-43B3-948B-1728B52AA6E4}">
                  <adec:decorative xmlns:adec="http://schemas.microsoft.com/office/drawing/2017/decorative" val="1"/>
                </a:ext>
              </a:extLst>
            </p:cNvPr>
            <p:cNvCxnSpPr>
              <a:cxnSpLocks noChangeShapeType="1"/>
              <a:stCxn id="59" idx="3"/>
              <a:endCxn id="65" idx="1"/>
            </p:cNvCxnSpPr>
            <p:nvPr/>
          </p:nvCxnSpPr>
          <p:spPr bwMode="auto">
            <a:xfrm>
              <a:off x="7664006" y="1908799"/>
              <a:ext cx="571845" cy="384587"/>
            </a:xfrm>
            <a:prstGeom prst="bentConnector3">
              <a:avLst>
                <a:gd name="adj1" fmla="val 50000"/>
              </a:avLst>
            </a:prstGeom>
            <a:ln w="9525" cap="rnd">
              <a:solidFill>
                <a:schemeClr val="tx1">
                  <a:lumMod val="75000"/>
                  <a:lumOff val="25000"/>
                </a:schemeClr>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63" name="Rectangle 11">
              <a:extLst>
                <a:ext uri="{FF2B5EF4-FFF2-40B4-BE49-F238E27FC236}">
                  <a16:creationId xmlns:a16="http://schemas.microsoft.com/office/drawing/2014/main" id="{DF6852BF-EA61-496B-9138-404FED7F756A}"/>
                </a:ext>
              </a:extLst>
            </p:cNvPr>
            <p:cNvSpPr>
              <a:spLocks noChangeArrowheads="1"/>
            </p:cNvSpPr>
            <p:nvPr/>
          </p:nvSpPr>
          <p:spPr bwMode="auto">
            <a:xfrm>
              <a:off x="8235851" y="1378561"/>
              <a:ext cx="2136873" cy="291303"/>
            </a:xfrm>
            <a:prstGeom prst="rect">
              <a:avLst/>
            </a:prstGeom>
            <a:solidFill>
              <a:srgbClr val="E4E7E7"/>
            </a:solidFill>
            <a:ln w="6350">
              <a:noFill/>
              <a:miter lim="800000"/>
              <a:headEnd/>
              <a:tailEnd/>
            </a:ln>
            <a:effectLst/>
          </p:spPr>
          <p:txBody>
            <a:bodyPr lIns="72000" tIns="72000" rIns="72000" bIns="72000" anchor="ctr"/>
            <a:lstStyle/>
            <a:p>
              <a:pPr eaLnBrk="0" hangingPunct="0"/>
              <a:r>
                <a:rPr lang="pt-BR" sz="1200" noProof="1">
                  <a:latin typeface="Graphik" panose="020B0503030202060203" pitchFamily="34" charset="77"/>
                </a:rPr>
                <a:t>Insert text</a:t>
              </a:r>
            </a:p>
          </p:txBody>
        </p:sp>
        <p:sp>
          <p:nvSpPr>
            <p:cNvPr id="64" name="Rectangle 12">
              <a:extLst>
                <a:ext uri="{FF2B5EF4-FFF2-40B4-BE49-F238E27FC236}">
                  <a16:creationId xmlns:a16="http://schemas.microsoft.com/office/drawing/2014/main" id="{912D9DDC-772B-4E07-A626-F7AFD27C2C12}"/>
                </a:ext>
              </a:extLst>
            </p:cNvPr>
            <p:cNvSpPr>
              <a:spLocks noChangeArrowheads="1"/>
            </p:cNvSpPr>
            <p:nvPr/>
          </p:nvSpPr>
          <p:spPr bwMode="auto">
            <a:xfrm>
              <a:off x="8235851" y="1763148"/>
              <a:ext cx="2136873" cy="291303"/>
            </a:xfrm>
            <a:prstGeom prst="rect">
              <a:avLst/>
            </a:prstGeom>
            <a:solidFill>
              <a:srgbClr val="E4E7E7"/>
            </a:solidFill>
            <a:ln w="6350">
              <a:noFill/>
              <a:miter lim="800000"/>
              <a:headEnd/>
              <a:tailEnd/>
            </a:ln>
            <a:effectLst/>
          </p:spPr>
          <p:txBody>
            <a:bodyPr lIns="72000" tIns="72000" rIns="72000" bIns="72000" anchor="ctr"/>
            <a:lstStyle/>
            <a:p>
              <a:pPr eaLnBrk="0" hangingPunct="0"/>
              <a:r>
                <a:rPr lang="pt-BR" sz="1200" noProof="1">
                  <a:latin typeface="Graphik" panose="020B0503030202060203" pitchFamily="34" charset="77"/>
                </a:rPr>
                <a:t>Insert text</a:t>
              </a:r>
            </a:p>
          </p:txBody>
        </p:sp>
        <p:sp>
          <p:nvSpPr>
            <p:cNvPr id="65" name="Rectangle 13">
              <a:extLst>
                <a:ext uri="{FF2B5EF4-FFF2-40B4-BE49-F238E27FC236}">
                  <a16:creationId xmlns:a16="http://schemas.microsoft.com/office/drawing/2014/main" id="{5360CC77-A563-4AA4-BE8A-CD447A39EEC3}"/>
                </a:ext>
              </a:extLst>
            </p:cNvPr>
            <p:cNvSpPr>
              <a:spLocks noChangeArrowheads="1"/>
            </p:cNvSpPr>
            <p:nvPr/>
          </p:nvSpPr>
          <p:spPr bwMode="auto">
            <a:xfrm>
              <a:off x="8235851" y="2147735"/>
              <a:ext cx="2136873" cy="291303"/>
            </a:xfrm>
            <a:prstGeom prst="rect">
              <a:avLst/>
            </a:prstGeom>
            <a:solidFill>
              <a:srgbClr val="E4E7E7"/>
            </a:solidFill>
            <a:ln w="6350">
              <a:noFill/>
              <a:miter lim="800000"/>
              <a:headEnd/>
              <a:tailEnd/>
            </a:ln>
            <a:effectLst/>
          </p:spPr>
          <p:txBody>
            <a:bodyPr lIns="72000" tIns="72000" rIns="72000" bIns="72000" anchor="ctr"/>
            <a:lstStyle/>
            <a:p>
              <a:pPr eaLnBrk="0" hangingPunct="0"/>
              <a:r>
                <a:rPr lang="pt-BR" sz="1200" noProof="1">
                  <a:latin typeface="Graphik" panose="020B0503030202060203" pitchFamily="34" charset="77"/>
                </a:rPr>
                <a:t>Insert text</a:t>
              </a:r>
            </a:p>
          </p:txBody>
        </p:sp>
        <p:sp>
          <p:nvSpPr>
            <p:cNvPr id="60" name="TextBox 59">
              <a:extLst>
                <a:ext uri="{FF2B5EF4-FFF2-40B4-BE49-F238E27FC236}">
                  <a16:creationId xmlns:a16="http://schemas.microsoft.com/office/drawing/2014/main" id="{4AAB1F1D-01A1-4CB7-82B7-42486D837BE2}"/>
                </a:ext>
              </a:extLst>
            </p:cNvPr>
            <p:cNvSpPr txBox="1"/>
            <p:nvPr/>
          </p:nvSpPr>
          <p:spPr>
            <a:xfrm>
              <a:off x="5526967" y="2969391"/>
              <a:ext cx="2137038" cy="291085"/>
            </a:xfrm>
            <a:prstGeom prst="rect">
              <a:avLst/>
            </a:prstGeom>
            <a:solidFill>
              <a:schemeClr val="accent1">
                <a:lumMod val="60000"/>
                <a:lumOff val="40000"/>
              </a:schemeClr>
            </a:solidFill>
            <a:ln>
              <a:noFill/>
            </a:ln>
          </p:spPr>
          <p:txBody>
            <a:bodyPr wrap="square" lIns="71977" tIns="64785" rIns="71977" bIns="45707" rtlCol="0" anchor="ctr">
              <a:noAutofit/>
            </a:bodyPr>
            <a:lstStyle>
              <a:defPPr>
                <a:defRPr lang="en-US"/>
              </a:defPPr>
              <a:lvl1pPr>
                <a:defRPr sz="1400">
                  <a:solidFill>
                    <a:schemeClr val="bg1"/>
                  </a:solidFill>
                </a:defRPr>
              </a:lvl1pPr>
            </a:lstStyle>
            <a:p>
              <a:pPr>
                <a:lnSpc>
                  <a:spcPct val="90000"/>
                </a:lnSpc>
              </a:pPr>
              <a:r>
                <a:rPr lang="pt-BR" noProof="1">
                  <a:solidFill>
                    <a:schemeClr val="tx1">
                      <a:lumMod val="95000"/>
                      <a:lumOff val="5000"/>
                    </a:schemeClr>
                  </a:solidFill>
                  <a:latin typeface="Graphik" panose="020B0503030202060203" pitchFamily="34" charset="77"/>
                </a:rPr>
                <a:t>Insert text</a:t>
              </a:r>
            </a:p>
          </p:txBody>
        </p:sp>
        <p:cxnSp>
          <p:nvCxnSpPr>
            <p:cNvPr id="73" name="AutoShape 30">
              <a:extLst>
                <a:ext uri="{FF2B5EF4-FFF2-40B4-BE49-F238E27FC236}">
                  <a16:creationId xmlns:a16="http://schemas.microsoft.com/office/drawing/2014/main" id="{DF46BD0F-0292-441A-B1AE-60FB5C9B8E73}"/>
                </a:ext>
                <a:ext uri="{C183D7F6-B498-43B3-948B-1728B52AA6E4}">
                  <adec:decorative xmlns:adec="http://schemas.microsoft.com/office/drawing/2017/decorative" val="1"/>
                </a:ext>
              </a:extLst>
            </p:cNvPr>
            <p:cNvCxnSpPr>
              <a:cxnSpLocks noChangeShapeType="1"/>
              <a:stCxn id="60" idx="3"/>
              <a:endCxn id="70" idx="1"/>
            </p:cNvCxnSpPr>
            <p:nvPr/>
          </p:nvCxnSpPr>
          <p:spPr bwMode="auto">
            <a:xfrm>
              <a:off x="7664005" y="3114934"/>
              <a:ext cx="571846" cy="108"/>
            </a:xfrm>
            <a:prstGeom prst="straightConnector1">
              <a:avLst/>
            </a:prstGeom>
            <a:ln w="9525" cap="rnd">
              <a:solidFill>
                <a:schemeClr val="tx1">
                  <a:lumMod val="75000"/>
                  <a:lumOff val="25000"/>
                </a:schemeClr>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2" name="AutoShape 29">
              <a:extLst>
                <a:ext uri="{FF2B5EF4-FFF2-40B4-BE49-F238E27FC236}">
                  <a16:creationId xmlns:a16="http://schemas.microsoft.com/office/drawing/2014/main" id="{76AED355-1706-4C58-9463-1FD80E6F82A7}"/>
                </a:ext>
                <a:ext uri="{C183D7F6-B498-43B3-948B-1728B52AA6E4}">
                  <adec:decorative xmlns:adec="http://schemas.microsoft.com/office/drawing/2017/decorative" val="1"/>
                </a:ext>
              </a:extLst>
            </p:cNvPr>
            <p:cNvCxnSpPr>
              <a:cxnSpLocks noChangeShapeType="1"/>
              <a:stCxn id="60" idx="3"/>
              <a:endCxn id="69" idx="1"/>
            </p:cNvCxnSpPr>
            <p:nvPr/>
          </p:nvCxnSpPr>
          <p:spPr bwMode="auto">
            <a:xfrm flipV="1">
              <a:off x="7664005" y="2730455"/>
              <a:ext cx="571846" cy="384479"/>
            </a:xfrm>
            <a:prstGeom prst="bentConnector3">
              <a:avLst>
                <a:gd name="adj1" fmla="val 50000"/>
              </a:avLst>
            </a:prstGeom>
            <a:ln w="9525" cap="rnd">
              <a:solidFill>
                <a:schemeClr val="tx1">
                  <a:lumMod val="75000"/>
                  <a:lumOff val="25000"/>
                </a:schemeClr>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4" name="AutoShape 31">
              <a:extLst>
                <a:ext uri="{FF2B5EF4-FFF2-40B4-BE49-F238E27FC236}">
                  <a16:creationId xmlns:a16="http://schemas.microsoft.com/office/drawing/2014/main" id="{4E33F4A2-95C4-46D2-824C-EBD8A68475C6}"/>
                </a:ext>
                <a:ext uri="{C183D7F6-B498-43B3-948B-1728B52AA6E4}">
                  <adec:decorative xmlns:adec="http://schemas.microsoft.com/office/drawing/2017/decorative" val="1"/>
                </a:ext>
              </a:extLst>
            </p:cNvPr>
            <p:cNvCxnSpPr>
              <a:cxnSpLocks noChangeShapeType="1"/>
              <a:stCxn id="60" idx="3"/>
              <a:endCxn id="71" idx="1"/>
            </p:cNvCxnSpPr>
            <p:nvPr/>
          </p:nvCxnSpPr>
          <p:spPr bwMode="auto">
            <a:xfrm>
              <a:off x="7664006" y="3114934"/>
              <a:ext cx="571845" cy="384695"/>
            </a:xfrm>
            <a:prstGeom prst="bentConnector3">
              <a:avLst>
                <a:gd name="adj1" fmla="val 50000"/>
              </a:avLst>
            </a:prstGeom>
            <a:ln w="9525" cap="rnd">
              <a:solidFill>
                <a:schemeClr val="tx1">
                  <a:lumMod val="75000"/>
                  <a:lumOff val="25000"/>
                </a:schemeClr>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69" name="Rectangle 11">
              <a:extLst>
                <a:ext uri="{FF2B5EF4-FFF2-40B4-BE49-F238E27FC236}">
                  <a16:creationId xmlns:a16="http://schemas.microsoft.com/office/drawing/2014/main" id="{239A8DE5-2092-4D91-85F6-F611EFD28052}"/>
                </a:ext>
              </a:extLst>
            </p:cNvPr>
            <p:cNvSpPr>
              <a:spLocks noChangeArrowheads="1"/>
            </p:cNvSpPr>
            <p:nvPr/>
          </p:nvSpPr>
          <p:spPr bwMode="auto">
            <a:xfrm>
              <a:off x="8235851" y="2584803"/>
              <a:ext cx="2136873" cy="291303"/>
            </a:xfrm>
            <a:prstGeom prst="rect">
              <a:avLst/>
            </a:prstGeom>
            <a:solidFill>
              <a:srgbClr val="E4E7E7"/>
            </a:solidFill>
            <a:ln w="6350">
              <a:noFill/>
              <a:miter lim="800000"/>
              <a:headEnd/>
              <a:tailEnd/>
            </a:ln>
            <a:effectLst/>
          </p:spPr>
          <p:txBody>
            <a:bodyPr lIns="72000" tIns="72000" rIns="72000" bIns="72000" anchor="ctr"/>
            <a:lstStyle/>
            <a:p>
              <a:pPr eaLnBrk="0" hangingPunct="0"/>
              <a:r>
                <a:rPr lang="pt-BR" sz="1200" noProof="1">
                  <a:latin typeface="Graphik" panose="020B0503030202060203" pitchFamily="34" charset="77"/>
                </a:rPr>
                <a:t>Insert text</a:t>
              </a:r>
            </a:p>
          </p:txBody>
        </p:sp>
        <p:sp>
          <p:nvSpPr>
            <p:cNvPr id="70" name="Rectangle 12">
              <a:extLst>
                <a:ext uri="{FF2B5EF4-FFF2-40B4-BE49-F238E27FC236}">
                  <a16:creationId xmlns:a16="http://schemas.microsoft.com/office/drawing/2014/main" id="{141C3353-959A-4287-9AC8-B02ABBE6C496}"/>
                </a:ext>
              </a:extLst>
            </p:cNvPr>
            <p:cNvSpPr>
              <a:spLocks noChangeArrowheads="1"/>
            </p:cNvSpPr>
            <p:nvPr/>
          </p:nvSpPr>
          <p:spPr bwMode="auto">
            <a:xfrm>
              <a:off x="8235851" y="2969390"/>
              <a:ext cx="2136873" cy="291303"/>
            </a:xfrm>
            <a:prstGeom prst="rect">
              <a:avLst/>
            </a:prstGeom>
            <a:solidFill>
              <a:srgbClr val="E4E7E7"/>
            </a:solidFill>
            <a:ln w="6350">
              <a:noFill/>
              <a:miter lim="800000"/>
              <a:headEnd/>
              <a:tailEnd/>
            </a:ln>
            <a:effectLst/>
          </p:spPr>
          <p:txBody>
            <a:bodyPr lIns="72000" tIns="72000" rIns="72000" bIns="72000" anchor="ctr"/>
            <a:lstStyle/>
            <a:p>
              <a:pPr eaLnBrk="0" hangingPunct="0"/>
              <a:r>
                <a:rPr lang="pt-BR" sz="1200" noProof="1">
                  <a:latin typeface="Graphik" panose="020B0503030202060203" pitchFamily="34" charset="77"/>
                </a:rPr>
                <a:t>Insert text</a:t>
              </a:r>
            </a:p>
          </p:txBody>
        </p:sp>
        <p:sp>
          <p:nvSpPr>
            <p:cNvPr id="71" name="Rectangle 13">
              <a:extLst>
                <a:ext uri="{FF2B5EF4-FFF2-40B4-BE49-F238E27FC236}">
                  <a16:creationId xmlns:a16="http://schemas.microsoft.com/office/drawing/2014/main" id="{10ECEC4C-CE20-481F-ACB1-EA1EB7201078}"/>
                </a:ext>
              </a:extLst>
            </p:cNvPr>
            <p:cNvSpPr>
              <a:spLocks noChangeArrowheads="1"/>
            </p:cNvSpPr>
            <p:nvPr/>
          </p:nvSpPr>
          <p:spPr bwMode="auto">
            <a:xfrm>
              <a:off x="8235851" y="3353977"/>
              <a:ext cx="2136873" cy="291303"/>
            </a:xfrm>
            <a:prstGeom prst="rect">
              <a:avLst/>
            </a:prstGeom>
            <a:solidFill>
              <a:srgbClr val="E4E7E7"/>
            </a:solidFill>
            <a:ln w="6350">
              <a:noFill/>
              <a:miter lim="800000"/>
              <a:headEnd/>
              <a:tailEnd/>
            </a:ln>
            <a:effectLst/>
          </p:spPr>
          <p:txBody>
            <a:bodyPr lIns="72000" tIns="72000" rIns="72000" bIns="72000" anchor="ctr"/>
            <a:lstStyle/>
            <a:p>
              <a:pPr eaLnBrk="0" hangingPunct="0"/>
              <a:r>
                <a:rPr lang="pt-BR" sz="1200" noProof="1">
                  <a:latin typeface="Graphik" panose="020B0503030202060203" pitchFamily="34" charset="77"/>
                </a:rPr>
                <a:t>Insert text</a:t>
              </a:r>
            </a:p>
          </p:txBody>
        </p:sp>
        <p:sp>
          <p:nvSpPr>
            <p:cNvPr id="58" name="TextBox 57">
              <a:extLst>
                <a:ext uri="{FF2B5EF4-FFF2-40B4-BE49-F238E27FC236}">
                  <a16:creationId xmlns:a16="http://schemas.microsoft.com/office/drawing/2014/main" id="{A5439378-9E21-4322-A6D1-70187883AB9C}"/>
                </a:ext>
              </a:extLst>
            </p:cNvPr>
            <p:cNvSpPr txBox="1"/>
            <p:nvPr/>
          </p:nvSpPr>
          <p:spPr>
            <a:xfrm>
              <a:off x="3612637" y="5035516"/>
              <a:ext cx="1348303" cy="291085"/>
            </a:xfrm>
            <a:prstGeom prst="rect">
              <a:avLst/>
            </a:prstGeom>
            <a:solidFill>
              <a:schemeClr val="accent2"/>
            </a:solidFill>
            <a:ln>
              <a:noFill/>
            </a:ln>
          </p:spPr>
          <p:txBody>
            <a:bodyPr wrap="square" lIns="71977" tIns="64785" rIns="71977" bIns="45707" rtlCol="0" anchor="ctr">
              <a:noAutofit/>
            </a:bodyPr>
            <a:lstStyle>
              <a:defPPr>
                <a:defRPr lang="en-US"/>
              </a:defPPr>
              <a:lvl1pPr>
                <a:defRPr sz="1400">
                  <a:solidFill>
                    <a:schemeClr val="bg1"/>
                  </a:solidFill>
                </a:defRPr>
              </a:lvl1pPr>
            </a:lstStyle>
            <a:p>
              <a:pPr>
                <a:lnSpc>
                  <a:spcPct val="90000"/>
                </a:lnSpc>
              </a:pPr>
              <a:r>
                <a:rPr lang="pt-BR" noProof="1">
                  <a:solidFill>
                    <a:srgbClr val="000000"/>
                  </a:solidFill>
                  <a:latin typeface="Graphik" panose="020B0503030202060203" pitchFamily="34" charset="77"/>
                </a:rPr>
                <a:t>Insert text</a:t>
              </a:r>
            </a:p>
          </p:txBody>
        </p:sp>
        <p:sp>
          <p:nvSpPr>
            <p:cNvPr id="54" name="Freeform 75">
              <a:extLst>
                <a:ext uri="{FF2B5EF4-FFF2-40B4-BE49-F238E27FC236}">
                  <a16:creationId xmlns:a16="http://schemas.microsoft.com/office/drawing/2014/main" id="{7A5B7B7F-8F87-4E76-AC14-85D4B6CF6447}"/>
                </a:ext>
                <a:ext uri="{C183D7F6-B498-43B3-948B-1728B52AA6E4}">
                  <adec:decorative xmlns:adec="http://schemas.microsoft.com/office/drawing/2017/decorative" val="1"/>
                </a:ext>
              </a:extLst>
            </p:cNvPr>
            <p:cNvSpPr/>
            <p:nvPr/>
          </p:nvSpPr>
          <p:spPr>
            <a:xfrm>
              <a:off x="4958254" y="5181059"/>
              <a:ext cx="346457" cy="0"/>
            </a:xfrm>
            <a:custGeom>
              <a:avLst/>
              <a:gdLst>
                <a:gd name="connsiteX0" fmla="*/ 0 w 365760"/>
                <a:gd name="connsiteY0" fmla="*/ 0 h 0"/>
                <a:gd name="connsiteX1" fmla="*/ 365760 w 365760"/>
                <a:gd name="connsiteY1" fmla="*/ 0 h 0"/>
              </a:gdLst>
              <a:ahLst/>
              <a:cxnLst>
                <a:cxn ang="0">
                  <a:pos x="connsiteX0" y="connsiteY0"/>
                </a:cxn>
                <a:cxn ang="0">
                  <a:pos x="connsiteX1" y="connsiteY1"/>
                </a:cxn>
              </a:cxnLst>
              <a:rect l="l" t="t" r="r" b="b"/>
              <a:pathLst>
                <a:path w="365760">
                  <a:moveTo>
                    <a:pt x="0" y="0"/>
                  </a:moveTo>
                  <a:lnTo>
                    <a:pt x="365760" y="0"/>
                  </a:lnTo>
                </a:path>
              </a:pathLst>
            </a:custGeom>
            <a:no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11" tIns="45707" rIns="91411" bIns="45707" rtlCol="0" anchor="ctr"/>
            <a:lstStyle/>
            <a:p>
              <a:pPr algn="ctr">
                <a:lnSpc>
                  <a:spcPct val="90000"/>
                </a:lnSpc>
              </a:pPr>
              <a:endParaRPr lang="pt-BR" sz="1351" noProof="1">
                <a:latin typeface="Graphik" panose="020B0503030202060203" pitchFamily="34" charset="77"/>
              </a:endParaRPr>
            </a:p>
          </p:txBody>
        </p:sp>
        <p:cxnSp>
          <p:nvCxnSpPr>
            <p:cNvPr id="52" name="Elbow Connector 73">
              <a:extLst>
                <a:ext uri="{FF2B5EF4-FFF2-40B4-BE49-F238E27FC236}">
                  <a16:creationId xmlns:a16="http://schemas.microsoft.com/office/drawing/2014/main" id="{B95AABDA-F548-4DE0-99C1-BA18761DE7AE}"/>
                </a:ext>
                <a:ext uri="{C183D7F6-B498-43B3-948B-1728B52AA6E4}">
                  <adec:decorative xmlns:adec="http://schemas.microsoft.com/office/drawing/2017/decorative" val="1"/>
                </a:ext>
              </a:extLst>
            </p:cNvPr>
            <p:cNvCxnSpPr>
              <a:stCxn id="61" idx="1"/>
              <a:endCxn id="62" idx="1"/>
            </p:cNvCxnSpPr>
            <p:nvPr/>
          </p:nvCxnSpPr>
          <p:spPr>
            <a:xfrm rot="10800000" flipV="1">
              <a:off x="5526967" y="4320959"/>
              <a:ext cx="13607" cy="1206024"/>
            </a:xfrm>
            <a:prstGeom prst="bentConnector3">
              <a:avLst>
                <a:gd name="adj1" fmla="val 1800000"/>
              </a:avLst>
            </a:prstGeom>
            <a:ln w="9525" cap="rnd">
              <a:solidFill>
                <a:schemeClr val="tx1">
                  <a:lumMod val="75000"/>
                  <a:lumOff val="25000"/>
                </a:schemeClr>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61" name="TextBox 60">
              <a:extLst>
                <a:ext uri="{FF2B5EF4-FFF2-40B4-BE49-F238E27FC236}">
                  <a16:creationId xmlns:a16="http://schemas.microsoft.com/office/drawing/2014/main" id="{D3A8038D-B56F-4B29-AD57-9A804DB63DA2}"/>
                </a:ext>
              </a:extLst>
            </p:cNvPr>
            <p:cNvSpPr txBox="1"/>
            <p:nvPr/>
          </p:nvSpPr>
          <p:spPr>
            <a:xfrm>
              <a:off x="5526967" y="4175416"/>
              <a:ext cx="2137038" cy="291085"/>
            </a:xfrm>
            <a:prstGeom prst="rect">
              <a:avLst/>
            </a:prstGeom>
            <a:solidFill>
              <a:schemeClr val="accent1">
                <a:lumMod val="60000"/>
                <a:lumOff val="40000"/>
              </a:schemeClr>
            </a:solidFill>
            <a:ln>
              <a:noFill/>
            </a:ln>
          </p:spPr>
          <p:txBody>
            <a:bodyPr wrap="square" lIns="71977" tIns="64785" rIns="71977" bIns="45707" rtlCol="0" anchor="ctr">
              <a:noAutofit/>
            </a:bodyPr>
            <a:lstStyle>
              <a:defPPr>
                <a:defRPr lang="en-US"/>
              </a:defPPr>
              <a:lvl1pPr>
                <a:defRPr sz="1400">
                  <a:solidFill>
                    <a:schemeClr val="bg1"/>
                  </a:solidFill>
                </a:defRPr>
              </a:lvl1pPr>
            </a:lstStyle>
            <a:p>
              <a:pPr>
                <a:lnSpc>
                  <a:spcPct val="90000"/>
                </a:lnSpc>
              </a:pPr>
              <a:r>
                <a:rPr lang="pt-BR" noProof="1">
                  <a:solidFill>
                    <a:schemeClr val="tx1">
                      <a:lumMod val="95000"/>
                      <a:lumOff val="5000"/>
                    </a:schemeClr>
                  </a:solidFill>
                  <a:latin typeface="Graphik" panose="020B0503030202060203" pitchFamily="34" charset="77"/>
                </a:rPr>
                <a:t>Insert text</a:t>
              </a:r>
            </a:p>
          </p:txBody>
        </p:sp>
        <p:cxnSp>
          <p:nvCxnSpPr>
            <p:cNvPr id="79" name="AutoShape 30">
              <a:extLst>
                <a:ext uri="{FF2B5EF4-FFF2-40B4-BE49-F238E27FC236}">
                  <a16:creationId xmlns:a16="http://schemas.microsoft.com/office/drawing/2014/main" id="{ED7F5EE0-9BB7-472A-B7E7-6F2D6C1CBDED}"/>
                </a:ext>
                <a:ext uri="{C183D7F6-B498-43B3-948B-1728B52AA6E4}">
                  <adec:decorative xmlns:adec="http://schemas.microsoft.com/office/drawing/2017/decorative" val="1"/>
                </a:ext>
              </a:extLst>
            </p:cNvPr>
            <p:cNvCxnSpPr>
              <a:cxnSpLocks noChangeShapeType="1"/>
              <a:stCxn id="61" idx="3"/>
              <a:endCxn id="76" idx="1"/>
            </p:cNvCxnSpPr>
            <p:nvPr/>
          </p:nvCxnSpPr>
          <p:spPr bwMode="auto">
            <a:xfrm>
              <a:off x="7664005" y="4320959"/>
              <a:ext cx="571846" cy="325"/>
            </a:xfrm>
            <a:prstGeom prst="straightConnector1">
              <a:avLst/>
            </a:prstGeom>
            <a:ln w="9525" cap="rnd">
              <a:solidFill>
                <a:schemeClr val="tx1">
                  <a:lumMod val="75000"/>
                  <a:lumOff val="25000"/>
                </a:schemeClr>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8" name="AutoShape 29">
              <a:extLst>
                <a:ext uri="{FF2B5EF4-FFF2-40B4-BE49-F238E27FC236}">
                  <a16:creationId xmlns:a16="http://schemas.microsoft.com/office/drawing/2014/main" id="{60EB15E4-BC0B-4683-90EE-40B3CE89573C}"/>
                </a:ext>
                <a:ext uri="{C183D7F6-B498-43B3-948B-1728B52AA6E4}">
                  <adec:decorative xmlns:adec="http://schemas.microsoft.com/office/drawing/2017/decorative" val="1"/>
                </a:ext>
              </a:extLst>
            </p:cNvPr>
            <p:cNvCxnSpPr>
              <a:cxnSpLocks noChangeShapeType="1"/>
              <a:stCxn id="61" idx="3"/>
              <a:endCxn id="75" idx="1"/>
            </p:cNvCxnSpPr>
            <p:nvPr/>
          </p:nvCxnSpPr>
          <p:spPr bwMode="auto">
            <a:xfrm flipV="1">
              <a:off x="7664005" y="3936698"/>
              <a:ext cx="571846" cy="384261"/>
            </a:xfrm>
            <a:prstGeom prst="bentConnector3">
              <a:avLst>
                <a:gd name="adj1" fmla="val 50000"/>
              </a:avLst>
            </a:prstGeom>
            <a:ln w="9525" cap="rnd">
              <a:solidFill>
                <a:schemeClr val="tx1">
                  <a:lumMod val="75000"/>
                  <a:lumOff val="25000"/>
                </a:schemeClr>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80" name="AutoShape 31">
              <a:extLst>
                <a:ext uri="{FF2B5EF4-FFF2-40B4-BE49-F238E27FC236}">
                  <a16:creationId xmlns:a16="http://schemas.microsoft.com/office/drawing/2014/main" id="{5CBD4A49-42F6-4450-827D-3F367D949674}"/>
                </a:ext>
                <a:ext uri="{C183D7F6-B498-43B3-948B-1728B52AA6E4}">
                  <adec:decorative xmlns:adec="http://schemas.microsoft.com/office/drawing/2017/decorative" val="1"/>
                </a:ext>
              </a:extLst>
            </p:cNvPr>
            <p:cNvCxnSpPr>
              <a:cxnSpLocks noChangeShapeType="1"/>
              <a:stCxn id="61" idx="3"/>
              <a:endCxn id="77" idx="1"/>
            </p:cNvCxnSpPr>
            <p:nvPr/>
          </p:nvCxnSpPr>
          <p:spPr bwMode="auto">
            <a:xfrm>
              <a:off x="7664006" y="4320959"/>
              <a:ext cx="571845" cy="384912"/>
            </a:xfrm>
            <a:prstGeom prst="bentConnector3">
              <a:avLst>
                <a:gd name="adj1" fmla="val 50000"/>
              </a:avLst>
            </a:prstGeom>
            <a:ln w="9525" cap="rnd">
              <a:solidFill>
                <a:schemeClr val="tx1">
                  <a:lumMod val="75000"/>
                  <a:lumOff val="25000"/>
                </a:schemeClr>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75" name="Rectangle 11">
              <a:extLst>
                <a:ext uri="{FF2B5EF4-FFF2-40B4-BE49-F238E27FC236}">
                  <a16:creationId xmlns:a16="http://schemas.microsoft.com/office/drawing/2014/main" id="{C8F0318B-632F-42F3-9883-1A0C2FCA185A}"/>
                </a:ext>
              </a:extLst>
            </p:cNvPr>
            <p:cNvSpPr>
              <a:spLocks noChangeArrowheads="1"/>
            </p:cNvSpPr>
            <p:nvPr/>
          </p:nvSpPr>
          <p:spPr bwMode="auto">
            <a:xfrm>
              <a:off x="8235851" y="3791046"/>
              <a:ext cx="2136873" cy="291303"/>
            </a:xfrm>
            <a:prstGeom prst="rect">
              <a:avLst/>
            </a:prstGeom>
            <a:solidFill>
              <a:srgbClr val="E4E7E7"/>
            </a:solidFill>
            <a:ln w="6350">
              <a:noFill/>
              <a:miter lim="800000"/>
              <a:headEnd/>
              <a:tailEnd/>
            </a:ln>
            <a:effectLst/>
          </p:spPr>
          <p:txBody>
            <a:bodyPr lIns="72000" tIns="72000" rIns="72000" bIns="72000" anchor="ctr"/>
            <a:lstStyle/>
            <a:p>
              <a:pPr eaLnBrk="0" hangingPunct="0"/>
              <a:r>
                <a:rPr lang="pt-BR" sz="1200" noProof="1">
                  <a:latin typeface="Graphik" panose="020B0503030202060203" pitchFamily="34" charset="77"/>
                </a:rPr>
                <a:t>Insert text</a:t>
              </a:r>
            </a:p>
          </p:txBody>
        </p:sp>
        <p:sp>
          <p:nvSpPr>
            <p:cNvPr id="76" name="Rectangle 12">
              <a:extLst>
                <a:ext uri="{FF2B5EF4-FFF2-40B4-BE49-F238E27FC236}">
                  <a16:creationId xmlns:a16="http://schemas.microsoft.com/office/drawing/2014/main" id="{F730725F-A800-4112-BE99-1CA5853B7A66}"/>
                </a:ext>
              </a:extLst>
            </p:cNvPr>
            <p:cNvSpPr>
              <a:spLocks noChangeArrowheads="1"/>
            </p:cNvSpPr>
            <p:nvPr/>
          </p:nvSpPr>
          <p:spPr bwMode="auto">
            <a:xfrm>
              <a:off x="8235851" y="4175632"/>
              <a:ext cx="2136873" cy="291303"/>
            </a:xfrm>
            <a:prstGeom prst="rect">
              <a:avLst/>
            </a:prstGeom>
            <a:solidFill>
              <a:srgbClr val="E4E7E7"/>
            </a:solidFill>
            <a:ln w="6350">
              <a:noFill/>
              <a:miter lim="800000"/>
              <a:headEnd/>
              <a:tailEnd/>
            </a:ln>
            <a:effectLst/>
          </p:spPr>
          <p:txBody>
            <a:bodyPr lIns="72000" tIns="72000" rIns="72000" bIns="72000" anchor="ctr"/>
            <a:lstStyle/>
            <a:p>
              <a:pPr eaLnBrk="0" hangingPunct="0"/>
              <a:r>
                <a:rPr lang="pt-BR" sz="1200" noProof="1">
                  <a:latin typeface="Graphik" panose="020B0503030202060203" pitchFamily="34" charset="77"/>
                </a:rPr>
                <a:t>Insert text</a:t>
              </a:r>
            </a:p>
          </p:txBody>
        </p:sp>
        <p:sp>
          <p:nvSpPr>
            <p:cNvPr id="77" name="Rectangle 13">
              <a:extLst>
                <a:ext uri="{FF2B5EF4-FFF2-40B4-BE49-F238E27FC236}">
                  <a16:creationId xmlns:a16="http://schemas.microsoft.com/office/drawing/2014/main" id="{7DAE269F-7293-4C0D-B686-2DA9EB04C79E}"/>
                </a:ext>
              </a:extLst>
            </p:cNvPr>
            <p:cNvSpPr>
              <a:spLocks noChangeArrowheads="1"/>
            </p:cNvSpPr>
            <p:nvPr/>
          </p:nvSpPr>
          <p:spPr bwMode="auto">
            <a:xfrm>
              <a:off x="8235851" y="4560220"/>
              <a:ext cx="2136873" cy="291303"/>
            </a:xfrm>
            <a:prstGeom prst="rect">
              <a:avLst/>
            </a:prstGeom>
            <a:solidFill>
              <a:srgbClr val="E4E7E7"/>
            </a:solidFill>
            <a:ln w="6350">
              <a:noFill/>
              <a:miter lim="800000"/>
              <a:headEnd/>
              <a:tailEnd/>
            </a:ln>
            <a:effectLst/>
          </p:spPr>
          <p:txBody>
            <a:bodyPr lIns="72000" tIns="72000" rIns="72000" bIns="72000" anchor="ctr"/>
            <a:lstStyle/>
            <a:p>
              <a:pPr eaLnBrk="0" hangingPunct="0"/>
              <a:r>
                <a:rPr lang="pt-BR" sz="1200" noProof="1">
                  <a:latin typeface="Graphik" panose="020B0503030202060203" pitchFamily="34" charset="77"/>
                </a:rPr>
                <a:t>Insert text</a:t>
              </a:r>
            </a:p>
          </p:txBody>
        </p:sp>
        <p:sp>
          <p:nvSpPr>
            <p:cNvPr id="62" name="TextBox 61">
              <a:extLst>
                <a:ext uri="{FF2B5EF4-FFF2-40B4-BE49-F238E27FC236}">
                  <a16:creationId xmlns:a16="http://schemas.microsoft.com/office/drawing/2014/main" id="{2647FC6F-51BD-4EC8-A177-A869ED3094B4}"/>
                </a:ext>
              </a:extLst>
            </p:cNvPr>
            <p:cNvSpPr txBox="1"/>
            <p:nvPr/>
          </p:nvSpPr>
          <p:spPr>
            <a:xfrm>
              <a:off x="5526967" y="5381441"/>
              <a:ext cx="2137038" cy="291085"/>
            </a:xfrm>
            <a:prstGeom prst="rect">
              <a:avLst/>
            </a:prstGeom>
            <a:solidFill>
              <a:schemeClr val="accent1">
                <a:lumMod val="60000"/>
                <a:lumOff val="40000"/>
              </a:schemeClr>
            </a:solidFill>
            <a:ln>
              <a:noFill/>
            </a:ln>
          </p:spPr>
          <p:txBody>
            <a:bodyPr wrap="square" lIns="71977" tIns="64785" rIns="71977" bIns="45707" rtlCol="0" anchor="ctr">
              <a:noAutofit/>
            </a:bodyPr>
            <a:lstStyle>
              <a:defPPr>
                <a:defRPr lang="en-US"/>
              </a:defPPr>
              <a:lvl1pPr>
                <a:defRPr sz="1400">
                  <a:solidFill>
                    <a:schemeClr val="bg1"/>
                  </a:solidFill>
                </a:defRPr>
              </a:lvl1pPr>
            </a:lstStyle>
            <a:p>
              <a:pPr>
                <a:lnSpc>
                  <a:spcPct val="90000"/>
                </a:lnSpc>
              </a:pPr>
              <a:r>
                <a:rPr lang="pt-BR" noProof="1">
                  <a:solidFill>
                    <a:schemeClr val="tx1">
                      <a:lumMod val="95000"/>
                      <a:lumOff val="5000"/>
                    </a:schemeClr>
                  </a:solidFill>
                  <a:latin typeface="Graphik" panose="020B0503030202060203" pitchFamily="34" charset="77"/>
                </a:rPr>
                <a:t>Insert text</a:t>
              </a:r>
            </a:p>
          </p:txBody>
        </p:sp>
        <p:cxnSp>
          <p:nvCxnSpPr>
            <p:cNvPr id="86" name="AutoShape 31">
              <a:extLst>
                <a:ext uri="{FF2B5EF4-FFF2-40B4-BE49-F238E27FC236}">
                  <a16:creationId xmlns:a16="http://schemas.microsoft.com/office/drawing/2014/main" id="{3ED0050F-84FB-4228-BF48-DE54CF30D7A5}"/>
                </a:ext>
                <a:ext uri="{C183D7F6-B498-43B3-948B-1728B52AA6E4}">
                  <adec:decorative xmlns:adec="http://schemas.microsoft.com/office/drawing/2017/decorative" val="1"/>
                </a:ext>
              </a:extLst>
            </p:cNvPr>
            <p:cNvCxnSpPr>
              <a:cxnSpLocks noChangeShapeType="1"/>
              <a:stCxn id="62" idx="3"/>
              <a:endCxn id="83" idx="1"/>
            </p:cNvCxnSpPr>
            <p:nvPr/>
          </p:nvCxnSpPr>
          <p:spPr bwMode="auto">
            <a:xfrm>
              <a:off x="7664006" y="5526984"/>
              <a:ext cx="571845" cy="385264"/>
            </a:xfrm>
            <a:prstGeom prst="bentConnector3">
              <a:avLst>
                <a:gd name="adj1" fmla="val 50000"/>
              </a:avLst>
            </a:prstGeom>
            <a:ln w="9525" cap="rnd">
              <a:solidFill>
                <a:schemeClr val="tx1">
                  <a:lumMod val="75000"/>
                  <a:lumOff val="25000"/>
                </a:schemeClr>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84" name="AutoShape 29">
              <a:extLst>
                <a:ext uri="{FF2B5EF4-FFF2-40B4-BE49-F238E27FC236}">
                  <a16:creationId xmlns:a16="http://schemas.microsoft.com/office/drawing/2014/main" id="{126C0AF5-36F1-4216-B9A4-662566381890}"/>
                </a:ext>
                <a:ext uri="{C183D7F6-B498-43B3-948B-1728B52AA6E4}">
                  <adec:decorative xmlns:adec="http://schemas.microsoft.com/office/drawing/2017/decorative" val="1"/>
                </a:ext>
              </a:extLst>
            </p:cNvPr>
            <p:cNvCxnSpPr>
              <a:cxnSpLocks noChangeShapeType="1"/>
              <a:stCxn id="62" idx="3"/>
              <a:endCxn id="81" idx="1"/>
            </p:cNvCxnSpPr>
            <p:nvPr/>
          </p:nvCxnSpPr>
          <p:spPr bwMode="auto">
            <a:xfrm flipV="1">
              <a:off x="7664005" y="5143075"/>
              <a:ext cx="571846" cy="383909"/>
            </a:xfrm>
            <a:prstGeom prst="bentConnector3">
              <a:avLst>
                <a:gd name="adj1" fmla="val 50000"/>
              </a:avLst>
            </a:prstGeom>
            <a:ln w="9525" cap="rnd">
              <a:solidFill>
                <a:schemeClr val="tx1">
                  <a:lumMod val="75000"/>
                  <a:lumOff val="25000"/>
                </a:schemeClr>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85" name="AutoShape 30">
              <a:extLst>
                <a:ext uri="{FF2B5EF4-FFF2-40B4-BE49-F238E27FC236}">
                  <a16:creationId xmlns:a16="http://schemas.microsoft.com/office/drawing/2014/main" id="{3AA55CAC-2F7F-4E8F-80B5-6664B0D1D01B}"/>
                </a:ext>
                <a:ext uri="{C183D7F6-B498-43B3-948B-1728B52AA6E4}">
                  <adec:decorative xmlns:adec="http://schemas.microsoft.com/office/drawing/2017/decorative" val="1"/>
                </a:ext>
              </a:extLst>
            </p:cNvPr>
            <p:cNvCxnSpPr>
              <a:cxnSpLocks noChangeShapeType="1"/>
              <a:stCxn id="62" idx="3"/>
              <a:endCxn id="82" idx="1"/>
            </p:cNvCxnSpPr>
            <p:nvPr/>
          </p:nvCxnSpPr>
          <p:spPr bwMode="auto">
            <a:xfrm>
              <a:off x="7664005" y="5526984"/>
              <a:ext cx="571846" cy="677"/>
            </a:xfrm>
            <a:prstGeom prst="straightConnector1">
              <a:avLst/>
            </a:prstGeom>
            <a:ln w="9525" cap="rnd">
              <a:solidFill>
                <a:schemeClr val="tx1">
                  <a:lumMod val="75000"/>
                  <a:lumOff val="25000"/>
                </a:schemeClr>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81" name="Rectangle 11">
              <a:extLst>
                <a:ext uri="{FF2B5EF4-FFF2-40B4-BE49-F238E27FC236}">
                  <a16:creationId xmlns:a16="http://schemas.microsoft.com/office/drawing/2014/main" id="{2A3AFFFC-1A36-42A4-8EEE-972AF1B89072}"/>
                </a:ext>
              </a:extLst>
            </p:cNvPr>
            <p:cNvSpPr>
              <a:spLocks noChangeArrowheads="1"/>
            </p:cNvSpPr>
            <p:nvPr/>
          </p:nvSpPr>
          <p:spPr bwMode="auto">
            <a:xfrm>
              <a:off x="8235851" y="4997423"/>
              <a:ext cx="2136873" cy="291303"/>
            </a:xfrm>
            <a:prstGeom prst="rect">
              <a:avLst/>
            </a:prstGeom>
            <a:solidFill>
              <a:srgbClr val="E4E7E7"/>
            </a:solidFill>
            <a:ln w="6350">
              <a:noFill/>
              <a:miter lim="800000"/>
              <a:headEnd/>
              <a:tailEnd/>
            </a:ln>
            <a:effectLst/>
          </p:spPr>
          <p:txBody>
            <a:bodyPr lIns="72000" tIns="72000" rIns="72000" bIns="72000" anchor="ctr"/>
            <a:lstStyle/>
            <a:p>
              <a:pPr eaLnBrk="0" hangingPunct="0"/>
              <a:r>
                <a:rPr lang="pt-BR" sz="1200" noProof="1">
                  <a:latin typeface="Graphik" panose="020B0503030202060203" pitchFamily="34" charset="77"/>
                </a:rPr>
                <a:t>Insert text</a:t>
              </a:r>
            </a:p>
          </p:txBody>
        </p:sp>
        <p:sp>
          <p:nvSpPr>
            <p:cNvPr id="82" name="Rectangle 12">
              <a:extLst>
                <a:ext uri="{FF2B5EF4-FFF2-40B4-BE49-F238E27FC236}">
                  <a16:creationId xmlns:a16="http://schemas.microsoft.com/office/drawing/2014/main" id="{543F68A3-D840-404F-9162-9ACA39E73E69}"/>
                </a:ext>
              </a:extLst>
            </p:cNvPr>
            <p:cNvSpPr>
              <a:spLocks noChangeArrowheads="1"/>
            </p:cNvSpPr>
            <p:nvPr/>
          </p:nvSpPr>
          <p:spPr bwMode="auto">
            <a:xfrm>
              <a:off x="8235851" y="5382009"/>
              <a:ext cx="2136873" cy="291303"/>
            </a:xfrm>
            <a:prstGeom prst="rect">
              <a:avLst/>
            </a:prstGeom>
            <a:solidFill>
              <a:srgbClr val="E4E7E7"/>
            </a:solidFill>
            <a:ln w="6350">
              <a:noFill/>
              <a:miter lim="800000"/>
              <a:headEnd/>
              <a:tailEnd/>
            </a:ln>
            <a:effectLst/>
          </p:spPr>
          <p:txBody>
            <a:bodyPr lIns="72000" tIns="72000" rIns="72000" bIns="72000" anchor="ctr"/>
            <a:lstStyle/>
            <a:p>
              <a:pPr eaLnBrk="0" hangingPunct="0"/>
              <a:r>
                <a:rPr lang="pt-BR" sz="1200" noProof="1">
                  <a:latin typeface="Graphik" panose="020B0503030202060203" pitchFamily="34" charset="77"/>
                </a:rPr>
                <a:t>Insert text</a:t>
              </a:r>
            </a:p>
          </p:txBody>
        </p:sp>
        <p:sp>
          <p:nvSpPr>
            <p:cNvPr id="83" name="Rectangle 13">
              <a:extLst>
                <a:ext uri="{FF2B5EF4-FFF2-40B4-BE49-F238E27FC236}">
                  <a16:creationId xmlns:a16="http://schemas.microsoft.com/office/drawing/2014/main" id="{1530963C-B61C-4428-889C-2771BE87A102}"/>
                </a:ext>
              </a:extLst>
            </p:cNvPr>
            <p:cNvSpPr>
              <a:spLocks noChangeArrowheads="1"/>
            </p:cNvSpPr>
            <p:nvPr/>
          </p:nvSpPr>
          <p:spPr bwMode="auto">
            <a:xfrm>
              <a:off x="8235851" y="5766597"/>
              <a:ext cx="2136873" cy="291303"/>
            </a:xfrm>
            <a:prstGeom prst="rect">
              <a:avLst/>
            </a:prstGeom>
            <a:solidFill>
              <a:srgbClr val="E4E7E7"/>
            </a:solidFill>
            <a:ln w="6350">
              <a:noFill/>
              <a:miter lim="800000"/>
              <a:headEnd/>
              <a:tailEnd/>
            </a:ln>
            <a:effectLst/>
          </p:spPr>
          <p:txBody>
            <a:bodyPr lIns="72000" tIns="72000" rIns="72000" bIns="72000" anchor="ctr"/>
            <a:lstStyle/>
            <a:p>
              <a:pPr eaLnBrk="0" hangingPunct="0"/>
              <a:r>
                <a:rPr lang="pt-BR" sz="1200" noProof="1">
                  <a:latin typeface="Graphik" panose="020B0503030202060203" pitchFamily="34" charset="77"/>
                </a:rPr>
                <a:t>Insert text</a:t>
              </a:r>
            </a:p>
          </p:txBody>
        </p:sp>
      </p:grpSp>
    </p:spTree>
    <p:extLst>
      <p:ext uri="{BB962C8B-B14F-4D97-AF65-F5344CB8AC3E}">
        <p14:creationId xmlns:p14="http://schemas.microsoft.com/office/powerpoint/2010/main" val="101828353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1D5D618-0017-802B-4738-BE5349DB302A}"/>
              </a:ext>
            </a:extLst>
          </p:cNvPr>
          <p:cNvGraphicFramePr>
            <a:graphicFrameLocks noChangeAspect="1"/>
          </p:cNvGraphicFramePr>
          <p:nvPr>
            <p:custDataLst>
              <p:tags r:id="rId1"/>
            </p:custDataLst>
            <p:extLst>
              <p:ext uri="{D42A27DB-BD31-4B8C-83A1-F6EECF244321}">
                <p14:modId xmlns:p14="http://schemas.microsoft.com/office/powerpoint/2010/main" val="1920991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5" name="think-cell data - do not delete" hidden="1">
                        <a:extLst>
                          <a:ext uri="{FF2B5EF4-FFF2-40B4-BE49-F238E27FC236}">
                            <a16:creationId xmlns:a16="http://schemas.microsoft.com/office/drawing/2014/main" id="{91D5D618-0017-802B-4738-BE5349DB30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vert="horz"/>
          <a:lstStyle/>
          <a:p>
            <a:r>
              <a:rPr lang="pt-BR" noProof="1"/>
              <a:t>Vertical issue tree example – </a:t>
            </a:r>
            <a:r>
              <a:rPr lang="pt-BR" b="1" noProof="1"/>
              <a:t>PROPOSAL </a:t>
            </a:r>
            <a:endParaRPr lang="pt-BR" noProof="1"/>
          </a:p>
        </p:txBody>
      </p:sp>
      <p:grpSp>
        <p:nvGrpSpPr>
          <p:cNvPr id="12" name="Group 11" descr="Example of a vertical issue tree diagram with hierarchical text boxes branching from top to bottom, illustrating structured dependencies.">
            <a:extLst>
              <a:ext uri="{FF2B5EF4-FFF2-40B4-BE49-F238E27FC236}">
                <a16:creationId xmlns:a16="http://schemas.microsoft.com/office/drawing/2014/main" id="{27168932-8B5F-47B4-ADF8-0881BE5C8F90}"/>
              </a:ext>
            </a:extLst>
          </p:cNvPr>
          <p:cNvGrpSpPr/>
          <p:nvPr/>
        </p:nvGrpSpPr>
        <p:grpSpPr>
          <a:xfrm>
            <a:off x="2133326" y="1563076"/>
            <a:ext cx="7950749" cy="4011899"/>
            <a:chOff x="374772" y="1628801"/>
            <a:chExt cx="11482266" cy="4429099"/>
          </a:xfrm>
        </p:grpSpPr>
        <p:sp>
          <p:nvSpPr>
            <p:cNvPr id="39" name="Rectangle 5">
              <a:extLst>
                <a:ext uri="{FF2B5EF4-FFF2-40B4-BE49-F238E27FC236}">
                  <a16:creationId xmlns:a16="http://schemas.microsoft.com/office/drawing/2014/main" id="{61AAFE0B-A639-4DA2-AA4A-71ED0329B1EE}"/>
                </a:ext>
              </a:extLst>
            </p:cNvPr>
            <p:cNvSpPr>
              <a:spLocks noChangeArrowheads="1"/>
            </p:cNvSpPr>
            <p:nvPr/>
          </p:nvSpPr>
          <p:spPr bwMode="auto">
            <a:xfrm>
              <a:off x="5377564" y="1628801"/>
              <a:ext cx="1440000" cy="432000"/>
            </a:xfrm>
            <a:prstGeom prst="rect">
              <a:avLst/>
            </a:prstGeom>
            <a:solidFill>
              <a:schemeClr val="bg2"/>
            </a:solidFill>
            <a:ln w="6350">
              <a:noFill/>
              <a:miter lim="800000"/>
              <a:headEnd/>
              <a:tailEnd/>
            </a:ln>
            <a:effectLst/>
          </p:spPr>
          <p:txBody>
            <a:bodyPr lIns="72000" tIns="72000" rIns="72000" bIns="72000" anchor="ctr"/>
            <a:lstStyle/>
            <a:p>
              <a:pPr algn="ctr" eaLnBrk="0" hangingPunct="0"/>
              <a:r>
                <a:rPr lang="pt-BR" sz="1200" noProof="1">
                  <a:solidFill>
                    <a:schemeClr val="bg1"/>
                  </a:solidFill>
                  <a:latin typeface="Graphik" panose="020B0503030202060203" pitchFamily="34" charset="77"/>
                </a:rPr>
                <a:t>Text</a:t>
              </a:r>
            </a:p>
          </p:txBody>
        </p:sp>
        <p:grpSp>
          <p:nvGrpSpPr>
            <p:cNvPr id="3" name="Group 2">
              <a:extLst>
                <a:ext uri="{FF2B5EF4-FFF2-40B4-BE49-F238E27FC236}">
                  <a16:creationId xmlns:a16="http://schemas.microsoft.com/office/drawing/2014/main" id="{426722E6-243D-4BD6-810B-B1D628E17F8C}"/>
                </a:ext>
                <a:ext uri="{C183D7F6-B498-43B3-948B-1728B52AA6E4}">
                  <adec:decorative xmlns:adec="http://schemas.microsoft.com/office/drawing/2017/decorative" val="1"/>
                </a:ext>
              </a:extLst>
            </p:cNvPr>
            <p:cNvGrpSpPr/>
            <p:nvPr/>
          </p:nvGrpSpPr>
          <p:grpSpPr>
            <a:xfrm>
              <a:off x="3577826" y="2060801"/>
              <a:ext cx="5039474" cy="498274"/>
              <a:chOff x="3577826" y="2060801"/>
              <a:chExt cx="5039474" cy="498274"/>
            </a:xfrm>
          </p:grpSpPr>
          <p:cxnSp>
            <p:nvCxnSpPr>
              <p:cNvPr id="41" name="AutoShape 7">
                <a:extLst>
                  <a:ext uri="{FF2B5EF4-FFF2-40B4-BE49-F238E27FC236}">
                    <a16:creationId xmlns:a16="http://schemas.microsoft.com/office/drawing/2014/main" id="{CCFD73B1-3C91-4C23-8496-E3FA67D94E6D}"/>
                  </a:ext>
                </a:extLst>
              </p:cNvPr>
              <p:cNvCxnSpPr>
                <a:cxnSpLocks noChangeShapeType="1"/>
                <a:stCxn id="39" idx="2"/>
                <a:endCxn id="38" idx="0"/>
              </p:cNvCxnSpPr>
              <p:nvPr/>
            </p:nvCxnSpPr>
            <p:spPr bwMode="auto">
              <a:xfrm rot="5400000">
                <a:off x="4588558" y="1050069"/>
                <a:ext cx="498274" cy="2519738"/>
              </a:xfrm>
              <a:prstGeom prst="bentConnector3">
                <a:avLst>
                  <a:gd name="adj1" fmla="val 50000"/>
                </a:avLst>
              </a:prstGeom>
              <a:ln w="9525" cap="rnd">
                <a:solidFill>
                  <a:schemeClr val="tx1">
                    <a:lumMod val="75000"/>
                    <a:lumOff val="25000"/>
                  </a:schemeClr>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2" name="AutoShape 8">
                <a:extLst>
                  <a:ext uri="{FF2B5EF4-FFF2-40B4-BE49-F238E27FC236}">
                    <a16:creationId xmlns:a16="http://schemas.microsoft.com/office/drawing/2014/main" id="{70244787-BD01-4C48-A513-E18E1D2A3160}"/>
                  </a:ext>
                </a:extLst>
              </p:cNvPr>
              <p:cNvCxnSpPr>
                <a:cxnSpLocks noChangeShapeType="1"/>
                <a:stCxn id="39" idx="2"/>
                <a:endCxn id="40" idx="0"/>
              </p:cNvCxnSpPr>
              <p:nvPr/>
            </p:nvCxnSpPr>
            <p:spPr bwMode="auto">
              <a:xfrm rot="16200000" flipH="1">
                <a:off x="7108295" y="1050069"/>
                <a:ext cx="498274" cy="2519737"/>
              </a:xfrm>
              <a:prstGeom prst="bentConnector3">
                <a:avLst>
                  <a:gd name="adj1" fmla="val 50000"/>
                </a:avLst>
              </a:prstGeom>
              <a:ln w="9525" cap="rnd">
                <a:solidFill>
                  <a:schemeClr val="tx1">
                    <a:lumMod val="75000"/>
                    <a:lumOff val="25000"/>
                  </a:schemeClr>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38" name="Rectangle 4">
              <a:extLst>
                <a:ext uri="{FF2B5EF4-FFF2-40B4-BE49-F238E27FC236}">
                  <a16:creationId xmlns:a16="http://schemas.microsoft.com/office/drawing/2014/main" id="{2031FC81-1F4C-4ABE-A7F8-E62F8E86E169}"/>
                </a:ext>
              </a:extLst>
            </p:cNvPr>
            <p:cNvSpPr>
              <a:spLocks noChangeArrowheads="1"/>
            </p:cNvSpPr>
            <p:nvPr/>
          </p:nvSpPr>
          <p:spPr bwMode="auto">
            <a:xfrm>
              <a:off x="2857826" y="2559075"/>
              <a:ext cx="1440000" cy="432000"/>
            </a:xfrm>
            <a:prstGeom prst="rect">
              <a:avLst/>
            </a:prstGeom>
            <a:solidFill>
              <a:schemeClr val="accent2"/>
            </a:solidFill>
            <a:ln w="6350">
              <a:noFill/>
              <a:miter lim="800000"/>
              <a:headEnd/>
              <a:tailEnd/>
            </a:ln>
            <a:effectLst/>
          </p:spPr>
          <p:txBody>
            <a:bodyPr lIns="72000" tIns="72000" rIns="72000" bIns="72000" anchor="ctr"/>
            <a:lstStyle/>
            <a:p>
              <a:pPr algn="ctr" eaLnBrk="0" hangingPunct="0"/>
              <a:r>
                <a:rPr lang="pt-BR" sz="1200" noProof="1">
                  <a:latin typeface="Graphik" panose="020B0503030202060203" pitchFamily="34" charset="77"/>
                </a:rPr>
                <a:t>Text</a:t>
              </a:r>
            </a:p>
          </p:txBody>
        </p:sp>
        <p:grpSp>
          <p:nvGrpSpPr>
            <p:cNvPr id="6" name="Group 5">
              <a:extLst>
                <a:ext uri="{FF2B5EF4-FFF2-40B4-BE49-F238E27FC236}">
                  <a16:creationId xmlns:a16="http://schemas.microsoft.com/office/drawing/2014/main" id="{1862BABF-24EB-416D-BC3A-E16797541D79}"/>
                </a:ext>
                <a:ext uri="{C183D7F6-B498-43B3-948B-1728B52AA6E4}">
                  <adec:decorative xmlns:adec="http://schemas.microsoft.com/office/drawing/2017/decorative" val="1"/>
                </a:ext>
              </a:extLst>
            </p:cNvPr>
            <p:cNvGrpSpPr/>
            <p:nvPr/>
          </p:nvGrpSpPr>
          <p:grpSpPr>
            <a:xfrm>
              <a:off x="2092443" y="2991076"/>
              <a:ext cx="2884849" cy="542725"/>
              <a:chOff x="2092443" y="2991076"/>
              <a:chExt cx="2884849" cy="542725"/>
            </a:xfrm>
          </p:grpSpPr>
          <p:cxnSp>
            <p:nvCxnSpPr>
              <p:cNvPr id="43" name="AutoShape 9">
                <a:extLst>
                  <a:ext uri="{FF2B5EF4-FFF2-40B4-BE49-F238E27FC236}">
                    <a16:creationId xmlns:a16="http://schemas.microsoft.com/office/drawing/2014/main" id="{6CAD54FE-52C3-4E5B-9590-C3959ED573A8}"/>
                  </a:ext>
                </a:extLst>
              </p:cNvPr>
              <p:cNvCxnSpPr>
                <a:cxnSpLocks noChangeShapeType="1"/>
                <a:stCxn id="38" idx="2"/>
                <a:endCxn id="48" idx="0"/>
              </p:cNvCxnSpPr>
              <p:nvPr/>
            </p:nvCxnSpPr>
            <p:spPr bwMode="auto">
              <a:xfrm rot="5400000">
                <a:off x="2563773" y="2519747"/>
                <a:ext cx="542724" cy="1485384"/>
              </a:xfrm>
              <a:prstGeom prst="bentConnector3">
                <a:avLst>
                  <a:gd name="adj1" fmla="val 50000"/>
                </a:avLst>
              </a:prstGeom>
              <a:ln w="9525" cap="rnd">
                <a:solidFill>
                  <a:schemeClr val="tx1">
                    <a:lumMod val="75000"/>
                    <a:lumOff val="25000"/>
                  </a:schemeClr>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4" name="AutoShape 10">
                <a:extLst>
                  <a:ext uri="{FF2B5EF4-FFF2-40B4-BE49-F238E27FC236}">
                    <a16:creationId xmlns:a16="http://schemas.microsoft.com/office/drawing/2014/main" id="{7FE37DA8-9315-4894-95A8-5A5AD82556BD}"/>
                  </a:ext>
                </a:extLst>
              </p:cNvPr>
              <p:cNvCxnSpPr>
                <a:cxnSpLocks noChangeShapeType="1"/>
                <a:stCxn id="38" idx="2"/>
                <a:endCxn id="47" idx="0"/>
              </p:cNvCxnSpPr>
              <p:nvPr/>
            </p:nvCxnSpPr>
            <p:spPr bwMode="auto">
              <a:xfrm rot="16200000" flipH="1">
                <a:off x="4006197" y="2562704"/>
                <a:ext cx="542724" cy="1399467"/>
              </a:xfrm>
              <a:prstGeom prst="bentConnector3">
                <a:avLst>
                  <a:gd name="adj1" fmla="val 50000"/>
                </a:avLst>
              </a:prstGeom>
              <a:ln w="9525" cap="rnd">
                <a:solidFill>
                  <a:schemeClr val="tx1">
                    <a:lumMod val="75000"/>
                    <a:lumOff val="25000"/>
                  </a:schemeClr>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48" name="Rectangle 14">
              <a:extLst>
                <a:ext uri="{FF2B5EF4-FFF2-40B4-BE49-F238E27FC236}">
                  <a16:creationId xmlns:a16="http://schemas.microsoft.com/office/drawing/2014/main" id="{688A9A3C-5827-426A-9B92-2C95A173BD41}"/>
                </a:ext>
              </a:extLst>
            </p:cNvPr>
            <p:cNvSpPr>
              <a:spLocks noChangeArrowheads="1"/>
            </p:cNvSpPr>
            <p:nvPr/>
          </p:nvSpPr>
          <p:spPr bwMode="auto">
            <a:xfrm>
              <a:off x="1372442" y="3533800"/>
              <a:ext cx="1440000" cy="432000"/>
            </a:xfrm>
            <a:prstGeom prst="rect">
              <a:avLst/>
            </a:prstGeom>
            <a:solidFill>
              <a:schemeClr val="accent1">
                <a:lumMod val="60000"/>
                <a:lumOff val="40000"/>
              </a:schemeClr>
            </a:solidFill>
            <a:ln w="6350">
              <a:noFill/>
              <a:miter lim="800000"/>
              <a:headEnd/>
              <a:tailEnd/>
            </a:ln>
            <a:effectLst/>
          </p:spPr>
          <p:txBody>
            <a:bodyPr lIns="72000" tIns="72000" rIns="72000" bIns="72000" anchor="ctr"/>
            <a:lstStyle/>
            <a:p>
              <a:pPr algn="ctr" eaLnBrk="0" hangingPunct="0"/>
              <a:r>
                <a:rPr lang="pt-BR" sz="1200" noProof="1">
                  <a:solidFill>
                    <a:schemeClr val="tx1">
                      <a:lumMod val="95000"/>
                      <a:lumOff val="5000"/>
                    </a:schemeClr>
                  </a:solidFill>
                  <a:latin typeface="Graphik" panose="020B0503030202060203" pitchFamily="34" charset="77"/>
                </a:rPr>
                <a:t>Text</a:t>
              </a:r>
            </a:p>
          </p:txBody>
        </p:sp>
        <p:grpSp>
          <p:nvGrpSpPr>
            <p:cNvPr id="8" name="Group 7">
              <a:extLst>
                <a:ext uri="{FF2B5EF4-FFF2-40B4-BE49-F238E27FC236}">
                  <a16:creationId xmlns:a16="http://schemas.microsoft.com/office/drawing/2014/main" id="{EF07AE87-5674-4ED6-8301-1C2F37EFCD42}"/>
                </a:ext>
                <a:ext uri="{C183D7F6-B498-43B3-948B-1728B52AA6E4}">
                  <adec:decorative xmlns:adec="http://schemas.microsoft.com/office/drawing/2017/decorative" val="1"/>
                </a:ext>
              </a:extLst>
            </p:cNvPr>
            <p:cNvGrpSpPr/>
            <p:nvPr/>
          </p:nvGrpSpPr>
          <p:grpSpPr>
            <a:xfrm>
              <a:off x="932773" y="3965800"/>
              <a:ext cx="2311766" cy="1660098"/>
              <a:chOff x="932773" y="3965800"/>
              <a:chExt cx="2311766" cy="1660098"/>
            </a:xfrm>
          </p:grpSpPr>
          <p:cxnSp>
            <p:nvCxnSpPr>
              <p:cNvPr id="57" name="AutoShape 23">
                <a:extLst>
                  <a:ext uri="{FF2B5EF4-FFF2-40B4-BE49-F238E27FC236}">
                    <a16:creationId xmlns:a16="http://schemas.microsoft.com/office/drawing/2014/main" id="{F846FAD2-5A74-4FE9-9E49-B6CDD55441FD}"/>
                  </a:ext>
                </a:extLst>
              </p:cNvPr>
              <p:cNvCxnSpPr>
                <a:cxnSpLocks noChangeShapeType="1"/>
                <a:stCxn id="48" idx="2"/>
                <a:endCxn id="51" idx="0"/>
              </p:cNvCxnSpPr>
              <p:nvPr/>
            </p:nvCxnSpPr>
            <p:spPr bwMode="auto">
              <a:xfrm rot="5400000">
                <a:off x="682559" y="4216014"/>
                <a:ext cx="1660098" cy="1159670"/>
              </a:xfrm>
              <a:prstGeom prst="bentConnector3">
                <a:avLst>
                  <a:gd name="adj1" fmla="val 50000"/>
                </a:avLst>
              </a:prstGeom>
              <a:ln w="9525" cap="rnd">
                <a:solidFill>
                  <a:schemeClr val="tx1">
                    <a:lumMod val="75000"/>
                    <a:lumOff val="25000"/>
                  </a:schemeClr>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8" name="AutoShape 24">
                <a:extLst>
                  <a:ext uri="{FF2B5EF4-FFF2-40B4-BE49-F238E27FC236}">
                    <a16:creationId xmlns:a16="http://schemas.microsoft.com/office/drawing/2014/main" id="{8D385AB4-4186-4285-8B68-D0F142AD11CB}"/>
                  </a:ext>
                </a:extLst>
              </p:cNvPr>
              <p:cNvCxnSpPr>
                <a:cxnSpLocks noChangeShapeType="1"/>
                <a:stCxn id="48" idx="2"/>
                <a:endCxn id="52" idx="0"/>
              </p:cNvCxnSpPr>
              <p:nvPr/>
            </p:nvCxnSpPr>
            <p:spPr bwMode="auto">
              <a:xfrm>
                <a:off x="2092442" y="3965800"/>
                <a:ext cx="1069" cy="1660098"/>
              </a:xfrm>
              <a:prstGeom prst="straightConnector1">
                <a:avLst/>
              </a:prstGeom>
              <a:ln w="9525" cap="rnd">
                <a:solidFill>
                  <a:schemeClr val="tx1">
                    <a:lumMod val="75000"/>
                    <a:lumOff val="25000"/>
                  </a:schemeClr>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9" name="AutoShape 25">
                <a:extLst>
                  <a:ext uri="{FF2B5EF4-FFF2-40B4-BE49-F238E27FC236}">
                    <a16:creationId xmlns:a16="http://schemas.microsoft.com/office/drawing/2014/main" id="{6027C929-32E5-48CF-932E-477ABE95C65C}"/>
                  </a:ext>
                </a:extLst>
              </p:cNvPr>
              <p:cNvCxnSpPr>
                <a:cxnSpLocks noChangeShapeType="1"/>
                <a:stCxn id="48" idx="2"/>
                <a:endCxn id="53" idx="0"/>
              </p:cNvCxnSpPr>
              <p:nvPr/>
            </p:nvCxnSpPr>
            <p:spPr bwMode="auto">
              <a:xfrm rot="16200000" flipH="1">
                <a:off x="1838442" y="4219801"/>
                <a:ext cx="1660098" cy="1152096"/>
              </a:xfrm>
              <a:prstGeom prst="bentConnector3">
                <a:avLst>
                  <a:gd name="adj1" fmla="val 50000"/>
                </a:avLst>
              </a:prstGeom>
              <a:ln w="9525" cap="rnd">
                <a:solidFill>
                  <a:schemeClr val="tx1">
                    <a:lumMod val="75000"/>
                    <a:lumOff val="25000"/>
                  </a:schemeClr>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51" name="Rectangle 17">
              <a:extLst>
                <a:ext uri="{FF2B5EF4-FFF2-40B4-BE49-F238E27FC236}">
                  <a16:creationId xmlns:a16="http://schemas.microsoft.com/office/drawing/2014/main" id="{7989231D-3A4F-4F2D-99B2-6FD4406BE5AD}"/>
                </a:ext>
              </a:extLst>
            </p:cNvPr>
            <p:cNvSpPr>
              <a:spLocks noChangeArrowheads="1"/>
            </p:cNvSpPr>
            <p:nvPr/>
          </p:nvSpPr>
          <p:spPr bwMode="auto">
            <a:xfrm>
              <a:off x="374772" y="5625899"/>
              <a:ext cx="1116000" cy="432000"/>
            </a:xfrm>
            <a:prstGeom prst="rect">
              <a:avLst/>
            </a:prstGeom>
            <a:solidFill>
              <a:srgbClr val="E4E7E7"/>
            </a:solidFill>
            <a:ln w="6350">
              <a:noFill/>
              <a:miter lim="800000"/>
              <a:headEnd/>
              <a:tailEnd/>
            </a:ln>
            <a:effectLst/>
          </p:spPr>
          <p:txBody>
            <a:bodyPr lIns="72000" tIns="72000" rIns="72000" bIns="72000" anchor="ctr"/>
            <a:lstStyle/>
            <a:p>
              <a:pPr algn="ctr" eaLnBrk="0" hangingPunct="0"/>
              <a:r>
                <a:rPr lang="pt-BR" sz="1200" noProof="1">
                  <a:latin typeface="Graphik" panose="020B0503030202060203" pitchFamily="34" charset="77"/>
                </a:rPr>
                <a:t>Text</a:t>
              </a:r>
            </a:p>
          </p:txBody>
        </p:sp>
        <p:sp>
          <p:nvSpPr>
            <p:cNvPr id="52" name="Rectangle 18">
              <a:extLst>
                <a:ext uri="{FF2B5EF4-FFF2-40B4-BE49-F238E27FC236}">
                  <a16:creationId xmlns:a16="http://schemas.microsoft.com/office/drawing/2014/main" id="{B0057412-1906-496D-85B4-05A36059D79F}"/>
                </a:ext>
              </a:extLst>
            </p:cNvPr>
            <p:cNvSpPr>
              <a:spLocks noChangeArrowheads="1"/>
            </p:cNvSpPr>
            <p:nvPr/>
          </p:nvSpPr>
          <p:spPr bwMode="auto">
            <a:xfrm>
              <a:off x="1535511" y="5625899"/>
              <a:ext cx="1116000" cy="432000"/>
            </a:xfrm>
            <a:prstGeom prst="rect">
              <a:avLst/>
            </a:prstGeom>
            <a:solidFill>
              <a:srgbClr val="E4E7E7"/>
            </a:solidFill>
            <a:ln w="6350">
              <a:noFill/>
              <a:miter lim="800000"/>
              <a:headEnd/>
              <a:tailEnd/>
            </a:ln>
            <a:effectLst/>
          </p:spPr>
          <p:txBody>
            <a:bodyPr lIns="72000" tIns="72000" rIns="72000" bIns="72000" anchor="ctr"/>
            <a:lstStyle/>
            <a:p>
              <a:pPr algn="ctr" eaLnBrk="0" hangingPunct="0"/>
              <a:r>
                <a:rPr lang="pt-BR" sz="1200" noProof="1">
                  <a:latin typeface="Graphik" panose="020B0503030202060203" pitchFamily="34" charset="77"/>
                </a:rPr>
                <a:t>Text</a:t>
              </a:r>
            </a:p>
          </p:txBody>
        </p:sp>
        <p:sp>
          <p:nvSpPr>
            <p:cNvPr id="53" name="Rectangle 19">
              <a:extLst>
                <a:ext uri="{FF2B5EF4-FFF2-40B4-BE49-F238E27FC236}">
                  <a16:creationId xmlns:a16="http://schemas.microsoft.com/office/drawing/2014/main" id="{8CB20EDC-6D13-4006-A9D9-D874301BE603}"/>
                </a:ext>
              </a:extLst>
            </p:cNvPr>
            <p:cNvSpPr>
              <a:spLocks noChangeArrowheads="1"/>
            </p:cNvSpPr>
            <p:nvPr/>
          </p:nvSpPr>
          <p:spPr bwMode="auto">
            <a:xfrm>
              <a:off x="2686538" y="5625899"/>
              <a:ext cx="1116000" cy="432000"/>
            </a:xfrm>
            <a:prstGeom prst="rect">
              <a:avLst/>
            </a:prstGeom>
            <a:solidFill>
              <a:srgbClr val="E4E7E7"/>
            </a:solidFill>
            <a:ln w="6350">
              <a:noFill/>
              <a:miter lim="800000"/>
              <a:headEnd/>
              <a:tailEnd/>
            </a:ln>
            <a:effectLst/>
          </p:spPr>
          <p:txBody>
            <a:bodyPr lIns="72000" tIns="72000" rIns="72000" bIns="72000" anchor="ctr"/>
            <a:lstStyle/>
            <a:p>
              <a:pPr algn="ctr" eaLnBrk="0" hangingPunct="0"/>
              <a:r>
                <a:rPr lang="pt-BR" sz="1200" noProof="1">
                  <a:latin typeface="Graphik" panose="020B0503030202060203" pitchFamily="34" charset="77"/>
                </a:rPr>
                <a:t>Text</a:t>
              </a:r>
            </a:p>
          </p:txBody>
        </p:sp>
        <p:sp>
          <p:nvSpPr>
            <p:cNvPr id="47" name="Rectangle 13">
              <a:extLst>
                <a:ext uri="{FF2B5EF4-FFF2-40B4-BE49-F238E27FC236}">
                  <a16:creationId xmlns:a16="http://schemas.microsoft.com/office/drawing/2014/main" id="{1E139542-F01C-40C2-B600-CE9FFE449A1D}"/>
                </a:ext>
              </a:extLst>
            </p:cNvPr>
            <p:cNvSpPr>
              <a:spLocks noChangeArrowheads="1"/>
            </p:cNvSpPr>
            <p:nvPr/>
          </p:nvSpPr>
          <p:spPr bwMode="auto">
            <a:xfrm>
              <a:off x="4257293" y="3533800"/>
              <a:ext cx="1440000" cy="432000"/>
            </a:xfrm>
            <a:prstGeom prst="rect">
              <a:avLst/>
            </a:prstGeom>
            <a:solidFill>
              <a:schemeClr val="accent1">
                <a:lumMod val="60000"/>
                <a:lumOff val="40000"/>
              </a:schemeClr>
            </a:solidFill>
            <a:ln w="6350">
              <a:noFill/>
              <a:miter lim="800000"/>
              <a:headEnd/>
              <a:tailEnd/>
            </a:ln>
            <a:effectLst/>
          </p:spPr>
          <p:txBody>
            <a:bodyPr lIns="72000" tIns="72000" rIns="72000" bIns="72000" anchor="ctr"/>
            <a:lstStyle/>
            <a:p>
              <a:pPr algn="ctr" eaLnBrk="0" hangingPunct="0"/>
              <a:r>
                <a:rPr lang="pt-BR" sz="1200" noProof="1">
                  <a:solidFill>
                    <a:schemeClr val="tx1">
                      <a:lumMod val="95000"/>
                      <a:lumOff val="5000"/>
                    </a:schemeClr>
                  </a:solidFill>
                  <a:latin typeface="Graphik" panose="020B0503030202060203" pitchFamily="34" charset="77"/>
                </a:rPr>
                <a:t>Text</a:t>
              </a:r>
            </a:p>
          </p:txBody>
        </p:sp>
        <p:grpSp>
          <p:nvGrpSpPr>
            <p:cNvPr id="9" name="Group 8">
              <a:extLst>
                <a:ext uri="{FF2B5EF4-FFF2-40B4-BE49-F238E27FC236}">
                  <a16:creationId xmlns:a16="http://schemas.microsoft.com/office/drawing/2014/main" id="{1E195289-9F3E-4D3C-85D2-12065A3A5996}"/>
                </a:ext>
                <a:ext uri="{C183D7F6-B498-43B3-948B-1728B52AA6E4}">
                  <adec:decorative xmlns:adec="http://schemas.microsoft.com/office/drawing/2017/decorative" val="1"/>
                </a:ext>
              </a:extLst>
            </p:cNvPr>
            <p:cNvGrpSpPr/>
            <p:nvPr/>
          </p:nvGrpSpPr>
          <p:grpSpPr>
            <a:xfrm>
              <a:off x="4363739" y="3965799"/>
              <a:ext cx="1155885" cy="584002"/>
              <a:chOff x="4363739" y="3965799"/>
              <a:chExt cx="1155885" cy="584002"/>
            </a:xfrm>
          </p:grpSpPr>
          <p:cxnSp>
            <p:nvCxnSpPr>
              <p:cNvPr id="67" name="AutoShape 33">
                <a:extLst>
                  <a:ext uri="{FF2B5EF4-FFF2-40B4-BE49-F238E27FC236}">
                    <a16:creationId xmlns:a16="http://schemas.microsoft.com/office/drawing/2014/main" id="{18033C95-F564-4C53-BEB2-F9E6D9266575}"/>
                  </a:ext>
                </a:extLst>
              </p:cNvPr>
              <p:cNvCxnSpPr>
                <a:cxnSpLocks noChangeShapeType="1"/>
                <a:stCxn id="47" idx="2"/>
                <a:endCxn id="63" idx="0"/>
              </p:cNvCxnSpPr>
              <p:nvPr/>
            </p:nvCxnSpPr>
            <p:spPr bwMode="auto">
              <a:xfrm rot="5400000">
                <a:off x="4378516" y="3951023"/>
                <a:ext cx="584001" cy="613555"/>
              </a:xfrm>
              <a:prstGeom prst="bentConnector3">
                <a:avLst>
                  <a:gd name="adj1" fmla="val 50000"/>
                </a:avLst>
              </a:prstGeom>
              <a:ln w="9525" cap="rnd">
                <a:solidFill>
                  <a:schemeClr val="tx1">
                    <a:lumMod val="75000"/>
                    <a:lumOff val="25000"/>
                  </a:schemeClr>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68" name="AutoShape 34">
                <a:extLst>
                  <a:ext uri="{FF2B5EF4-FFF2-40B4-BE49-F238E27FC236}">
                    <a16:creationId xmlns:a16="http://schemas.microsoft.com/office/drawing/2014/main" id="{38FAA2AD-59E3-411F-83CC-4B5A2C4C6404}"/>
                  </a:ext>
                </a:extLst>
              </p:cNvPr>
              <p:cNvCxnSpPr>
                <a:cxnSpLocks noChangeShapeType="1"/>
                <a:stCxn id="47" idx="2"/>
                <a:endCxn id="64" idx="0"/>
              </p:cNvCxnSpPr>
              <p:nvPr/>
            </p:nvCxnSpPr>
            <p:spPr bwMode="auto">
              <a:xfrm rot="16200000" flipH="1">
                <a:off x="4956458" y="3986635"/>
                <a:ext cx="584001" cy="542330"/>
              </a:xfrm>
              <a:prstGeom prst="bentConnector3">
                <a:avLst>
                  <a:gd name="adj1" fmla="val 50000"/>
                </a:avLst>
              </a:prstGeom>
              <a:ln w="9525" cap="rnd">
                <a:solidFill>
                  <a:schemeClr val="tx1">
                    <a:lumMod val="75000"/>
                    <a:lumOff val="25000"/>
                  </a:schemeClr>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63" name="Rectangle 29">
              <a:extLst>
                <a:ext uri="{FF2B5EF4-FFF2-40B4-BE49-F238E27FC236}">
                  <a16:creationId xmlns:a16="http://schemas.microsoft.com/office/drawing/2014/main" id="{0191A909-9232-4025-8F48-E68CF46384F2}"/>
                </a:ext>
              </a:extLst>
            </p:cNvPr>
            <p:cNvSpPr>
              <a:spLocks noChangeArrowheads="1"/>
            </p:cNvSpPr>
            <p:nvPr/>
          </p:nvSpPr>
          <p:spPr bwMode="auto">
            <a:xfrm>
              <a:off x="3805739" y="4549801"/>
              <a:ext cx="1116000" cy="432000"/>
            </a:xfrm>
            <a:prstGeom prst="rect">
              <a:avLst/>
            </a:prstGeom>
            <a:solidFill>
              <a:srgbClr val="E4E7E7"/>
            </a:solidFill>
            <a:ln w="6350">
              <a:noFill/>
              <a:miter lim="800000"/>
              <a:headEnd/>
              <a:tailEnd/>
            </a:ln>
            <a:effectLst/>
          </p:spPr>
          <p:txBody>
            <a:bodyPr lIns="72000" tIns="72000" rIns="72000" bIns="72000" anchor="ctr"/>
            <a:lstStyle/>
            <a:p>
              <a:pPr algn="ctr" eaLnBrk="0" hangingPunct="0"/>
              <a:r>
                <a:rPr lang="pt-BR" sz="1200" noProof="1">
                  <a:latin typeface="Graphik" panose="020B0503030202060203" pitchFamily="34" charset="77"/>
                </a:rPr>
                <a:t>Text</a:t>
              </a:r>
            </a:p>
          </p:txBody>
        </p:sp>
        <p:sp>
          <p:nvSpPr>
            <p:cNvPr id="64" name="Rectangle 30">
              <a:extLst>
                <a:ext uri="{FF2B5EF4-FFF2-40B4-BE49-F238E27FC236}">
                  <a16:creationId xmlns:a16="http://schemas.microsoft.com/office/drawing/2014/main" id="{1FF565B0-92FC-45B8-A383-15B5AE0194B3}"/>
                </a:ext>
              </a:extLst>
            </p:cNvPr>
            <p:cNvSpPr>
              <a:spLocks noChangeArrowheads="1"/>
            </p:cNvSpPr>
            <p:nvPr/>
          </p:nvSpPr>
          <p:spPr bwMode="auto">
            <a:xfrm>
              <a:off x="4961622" y="4549801"/>
              <a:ext cx="1116000" cy="432000"/>
            </a:xfrm>
            <a:prstGeom prst="rect">
              <a:avLst/>
            </a:prstGeom>
            <a:solidFill>
              <a:srgbClr val="E4E7E7"/>
            </a:solidFill>
            <a:ln w="6350">
              <a:noFill/>
              <a:miter lim="800000"/>
              <a:headEnd/>
              <a:tailEnd/>
            </a:ln>
            <a:effectLst/>
          </p:spPr>
          <p:txBody>
            <a:bodyPr lIns="72000" tIns="72000" rIns="72000" bIns="72000" anchor="ctr"/>
            <a:lstStyle/>
            <a:p>
              <a:pPr algn="ctr" eaLnBrk="0" hangingPunct="0"/>
              <a:r>
                <a:rPr lang="pt-BR" sz="1200" noProof="1">
                  <a:latin typeface="Graphik" panose="020B0503030202060203" pitchFamily="34" charset="77"/>
                </a:rPr>
                <a:t>Text</a:t>
              </a:r>
            </a:p>
          </p:txBody>
        </p:sp>
        <p:sp>
          <p:nvSpPr>
            <p:cNvPr id="40" name="Rectangle 6">
              <a:extLst>
                <a:ext uri="{FF2B5EF4-FFF2-40B4-BE49-F238E27FC236}">
                  <a16:creationId xmlns:a16="http://schemas.microsoft.com/office/drawing/2014/main" id="{8D16DFDC-7D0C-43FD-87C4-ED1EF15EC10E}"/>
                </a:ext>
              </a:extLst>
            </p:cNvPr>
            <p:cNvSpPr>
              <a:spLocks noChangeArrowheads="1"/>
            </p:cNvSpPr>
            <p:nvPr/>
          </p:nvSpPr>
          <p:spPr bwMode="auto">
            <a:xfrm>
              <a:off x="7897301" y="2559075"/>
              <a:ext cx="1440000" cy="432000"/>
            </a:xfrm>
            <a:prstGeom prst="rect">
              <a:avLst/>
            </a:prstGeom>
            <a:solidFill>
              <a:schemeClr val="accent2"/>
            </a:solidFill>
            <a:ln w="6350">
              <a:noFill/>
              <a:miter lim="800000"/>
              <a:headEnd/>
              <a:tailEnd/>
            </a:ln>
            <a:effectLst/>
          </p:spPr>
          <p:txBody>
            <a:bodyPr lIns="72000" tIns="72000" rIns="72000" bIns="72000" anchor="ctr"/>
            <a:lstStyle/>
            <a:p>
              <a:pPr algn="ctr" eaLnBrk="0" hangingPunct="0"/>
              <a:r>
                <a:rPr lang="pt-BR" sz="1200" noProof="1">
                  <a:latin typeface="Graphik" panose="020B0503030202060203" pitchFamily="34" charset="77"/>
                </a:rPr>
                <a:t>Text</a:t>
              </a:r>
            </a:p>
          </p:txBody>
        </p:sp>
        <p:grpSp>
          <p:nvGrpSpPr>
            <p:cNvPr id="7" name="Group 6">
              <a:extLst>
                <a:ext uri="{FF2B5EF4-FFF2-40B4-BE49-F238E27FC236}">
                  <a16:creationId xmlns:a16="http://schemas.microsoft.com/office/drawing/2014/main" id="{7A745E4C-9B79-45EC-819F-86DA004B158D}"/>
                </a:ext>
                <a:ext uri="{C183D7F6-B498-43B3-948B-1728B52AA6E4}">
                  <adec:decorative xmlns:adec="http://schemas.microsoft.com/office/drawing/2017/decorative" val="1"/>
                </a:ext>
              </a:extLst>
            </p:cNvPr>
            <p:cNvGrpSpPr/>
            <p:nvPr/>
          </p:nvGrpSpPr>
          <p:grpSpPr>
            <a:xfrm>
              <a:off x="7289061" y="2991074"/>
              <a:ext cx="2854093" cy="542727"/>
              <a:chOff x="7289061" y="2991074"/>
              <a:chExt cx="2854093" cy="542727"/>
            </a:xfrm>
          </p:grpSpPr>
          <p:cxnSp>
            <p:nvCxnSpPr>
              <p:cNvPr id="45" name="AutoShape 11">
                <a:extLst>
                  <a:ext uri="{FF2B5EF4-FFF2-40B4-BE49-F238E27FC236}">
                    <a16:creationId xmlns:a16="http://schemas.microsoft.com/office/drawing/2014/main" id="{12EDB171-2251-400B-AA2A-4EADA9F99B98}"/>
                  </a:ext>
                </a:extLst>
              </p:cNvPr>
              <p:cNvCxnSpPr>
                <a:cxnSpLocks noChangeShapeType="1"/>
                <a:stCxn id="40" idx="2"/>
                <a:endCxn id="50" idx="0"/>
              </p:cNvCxnSpPr>
              <p:nvPr/>
            </p:nvCxnSpPr>
            <p:spPr bwMode="auto">
              <a:xfrm rot="5400000">
                <a:off x="7681819" y="2598319"/>
                <a:ext cx="542724" cy="1328240"/>
              </a:xfrm>
              <a:prstGeom prst="bentConnector3">
                <a:avLst>
                  <a:gd name="adj1" fmla="val 50000"/>
                </a:avLst>
              </a:prstGeom>
              <a:ln w="9525" cap="rnd">
                <a:solidFill>
                  <a:schemeClr val="tx1">
                    <a:lumMod val="75000"/>
                    <a:lumOff val="25000"/>
                  </a:schemeClr>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6" name="AutoShape 12">
                <a:extLst>
                  <a:ext uri="{FF2B5EF4-FFF2-40B4-BE49-F238E27FC236}">
                    <a16:creationId xmlns:a16="http://schemas.microsoft.com/office/drawing/2014/main" id="{03C38283-AD2A-4D44-ABDB-E812C4CC6DDA}"/>
                  </a:ext>
                </a:extLst>
              </p:cNvPr>
              <p:cNvCxnSpPr>
                <a:cxnSpLocks noChangeShapeType="1"/>
                <a:stCxn id="40" idx="2"/>
                <a:endCxn id="49" idx="0"/>
              </p:cNvCxnSpPr>
              <p:nvPr/>
            </p:nvCxnSpPr>
            <p:spPr bwMode="auto">
              <a:xfrm rot="16200000" flipH="1">
                <a:off x="9108865" y="2499510"/>
                <a:ext cx="542725" cy="1525853"/>
              </a:xfrm>
              <a:prstGeom prst="bentConnector3">
                <a:avLst>
                  <a:gd name="adj1" fmla="val 50000"/>
                </a:avLst>
              </a:prstGeom>
              <a:ln w="9525" cap="rnd">
                <a:solidFill>
                  <a:schemeClr val="tx1">
                    <a:lumMod val="75000"/>
                    <a:lumOff val="25000"/>
                  </a:schemeClr>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50" name="Rectangle 16">
              <a:extLst>
                <a:ext uri="{FF2B5EF4-FFF2-40B4-BE49-F238E27FC236}">
                  <a16:creationId xmlns:a16="http://schemas.microsoft.com/office/drawing/2014/main" id="{D419B1A1-5378-429B-91A0-0ADD8F925719}"/>
                </a:ext>
              </a:extLst>
            </p:cNvPr>
            <p:cNvSpPr>
              <a:spLocks noChangeArrowheads="1"/>
            </p:cNvSpPr>
            <p:nvPr/>
          </p:nvSpPr>
          <p:spPr bwMode="auto">
            <a:xfrm>
              <a:off x="6569060" y="3533800"/>
              <a:ext cx="1440000" cy="432000"/>
            </a:xfrm>
            <a:prstGeom prst="rect">
              <a:avLst/>
            </a:prstGeom>
            <a:solidFill>
              <a:schemeClr val="accent1">
                <a:lumMod val="60000"/>
                <a:lumOff val="40000"/>
              </a:schemeClr>
            </a:solidFill>
            <a:ln w="6350">
              <a:noFill/>
              <a:miter lim="800000"/>
              <a:headEnd/>
              <a:tailEnd/>
            </a:ln>
            <a:effectLst/>
          </p:spPr>
          <p:txBody>
            <a:bodyPr lIns="72000" tIns="72000" rIns="72000" bIns="72000" anchor="ctr"/>
            <a:lstStyle/>
            <a:p>
              <a:pPr algn="ctr" eaLnBrk="0" hangingPunct="0"/>
              <a:r>
                <a:rPr lang="pt-BR" sz="1200" noProof="1">
                  <a:solidFill>
                    <a:schemeClr val="tx1">
                      <a:lumMod val="95000"/>
                      <a:lumOff val="5000"/>
                    </a:schemeClr>
                  </a:solidFill>
                  <a:latin typeface="Graphik" panose="020B0503030202060203" pitchFamily="34" charset="77"/>
                </a:rPr>
                <a:t>Text</a:t>
              </a:r>
            </a:p>
          </p:txBody>
        </p:sp>
        <p:grpSp>
          <p:nvGrpSpPr>
            <p:cNvPr id="10" name="Group 9">
              <a:extLst>
                <a:ext uri="{FF2B5EF4-FFF2-40B4-BE49-F238E27FC236}">
                  <a16:creationId xmlns:a16="http://schemas.microsoft.com/office/drawing/2014/main" id="{2ED3E13E-C2DF-4CEB-8F25-CCB1ED96CE0A}"/>
                </a:ext>
                <a:ext uri="{C183D7F6-B498-43B3-948B-1728B52AA6E4}">
                  <adec:decorative xmlns:adec="http://schemas.microsoft.com/office/drawing/2017/decorative" val="1"/>
                </a:ext>
              </a:extLst>
            </p:cNvPr>
            <p:cNvGrpSpPr/>
            <p:nvPr/>
          </p:nvGrpSpPr>
          <p:grpSpPr>
            <a:xfrm>
              <a:off x="6675506" y="3965799"/>
              <a:ext cx="1155883" cy="584002"/>
              <a:chOff x="6675506" y="3965799"/>
              <a:chExt cx="1155883" cy="584002"/>
            </a:xfrm>
          </p:grpSpPr>
          <p:cxnSp>
            <p:nvCxnSpPr>
              <p:cNvPr id="69" name="AutoShape 35">
                <a:extLst>
                  <a:ext uri="{FF2B5EF4-FFF2-40B4-BE49-F238E27FC236}">
                    <a16:creationId xmlns:a16="http://schemas.microsoft.com/office/drawing/2014/main" id="{C7A6669C-3469-49D0-9005-F73DBA9B9ACE}"/>
                  </a:ext>
                </a:extLst>
              </p:cNvPr>
              <p:cNvCxnSpPr>
                <a:cxnSpLocks noChangeShapeType="1"/>
                <a:stCxn id="50" idx="2"/>
                <a:endCxn id="65" idx="0"/>
              </p:cNvCxnSpPr>
              <p:nvPr/>
            </p:nvCxnSpPr>
            <p:spPr bwMode="auto">
              <a:xfrm rot="5400000">
                <a:off x="6690283" y="3951023"/>
                <a:ext cx="584001" cy="613556"/>
              </a:xfrm>
              <a:prstGeom prst="bentConnector3">
                <a:avLst>
                  <a:gd name="adj1" fmla="val 50000"/>
                </a:avLst>
              </a:prstGeom>
              <a:ln w="9525" cap="rnd">
                <a:solidFill>
                  <a:schemeClr val="tx1">
                    <a:lumMod val="75000"/>
                    <a:lumOff val="25000"/>
                  </a:schemeClr>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0" name="AutoShape 36">
                <a:extLst>
                  <a:ext uri="{FF2B5EF4-FFF2-40B4-BE49-F238E27FC236}">
                    <a16:creationId xmlns:a16="http://schemas.microsoft.com/office/drawing/2014/main" id="{079B42CC-DBDC-41EC-9530-0683CB72CCA8}"/>
                  </a:ext>
                </a:extLst>
              </p:cNvPr>
              <p:cNvCxnSpPr>
                <a:cxnSpLocks noChangeShapeType="1"/>
                <a:stCxn id="50" idx="2"/>
                <a:endCxn id="66" idx="0"/>
              </p:cNvCxnSpPr>
              <p:nvPr/>
            </p:nvCxnSpPr>
            <p:spPr bwMode="auto">
              <a:xfrm rot="16200000" flipH="1">
                <a:off x="7268224" y="3986636"/>
                <a:ext cx="584001" cy="542328"/>
              </a:xfrm>
              <a:prstGeom prst="bentConnector3">
                <a:avLst>
                  <a:gd name="adj1" fmla="val 50000"/>
                </a:avLst>
              </a:prstGeom>
              <a:ln w="9525" cap="rnd">
                <a:solidFill>
                  <a:schemeClr val="tx1">
                    <a:lumMod val="75000"/>
                    <a:lumOff val="25000"/>
                  </a:schemeClr>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65" name="Rectangle 31">
              <a:extLst>
                <a:ext uri="{FF2B5EF4-FFF2-40B4-BE49-F238E27FC236}">
                  <a16:creationId xmlns:a16="http://schemas.microsoft.com/office/drawing/2014/main" id="{318E6FA4-5B11-49EE-9D6C-DF6E792DF27D}"/>
                </a:ext>
              </a:extLst>
            </p:cNvPr>
            <p:cNvSpPr>
              <a:spLocks noChangeArrowheads="1"/>
            </p:cNvSpPr>
            <p:nvPr/>
          </p:nvSpPr>
          <p:spPr bwMode="auto">
            <a:xfrm>
              <a:off x="6117505" y="4549801"/>
              <a:ext cx="1116000" cy="432000"/>
            </a:xfrm>
            <a:prstGeom prst="rect">
              <a:avLst/>
            </a:prstGeom>
            <a:solidFill>
              <a:srgbClr val="E4E7E7"/>
            </a:solidFill>
            <a:ln w="6350">
              <a:noFill/>
              <a:miter lim="800000"/>
              <a:headEnd/>
              <a:tailEnd/>
            </a:ln>
            <a:effectLst/>
          </p:spPr>
          <p:txBody>
            <a:bodyPr lIns="72000" tIns="72000" rIns="72000" bIns="72000" anchor="ctr"/>
            <a:lstStyle/>
            <a:p>
              <a:pPr algn="ctr" eaLnBrk="0" hangingPunct="0"/>
              <a:r>
                <a:rPr lang="pt-BR" sz="1200" noProof="1">
                  <a:latin typeface="Graphik" panose="020B0503030202060203" pitchFamily="34" charset="77"/>
                </a:rPr>
                <a:t>Text</a:t>
              </a:r>
            </a:p>
          </p:txBody>
        </p:sp>
        <p:sp>
          <p:nvSpPr>
            <p:cNvPr id="66" name="Rectangle 32">
              <a:extLst>
                <a:ext uri="{FF2B5EF4-FFF2-40B4-BE49-F238E27FC236}">
                  <a16:creationId xmlns:a16="http://schemas.microsoft.com/office/drawing/2014/main" id="{B82DCF94-04DF-4044-B5AF-2EB0191F98DE}"/>
                </a:ext>
              </a:extLst>
            </p:cNvPr>
            <p:cNvSpPr>
              <a:spLocks noChangeArrowheads="1"/>
            </p:cNvSpPr>
            <p:nvPr/>
          </p:nvSpPr>
          <p:spPr bwMode="auto">
            <a:xfrm>
              <a:off x="7273388" y="4549801"/>
              <a:ext cx="1116000" cy="432000"/>
            </a:xfrm>
            <a:prstGeom prst="rect">
              <a:avLst/>
            </a:prstGeom>
            <a:solidFill>
              <a:srgbClr val="E4E7E7"/>
            </a:solidFill>
            <a:ln w="6350">
              <a:noFill/>
              <a:miter lim="800000"/>
              <a:headEnd/>
              <a:tailEnd/>
            </a:ln>
            <a:effectLst/>
          </p:spPr>
          <p:txBody>
            <a:bodyPr lIns="72000" tIns="72000" rIns="72000" bIns="72000" anchor="ctr"/>
            <a:lstStyle/>
            <a:p>
              <a:pPr algn="ctr" eaLnBrk="0" hangingPunct="0"/>
              <a:r>
                <a:rPr lang="pt-BR" sz="1200" noProof="1">
                  <a:latin typeface="Graphik" panose="020B0503030202060203" pitchFamily="34" charset="77"/>
                </a:rPr>
                <a:t>Text</a:t>
              </a:r>
            </a:p>
          </p:txBody>
        </p:sp>
        <p:sp>
          <p:nvSpPr>
            <p:cNvPr id="49" name="Rectangle 15">
              <a:extLst>
                <a:ext uri="{FF2B5EF4-FFF2-40B4-BE49-F238E27FC236}">
                  <a16:creationId xmlns:a16="http://schemas.microsoft.com/office/drawing/2014/main" id="{E852538F-C32E-4B3D-A9B6-4B332CC2CAEE}"/>
                </a:ext>
              </a:extLst>
            </p:cNvPr>
            <p:cNvSpPr>
              <a:spLocks noChangeArrowheads="1"/>
            </p:cNvSpPr>
            <p:nvPr/>
          </p:nvSpPr>
          <p:spPr bwMode="auto">
            <a:xfrm>
              <a:off x="9423154" y="3533800"/>
              <a:ext cx="1440000" cy="432000"/>
            </a:xfrm>
            <a:prstGeom prst="rect">
              <a:avLst/>
            </a:prstGeom>
            <a:solidFill>
              <a:schemeClr val="accent1">
                <a:lumMod val="60000"/>
                <a:lumOff val="40000"/>
              </a:schemeClr>
            </a:solidFill>
            <a:ln w="6350">
              <a:noFill/>
              <a:miter lim="800000"/>
              <a:headEnd/>
              <a:tailEnd/>
            </a:ln>
            <a:effectLst/>
          </p:spPr>
          <p:txBody>
            <a:bodyPr lIns="72000" tIns="72000" rIns="72000" bIns="72000" anchor="ctr"/>
            <a:lstStyle/>
            <a:p>
              <a:pPr algn="ctr" eaLnBrk="0" hangingPunct="0"/>
              <a:r>
                <a:rPr lang="pt-BR" sz="1200" noProof="1">
                  <a:solidFill>
                    <a:schemeClr val="tx1">
                      <a:lumMod val="95000"/>
                      <a:lumOff val="5000"/>
                    </a:schemeClr>
                  </a:solidFill>
                  <a:latin typeface="Graphik" panose="020B0503030202060203" pitchFamily="34" charset="77"/>
                </a:rPr>
                <a:t>Text</a:t>
              </a:r>
            </a:p>
          </p:txBody>
        </p:sp>
        <p:grpSp>
          <p:nvGrpSpPr>
            <p:cNvPr id="11" name="Group 10">
              <a:extLst>
                <a:ext uri="{FF2B5EF4-FFF2-40B4-BE49-F238E27FC236}">
                  <a16:creationId xmlns:a16="http://schemas.microsoft.com/office/drawing/2014/main" id="{BACF2ABE-5A98-4AF5-B820-2ACF72BF1550}"/>
                </a:ext>
                <a:ext uri="{C183D7F6-B498-43B3-948B-1728B52AA6E4}">
                  <adec:decorative xmlns:adec="http://schemas.microsoft.com/office/drawing/2017/decorative" val="1"/>
                </a:ext>
              </a:extLst>
            </p:cNvPr>
            <p:cNvGrpSpPr/>
            <p:nvPr/>
          </p:nvGrpSpPr>
          <p:grpSpPr>
            <a:xfrm>
              <a:off x="8987271" y="3965800"/>
              <a:ext cx="2311767" cy="1660101"/>
              <a:chOff x="8987271" y="3965800"/>
              <a:chExt cx="2311767" cy="1660101"/>
            </a:xfrm>
          </p:grpSpPr>
          <p:cxnSp>
            <p:nvCxnSpPr>
              <p:cNvPr id="60" name="AutoShape 26">
                <a:extLst>
                  <a:ext uri="{FF2B5EF4-FFF2-40B4-BE49-F238E27FC236}">
                    <a16:creationId xmlns:a16="http://schemas.microsoft.com/office/drawing/2014/main" id="{C898B0F7-6D8B-45B6-BEA7-5AD13442C218}"/>
                  </a:ext>
                </a:extLst>
              </p:cNvPr>
              <p:cNvCxnSpPr>
                <a:cxnSpLocks noChangeShapeType="1"/>
                <a:stCxn id="49" idx="2"/>
                <a:endCxn id="54" idx="0"/>
              </p:cNvCxnSpPr>
              <p:nvPr/>
            </p:nvCxnSpPr>
            <p:spPr bwMode="auto">
              <a:xfrm rot="5400000">
                <a:off x="8735163" y="4217909"/>
                <a:ext cx="1660100" cy="1155883"/>
              </a:xfrm>
              <a:prstGeom prst="bentConnector3">
                <a:avLst>
                  <a:gd name="adj1" fmla="val 50000"/>
                </a:avLst>
              </a:prstGeom>
              <a:ln w="9525" cap="rnd">
                <a:solidFill>
                  <a:schemeClr val="tx1">
                    <a:lumMod val="75000"/>
                    <a:lumOff val="25000"/>
                  </a:schemeClr>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61" name="AutoShape 27">
                <a:extLst>
                  <a:ext uri="{FF2B5EF4-FFF2-40B4-BE49-F238E27FC236}">
                    <a16:creationId xmlns:a16="http://schemas.microsoft.com/office/drawing/2014/main" id="{02E7177D-C4C9-4410-9F2B-D12F9AF08B55}"/>
                  </a:ext>
                </a:extLst>
              </p:cNvPr>
              <p:cNvCxnSpPr>
                <a:cxnSpLocks noChangeShapeType="1"/>
                <a:stCxn id="49" idx="2"/>
                <a:endCxn id="55" idx="0"/>
              </p:cNvCxnSpPr>
              <p:nvPr/>
            </p:nvCxnSpPr>
            <p:spPr bwMode="auto">
              <a:xfrm>
                <a:off x="10143154" y="3965800"/>
                <a:ext cx="0" cy="1660100"/>
              </a:xfrm>
              <a:prstGeom prst="straightConnector1">
                <a:avLst/>
              </a:prstGeom>
              <a:ln w="9525" cap="rnd">
                <a:solidFill>
                  <a:schemeClr val="tx1">
                    <a:lumMod val="75000"/>
                    <a:lumOff val="25000"/>
                  </a:schemeClr>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62" name="AutoShape 28">
                <a:extLst>
                  <a:ext uri="{FF2B5EF4-FFF2-40B4-BE49-F238E27FC236}">
                    <a16:creationId xmlns:a16="http://schemas.microsoft.com/office/drawing/2014/main" id="{3BC3F26F-0A94-4DFF-BF6A-0F90A2E05BC0}"/>
                  </a:ext>
                </a:extLst>
              </p:cNvPr>
              <p:cNvCxnSpPr>
                <a:cxnSpLocks noChangeShapeType="1"/>
                <a:stCxn id="49" idx="2"/>
                <a:endCxn id="56" idx="0"/>
              </p:cNvCxnSpPr>
              <p:nvPr/>
            </p:nvCxnSpPr>
            <p:spPr bwMode="auto">
              <a:xfrm rot="16200000" flipH="1">
                <a:off x="9891046" y="4217908"/>
                <a:ext cx="1660100" cy="1155884"/>
              </a:xfrm>
              <a:prstGeom prst="bentConnector3">
                <a:avLst>
                  <a:gd name="adj1" fmla="val 50000"/>
                </a:avLst>
              </a:prstGeom>
              <a:ln w="9525" cap="rnd">
                <a:solidFill>
                  <a:schemeClr val="tx1">
                    <a:lumMod val="75000"/>
                    <a:lumOff val="25000"/>
                  </a:schemeClr>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54" name="Rectangle 20">
              <a:extLst>
                <a:ext uri="{FF2B5EF4-FFF2-40B4-BE49-F238E27FC236}">
                  <a16:creationId xmlns:a16="http://schemas.microsoft.com/office/drawing/2014/main" id="{577969F3-1377-4FF6-80AD-6AA36E31859B}"/>
                </a:ext>
              </a:extLst>
            </p:cNvPr>
            <p:cNvSpPr>
              <a:spLocks noChangeArrowheads="1"/>
            </p:cNvSpPr>
            <p:nvPr/>
          </p:nvSpPr>
          <p:spPr bwMode="auto">
            <a:xfrm>
              <a:off x="8429271" y="5625900"/>
              <a:ext cx="1116000" cy="432000"/>
            </a:xfrm>
            <a:prstGeom prst="rect">
              <a:avLst/>
            </a:prstGeom>
            <a:solidFill>
              <a:srgbClr val="E4E7E7"/>
            </a:solidFill>
            <a:ln w="6350">
              <a:noFill/>
              <a:miter lim="800000"/>
              <a:headEnd/>
              <a:tailEnd/>
            </a:ln>
            <a:effectLst/>
          </p:spPr>
          <p:txBody>
            <a:bodyPr lIns="72000" tIns="72000" rIns="72000" bIns="72000" anchor="ctr"/>
            <a:lstStyle/>
            <a:p>
              <a:pPr algn="ctr" eaLnBrk="0" hangingPunct="0"/>
              <a:r>
                <a:rPr lang="pt-BR" sz="1200" noProof="1">
                  <a:latin typeface="Graphik" panose="020B0503030202060203" pitchFamily="34" charset="77"/>
                </a:rPr>
                <a:t>Text</a:t>
              </a:r>
            </a:p>
          </p:txBody>
        </p:sp>
        <p:sp>
          <p:nvSpPr>
            <p:cNvPr id="55" name="Rectangle 21">
              <a:extLst>
                <a:ext uri="{FF2B5EF4-FFF2-40B4-BE49-F238E27FC236}">
                  <a16:creationId xmlns:a16="http://schemas.microsoft.com/office/drawing/2014/main" id="{F1084B1C-7D03-476E-AFFE-584DB2ECF212}"/>
                </a:ext>
              </a:extLst>
            </p:cNvPr>
            <p:cNvSpPr>
              <a:spLocks noChangeArrowheads="1"/>
            </p:cNvSpPr>
            <p:nvPr/>
          </p:nvSpPr>
          <p:spPr bwMode="auto">
            <a:xfrm>
              <a:off x="9585154" y="5625900"/>
              <a:ext cx="1116000" cy="432000"/>
            </a:xfrm>
            <a:prstGeom prst="rect">
              <a:avLst/>
            </a:prstGeom>
            <a:solidFill>
              <a:srgbClr val="E4E7E7"/>
            </a:solidFill>
            <a:ln w="6350">
              <a:noFill/>
              <a:miter lim="800000"/>
              <a:headEnd/>
              <a:tailEnd/>
            </a:ln>
            <a:effectLst/>
          </p:spPr>
          <p:txBody>
            <a:bodyPr lIns="72000" tIns="72000" rIns="72000" bIns="72000" anchor="ctr"/>
            <a:lstStyle/>
            <a:p>
              <a:pPr algn="ctr" eaLnBrk="0" hangingPunct="0"/>
              <a:r>
                <a:rPr lang="pt-BR" sz="1200" noProof="1">
                  <a:latin typeface="Graphik" panose="020B0503030202060203" pitchFamily="34" charset="77"/>
                </a:rPr>
                <a:t>Text</a:t>
              </a:r>
            </a:p>
          </p:txBody>
        </p:sp>
        <p:sp>
          <p:nvSpPr>
            <p:cNvPr id="56" name="Rectangle 22">
              <a:extLst>
                <a:ext uri="{FF2B5EF4-FFF2-40B4-BE49-F238E27FC236}">
                  <a16:creationId xmlns:a16="http://schemas.microsoft.com/office/drawing/2014/main" id="{5E3F805A-5325-43F6-87DC-7298393A8599}"/>
                </a:ext>
              </a:extLst>
            </p:cNvPr>
            <p:cNvSpPr>
              <a:spLocks noChangeArrowheads="1"/>
            </p:cNvSpPr>
            <p:nvPr/>
          </p:nvSpPr>
          <p:spPr bwMode="auto">
            <a:xfrm>
              <a:off x="10741038" y="5625900"/>
              <a:ext cx="1116000" cy="432000"/>
            </a:xfrm>
            <a:prstGeom prst="rect">
              <a:avLst/>
            </a:prstGeom>
            <a:solidFill>
              <a:srgbClr val="E4E7E7"/>
            </a:solidFill>
            <a:ln w="6350">
              <a:noFill/>
              <a:miter lim="800000"/>
              <a:headEnd/>
              <a:tailEnd/>
            </a:ln>
            <a:effectLst/>
          </p:spPr>
          <p:txBody>
            <a:bodyPr lIns="72000" tIns="72000" rIns="72000" bIns="72000" anchor="ctr"/>
            <a:lstStyle/>
            <a:p>
              <a:pPr algn="ctr" eaLnBrk="0" hangingPunct="0"/>
              <a:r>
                <a:rPr lang="pt-BR" sz="1200" noProof="1">
                  <a:latin typeface="Graphik" panose="020B0503030202060203" pitchFamily="34" charset="77"/>
                </a:rPr>
                <a:t>Text</a:t>
              </a:r>
            </a:p>
          </p:txBody>
        </p:sp>
      </p:grpSp>
    </p:spTree>
    <p:extLst>
      <p:ext uri="{BB962C8B-B14F-4D97-AF65-F5344CB8AC3E}">
        <p14:creationId xmlns:p14="http://schemas.microsoft.com/office/powerpoint/2010/main" val="173915327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52B4FAB-A1C8-7893-BCD0-473519EC0F2F}"/>
              </a:ext>
            </a:extLst>
          </p:cNvPr>
          <p:cNvGraphicFramePr>
            <a:graphicFrameLocks noChangeAspect="1"/>
          </p:cNvGraphicFramePr>
          <p:nvPr>
            <p:custDataLst>
              <p:tags r:id="rId1"/>
            </p:custDataLst>
            <p:extLst>
              <p:ext uri="{D42A27DB-BD31-4B8C-83A1-F6EECF244321}">
                <p14:modId xmlns:p14="http://schemas.microsoft.com/office/powerpoint/2010/main" val="209854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50" imgH="350" progId="TCLayout.ActiveDocument.1">
                  <p:embed/>
                </p:oleObj>
              </mc:Choice>
              <mc:Fallback>
                <p:oleObj name="think-cell Slide" r:id="rId6" imgW="350" imgH="350" progId="TCLayout.ActiveDocument.1">
                  <p:embed/>
                  <p:pic>
                    <p:nvPicPr>
                      <p:cNvPr id="6" name="think-cell data - do not delete" hidden="1">
                        <a:extLst>
                          <a:ext uri="{FF2B5EF4-FFF2-40B4-BE49-F238E27FC236}">
                            <a16:creationId xmlns:a16="http://schemas.microsoft.com/office/drawing/2014/main" id="{B52B4FAB-A1C8-7893-BCD0-473519EC0F2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56831BF9-C1A9-4605-B483-A332233A3017}"/>
              </a:ext>
            </a:extLst>
          </p:cNvPr>
          <p:cNvSpPr>
            <a:spLocks noGrp="1"/>
          </p:cNvSpPr>
          <p:nvPr>
            <p:ph type="title"/>
          </p:nvPr>
        </p:nvSpPr>
        <p:spPr/>
        <p:txBody>
          <a:bodyPr vert="horz"/>
          <a:lstStyle/>
          <a:p>
            <a:r>
              <a:rPr lang="pt-BR" noProof="1"/>
              <a:t>Gantt chart example</a:t>
            </a:r>
          </a:p>
        </p:txBody>
      </p:sp>
      <p:graphicFrame>
        <p:nvGraphicFramePr>
          <p:cNvPr id="3" name="Table 2" descr="Example of a Gantt chart illustrating project phases and steps across a timeline. Bars represent task durations, with key decision points marked along the timeline.">
            <a:extLst>
              <a:ext uri="{FF2B5EF4-FFF2-40B4-BE49-F238E27FC236}">
                <a16:creationId xmlns:a16="http://schemas.microsoft.com/office/drawing/2014/main" id="{8BA7E229-4E9D-469C-965C-2319CFD39AB1}"/>
              </a:ext>
            </a:extLst>
          </p:cNvPr>
          <p:cNvGraphicFramePr>
            <a:graphicFrameLocks noGrp="1"/>
          </p:cNvGraphicFramePr>
          <p:nvPr>
            <p:extLst>
              <p:ext uri="{D42A27DB-BD31-4B8C-83A1-F6EECF244321}">
                <p14:modId xmlns:p14="http://schemas.microsoft.com/office/powerpoint/2010/main" val="3698361404"/>
              </p:ext>
            </p:extLst>
          </p:nvPr>
        </p:nvGraphicFramePr>
        <p:xfrm>
          <a:off x="844061" y="1215944"/>
          <a:ext cx="10115225" cy="4681413"/>
        </p:xfrm>
        <a:graphic>
          <a:graphicData uri="http://schemas.openxmlformats.org/drawingml/2006/table">
            <a:tbl>
              <a:tblPr firstRow="1" bandRow="1">
                <a:tableStyleId>{5C22544A-7EE6-4342-B048-85BDC9FD1C3A}</a:tableStyleId>
              </a:tblPr>
              <a:tblGrid>
                <a:gridCol w="3609467">
                  <a:extLst>
                    <a:ext uri="{9D8B030D-6E8A-4147-A177-3AD203B41FA5}">
                      <a16:colId xmlns:a16="http://schemas.microsoft.com/office/drawing/2014/main" val="3698304851"/>
                    </a:ext>
                  </a:extLst>
                </a:gridCol>
                <a:gridCol w="1084293">
                  <a:extLst>
                    <a:ext uri="{9D8B030D-6E8A-4147-A177-3AD203B41FA5}">
                      <a16:colId xmlns:a16="http://schemas.microsoft.com/office/drawing/2014/main" val="2422821095"/>
                    </a:ext>
                  </a:extLst>
                </a:gridCol>
                <a:gridCol w="1084293">
                  <a:extLst>
                    <a:ext uri="{9D8B030D-6E8A-4147-A177-3AD203B41FA5}">
                      <a16:colId xmlns:a16="http://schemas.microsoft.com/office/drawing/2014/main" val="55153618"/>
                    </a:ext>
                  </a:extLst>
                </a:gridCol>
                <a:gridCol w="1084293">
                  <a:extLst>
                    <a:ext uri="{9D8B030D-6E8A-4147-A177-3AD203B41FA5}">
                      <a16:colId xmlns:a16="http://schemas.microsoft.com/office/drawing/2014/main" val="3283457396"/>
                    </a:ext>
                  </a:extLst>
                </a:gridCol>
                <a:gridCol w="1084293">
                  <a:extLst>
                    <a:ext uri="{9D8B030D-6E8A-4147-A177-3AD203B41FA5}">
                      <a16:colId xmlns:a16="http://schemas.microsoft.com/office/drawing/2014/main" val="2255681718"/>
                    </a:ext>
                  </a:extLst>
                </a:gridCol>
                <a:gridCol w="1084293">
                  <a:extLst>
                    <a:ext uri="{9D8B030D-6E8A-4147-A177-3AD203B41FA5}">
                      <a16:colId xmlns:a16="http://schemas.microsoft.com/office/drawing/2014/main" val="99406314"/>
                    </a:ext>
                  </a:extLst>
                </a:gridCol>
                <a:gridCol w="1084293">
                  <a:extLst>
                    <a:ext uri="{9D8B030D-6E8A-4147-A177-3AD203B41FA5}">
                      <a16:colId xmlns:a16="http://schemas.microsoft.com/office/drawing/2014/main" val="3371254486"/>
                    </a:ext>
                  </a:extLst>
                </a:gridCol>
              </a:tblGrid>
              <a:tr h="292293">
                <a:tc>
                  <a:txBody>
                    <a:bodyPr/>
                    <a:lstStyle/>
                    <a:p>
                      <a:pPr rtl="0"/>
                      <a:endParaRPr lang="pt-BR" sz="900" b="0" i="0" noProof="1">
                        <a:latin typeface="Graphik" panose="020B0503030202060203" pitchFamily="34" charset="77"/>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a:r>
                        <a:rPr lang="pt-BR" sz="1200" cap="none" baseline="0" noProof="1">
                          <a:solidFill>
                            <a:schemeClr val="tx1"/>
                          </a:solidFill>
                          <a:latin typeface="Graphik Semibold" panose="020B0703030202060203" pitchFamily="34" charset="0"/>
                        </a:rPr>
                        <a:t>Jan</a:t>
                      </a: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a:r>
                        <a:rPr lang="pt-BR" sz="1200" b="1" cap="none" baseline="0" noProof="1">
                          <a:solidFill>
                            <a:schemeClr val="tx1"/>
                          </a:solidFill>
                          <a:latin typeface="Graphik Semibold" panose="020B0703030202060203" pitchFamily="34" charset="0"/>
                        </a:rPr>
                        <a:t>Feb</a:t>
                      </a:r>
                      <a:endParaRPr lang="pt-BR" sz="1200" cap="none" baseline="0" noProof="1">
                        <a:solidFill>
                          <a:schemeClr val="tx1"/>
                        </a:solidFill>
                        <a:latin typeface="Graphik Semibold" panose="020B0703030202060203"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a:r>
                        <a:rPr lang="pt-BR" sz="1200" b="1" cap="none" baseline="0" noProof="1">
                          <a:solidFill>
                            <a:schemeClr val="tx1"/>
                          </a:solidFill>
                          <a:latin typeface="Graphik Semibold" panose="020B0703030202060203" pitchFamily="34" charset="0"/>
                        </a:rPr>
                        <a:t>Mar</a:t>
                      </a:r>
                      <a:endParaRPr lang="pt-BR" sz="1200" cap="none" baseline="0" noProof="1">
                        <a:solidFill>
                          <a:schemeClr val="tx1"/>
                        </a:solidFill>
                        <a:latin typeface="Graphik Semibold" panose="020B0703030202060203"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1734634" rtl="0" eaLnBrk="1" fontAlgn="auto" latinLnBrk="0" hangingPunct="1">
                        <a:lnSpc>
                          <a:spcPct val="100000"/>
                        </a:lnSpc>
                        <a:spcBef>
                          <a:spcPts val="0"/>
                        </a:spcBef>
                        <a:spcAft>
                          <a:spcPts val="0"/>
                        </a:spcAft>
                        <a:buClrTx/>
                        <a:buSzTx/>
                        <a:buFontTx/>
                        <a:buNone/>
                        <a:tabLst/>
                        <a:defRPr/>
                      </a:pPr>
                      <a:r>
                        <a:rPr lang="pt-BR" sz="1200" b="1" cap="none" baseline="0" noProof="1">
                          <a:solidFill>
                            <a:schemeClr val="tx1"/>
                          </a:solidFill>
                          <a:latin typeface="Graphik Semibold" panose="020B0703030202060203" pitchFamily="34" charset="0"/>
                        </a:rPr>
                        <a:t>Apr</a:t>
                      </a: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a:r>
                        <a:rPr lang="pt-BR" sz="1200" b="1" cap="none" baseline="0" noProof="1">
                          <a:solidFill>
                            <a:schemeClr val="tx1"/>
                          </a:solidFill>
                          <a:latin typeface="Graphik Semibold" panose="020B0703030202060203" pitchFamily="34" charset="0"/>
                        </a:rPr>
                        <a:t>May</a:t>
                      </a:r>
                      <a:endParaRPr lang="pt-BR" sz="1200" cap="none" baseline="0" noProof="1">
                        <a:solidFill>
                          <a:schemeClr val="tx1"/>
                        </a:solidFill>
                        <a:latin typeface="Graphik Semibold" panose="020B0703030202060203"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a:r>
                        <a:rPr lang="pt-BR" sz="1200" b="1" cap="none" baseline="0" noProof="1">
                          <a:solidFill>
                            <a:schemeClr val="tx1"/>
                          </a:solidFill>
                          <a:latin typeface="Graphik Semibold" panose="020B0703030202060203" pitchFamily="34" charset="0"/>
                        </a:rPr>
                        <a:t>Jun</a:t>
                      </a:r>
                      <a:endParaRPr lang="pt-BR" sz="1200" cap="none" baseline="0" noProof="1">
                        <a:solidFill>
                          <a:schemeClr val="tx1"/>
                        </a:solidFill>
                        <a:latin typeface="Graphik Semibold" panose="020B0703030202060203"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48553952"/>
                  </a:ext>
                </a:extLst>
              </a:tr>
              <a:tr h="274320">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pt-BR" sz="1200" b="1" cap="none" baseline="0" noProof="1">
                          <a:latin typeface="Graphik Semibold" panose="020B0703030202060203" pitchFamily="34" charset="0"/>
                        </a:rPr>
                        <a:t>100 phase 1</a:t>
                      </a:r>
                      <a:endParaRPr lang="pt-BR" sz="1200" cap="none" baseline="0" noProof="1">
                        <a:latin typeface="Graphik Semibold" panose="020B0703030202060203" pitchFamily="34" charset="0"/>
                      </a:endParaRPr>
                    </a:p>
                  </a:txBody>
                  <a:tcPr marL="0"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R w="12700" cap="flat" cmpd="sng" algn="ctr">
                      <a:solidFill>
                        <a:schemeClr val="tx2">
                          <a:lumMod val="60000"/>
                          <a:lumOff val="40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436556169"/>
                  </a:ext>
                </a:extLst>
              </a:tr>
              <a:tr h="274320">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pt-BR" sz="1200" b="0" i="0" noProof="1">
                          <a:latin typeface="Graphik" panose="020B0503030202060203" pitchFamily="34" charset="77"/>
                        </a:rPr>
                        <a:t>Step 1</a:t>
                      </a:r>
                    </a:p>
                  </a:txBody>
                  <a:tcPr marL="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254728236"/>
                  </a:ext>
                </a:extLst>
              </a:tr>
              <a:tr h="274320">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pt-BR" sz="1200" b="0" i="0" noProof="1">
                          <a:latin typeface="Graphik" panose="020B0503030202060203" pitchFamily="34" charset="77"/>
                        </a:rPr>
                        <a:t>Step 2</a:t>
                      </a:r>
                    </a:p>
                  </a:txBody>
                  <a:tcPr marL="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119329372"/>
                  </a:ext>
                </a:extLst>
              </a:tr>
              <a:tr h="274320">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pt-BR" sz="1200" b="0" i="0" noProof="1">
                          <a:latin typeface="Graphik" panose="020B0503030202060203" pitchFamily="34" charset="77"/>
                        </a:rPr>
                        <a:t>Step 3</a:t>
                      </a:r>
                    </a:p>
                  </a:txBody>
                  <a:tcPr marL="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990573348"/>
                  </a:ext>
                </a:extLst>
              </a:tr>
              <a:tr h="274320">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pt-BR" sz="1200" b="0" i="0" noProof="1">
                          <a:latin typeface="Graphik" panose="020B0503030202060203" pitchFamily="34" charset="77"/>
                        </a:rPr>
                        <a:t>Step 4</a:t>
                      </a:r>
                    </a:p>
                  </a:txBody>
                  <a:tcPr marL="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1107927866"/>
                  </a:ext>
                </a:extLst>
              </a:tr>
              <a:tr h="274320">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pt-BR" sz="1200" b="1" cap="none" baseline="0" noProof="1">
                          <a:latin typeface="Graphik Semibold" panose="020B0703030202060203" pitchFamily="34" charset="0"/>
                        </a:rPr>
                        <a:t>200 phase 2</a:t>
                      </a:r>
                      <a:endParaRPr lang="pt-BR" sz="1200" cap="none" baseline="0" noProof="1">
                        <a:latin typeface="Graphik Semibold" panose="020B0703030202060203" pitchFamily="34" charset="0"/>
                      </a:endParaRPr>
                    </a:p>
                  </a:txBody>
                  <a:tcPr marL="0" anchor="ctr">
                    <a:lnL w="12700" cap="flat" cmpd="sng" algn="ctr">
                      <a:noFill/>
                      <a:prstDash val="solid"/>
                      <a:round/>
                      <a:headEnd type="none" w="med" len="med"/>
                      <a:tailEnd type="none" w="med" len="med"/>
                    </a:lnL>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R w="12700" cap="flat" cmpd="sng" algn="ctr">
                      <a:solidFill>
                        <a:schemeClr val="tx2">
                          <a:lumMod val="60000"/>
                          <a:lumOff val="40000"/>
                        </a:schemeClr>
                      </a:solidFill>
                      <a:prstDash val="dash"/>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631469834"/>
                  </a:ext>
                </a:extLst>
              </a:tr>
              <a:tr h="274320">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pt-BR" sz="1200" b="0" i="0" noProof="1">
                          <a:latin typeface="Graphik" panose="020B0503030202060203" pitchFamily="34" charset="77"/>
                        </a:rPr>
                        <a:t>Step 1</a:t>
                      </a:r>
                    </a:p>
                  </a:txBody>
                  <a:tcPr marL="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934573186"/>
                  </a:ext>
                </a:extLst>
              </a:tr>
              <a:tr h="274320">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pt-BR" sz="1200" b="0" i="0" noProof="1">
                          <a:latin typeface="Graphik" panose="020B0503030202060203" pitchFamily="34" charset="77"/>
                        </a:rPr>
                        <a:t>Step 2</a:t>
                      </a:r>
                    </a:p>
                  </a:txBody>
                  <a:tcPr marL="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154087819"/>
                  </a:ext>
                </a:extLst>
              </a:tr>
              <a:tr h="274320">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pt-BR" sz="1200" b="0" i="0" noProof="1">
                          <a:latin typeface="Graphik" panose="020B0503030202060203" pitchFamily="34" charset="77"/>
                        </a:rPr>
                        <a:t>Step 3</a:t>
                      </a:r>
                    </a:p>
                  </a:txBody>
                  <a:tcPr marL="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527980715"/>
                  </a:ext>
                </a:extLst>
              </a:tr>
              <a:tr h="274320">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pt-BR" sz="1200" b="0" i="0" noProof="1">
                          <a:latin typeface="Graphik" panose="020B0503030202060203" pitchFamily="34" charset="77"/>
                        </a:rPr>
                        <a:t>Step 4</a:t>
                      </a:r>
                    </a:p>
                  </a:txBody>
                  <a:tcPr marL="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3815448543"/>
                  </a:ext>
                </a:extLst>
              </a:tr>
              <a:tr h="274320">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pt-BR" sz="1200" b="1" cap="none" baseline="0" noProof="1">
                          <a:latin typeface="Graphik Semibold" panose="020B0703030202060203" pitchFamily="34" charset="0"/>
                        </a:rPr>
                        <a:t>300 phase 3</a:t>
                      </a:r>
                      <a:endParaRPr lang="pt-BR" sz="1200" cap="none" baseline="0" noProof="1">
                        <a:latin typeface="Graphik Semibold" panose="020B0703030202060203" pitchFamily="34" charset="0"/>
                      </a:endParaRPr>
                    </a:p>
                  </a:txBody>
                  <a:tcPr marL="0" anchor="ctr">
                    <a:lnL w="12700" cap="flat" cmpd="sng" algn="ctr">
                      <a:noFill/>
                      <a:prstDash val="solid"/>
                      <a:round/>
                      <a:headEnd type="none" w="med" len="med"/>
                      <a:tailEnd type="none" w="med" len="med"/>
                    </a:lnL>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R w="12700" cap="flat" cmpd="sng" algn="ctr">
                      <a:solidFill>
                        <a:schemeClr val="tx2">
                          <a:lumMod val="60000"/>
                          <a:lumOff val="40000"/>
                        </a:schemeClr>
                      </a:solidFill>
                      <a:prstDash val="dash"/>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189485012"/>
                  </a:ext>
                </a:extLst>
              </a:tr>
              <a:tr h="274320">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pt-BR" sz="1200" b="0" i="0" noProof="1">
                          <a:latin typeface="Graphik" panose="020B0503030202060203" pitchFamily="34" charset="77"/>
                        </a:rPr>
                        <a:t>Step 1</a:t>
                      </a:r>
                    </a:p>
                  </a:txBody>
                  <a:tcPr marL="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88100610"/>
                  </a:ext>
                </a:extLst>
              </a:tr>
              <a:tr h="274320">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pt-BR" sz="1200" b="0" i="0" noProof="1">
                          <a:latin typeface="Graphik" panose="020B0503030202060203" pitchFamily="34" charset="77"/>
                        </a:rPr>
                        <a:t>Step 2</a:t>
                      </a:r>
                    </a:p>
                  </a:txBody>
                  <a:tcPr marL="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916655884"/>
                  </a:ext>
                </a:extLst>
              </a:tr>
              <a:tr h="274320">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pt-BR" sz="1200" b="0" i="0" noProof="1">
                          <a:latin typeface="Graphik" panose="020B0503030202060203" pitchFamily="34" charset="77"/>
                        </a:rPr>
                        <a:t>Step 3</a:t>
                      </a:r>
                    </a:p>
                  </a:txBody>
                  <a:tcPr marL="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74176316"/>
                  </a:ext>
                </a:extLst>
              </a:tr>
              <a:tr h="274320">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pt-BR" sz="1200" b="0" i="0" noProof="1">
                          <a:latin typeface="Graphik" panose="020B0503030202060203" pitchFamily="34" charset="77"/>
                        </a:rPr>
                        <a:t>Step 4</a:t>
                      </a:r>
                    </a:p>
                  </a:txBody>
                  <a:tcPr marL="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1793859019"/>
                  </a:ext>
                </a:extLst>
              </a:tr>
              <a:tr h="274320">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pt-BR" sz="1200" b="1" kern="1200" cap="none" baseline="0" noProof="1">
                          <a:solidFill>
                            <a:schemeClr val="dk1"/>
                          </a:solidFill>
                          <a:latin typeface="Graphik Semibold" panose="020B0703030202060203" pitchFamily="34" charset="0"/>
                          <a:ea typeface="+mn-ea"/>
                          <a:cs typeface="+mn-cs"/>
                        </a:rPr>
                        <a:t>Key decision points</a:t>
                      </a:r>
                      <a:endParaRPr lang="pt-BR" sz="1200" kern="1200" cap="none" baseline="0" noProof="1">
                        <a:solidFill>
                          <a:schemeClr val="dk1"/>
                        </a:solidFill>
                        <a:latin typeface="Graphik Semibold" panose="020B0703030202060203" pitchFamily="34" charset="0"/>
                        <a:ea typeface="+mn-ea"/>
                        <a:cs typeface="+mn-cs"/>
                      </a:endParaRPr>
                    </a:p>
                  </a:txBody>
                  <a:tcPr marL="0" anchor="ctr">
                    <a:lnL w="12700" cap="flat" cmpd="sng" algn="ctr">
                      <a:noFill/>
                      <a:prstDash val="solid"/>
                      <a:round/>
                      <a:headEnd type="none" w="med" len="med"/>
                      <a:tailEnd type="none" w="med" len="med"/>
                    </a:lnL>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R w="12700" cap="flat" cmpd="sng" algn="ctr">
                      <a:solidFill>
                        <a:schemeClr val="tx2">
                          <a:lumMod val="60000"/>
                          <a:lumOff val="40000"/>
                        </a:schemeClr>
                      </a:solidFill>
                      <a:prstDash val="dash"/>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pPr rtl="0"/>
                      <a:endParaRPr lang="pt-BR" sz="900" b="0" i="0" noProof="1">
                        <a:latin typeface="Graphik" panose="020B0503030202060203" pitchFamily="34" charset="77"/>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501114773"/>
                  </a:ext>
                </a:extLst>
              </a:tr>
            </a:tbl>
          </a:graphicData>
        </a:graphic>
      </p:graphicFrame>
      <p:grpSp>
        <p:nvGrpSpPr>
          <p:cNvPr id="2" name="Group 1" descr="Gantt Chart 4 diagram overlay&#10;Link to return to Index">
            <a:extLst>
              <a:ext uri="{FF2B5EF4-FFF2-40B4-BE49-F238E27FC236}">
                <a16:creationId xmlns:a16="http://schemas.microsoft.com/office/drawing/2014/main" id="{B2BA64F4-B2BC-40F3-9B2B-748C994A4C1A}"/>
              </a:ext>
            </a:extLst>
          </p:cNvPr>
          <p:cNvGrpSpPr/>
          <p:nvPr/>
        </p:nvGrpSpPr>
        <p:grpSpPr>
          <a:xfrm>
            <a:off x="4462412" y="1560693"/>
            <a:ext cx="6496875" cy="4313491"/>
            <a:chOff x="4455994" y="1552657"/>
            <a:chExt cx="7399456" cy="4313491"/>
          </a:xfrm>
        </p:grpSpPr>
        <p:sp>
          <p:nvSpPr>
            <p:cNvPr id="26" name="Rectangle 25">
              <a:extLst>
                <a:ext uri="{FF2B5EF4-FFF2-40B4-BE49-F238E27FC236}">
                  <a16:creationId xmlns:a16="http://schemas.microsoft.com/office/drawing/2014/main" id="{1098560B-A401-4621-BC3A-1938863C9ADE}"/>
                </a:ext>
                <a:ext uri="{C183D7F6-B498-43B3-948B-1728B52AA6E4}">
                  <adec:decorative xmlns:adec="http://schemas.microsoft.com/office/drawing/2017/decorative" val="1"/>
                </a:ext>
              </a:extLst>
            </p:cNvPr>
            <p:cNvSpPr/>
            <p:nvPr/>
          </p:nvSpPr>
          <p:spPr>
            <a:xfrm>
              <a:off x="4455994" y="1552657"/>
              <a:ext cx="4101328" cy="21030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sz="1351" noProof="1">
                <a:latin typeface="Graphik" panose="020B0503030202060203" pitchFamily="34" charset="77"/>
              </a:endParaRPr>
            </a:p>
          </p:txBody>
        </p:sp>
        <p:sp>
          <p:nvSpPr>
            <p:cNvPr id="28" name="Rectangle 27">
              <a:extLst>
                <a:ext uri="{FF2B5EF4-FFF2-40B4-BE49-F238E27FC236}">
                  <a16:creationId xmlns:a16="http://schemas.microsoft.com/office/drawing/2014/main" id="{2C0F7775-2C1D-4C7F-8543-6307F8CE67DA}"/>
                </a:ext>
                <a:ext uri="{C183D7F6-B498-43B3-948B-1728B52AA6E4}">
                  <adec:decorative xmlns:adec="http://schemas.microsoft.com/office/drawing/2017/decorative" val="1"/>
                </a:ext>
              </a:extLst>
            </p:cNvPr>
            <p:cNvSpPr/>
            <p:nvPr/>
          </p:nvSpPr>
          <p:spPr>
            <a:xfrm>
              <a:off x="4455994" y="1825104"/>
              <a:ext cx="1751128" cy="210304"/>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sz="1351" noProof="1">
                <a:latin typeface="Graphik" panose="020B0503030202060203" pitchFamily="34" charset="77"/>
              </a:endParaRPr>
            </a:p>
          </p:txBody>
        </p:sp>
        <p:sp>
          <p:nvSpPr>
            <p:cNvPr id="30" name="Rectangle 29">
              <a:extLst>
                <a:ext uri="{FF2B5EF4-FFF2-40B4-BE49-F238E27FC236}">
                  <a16:creationId xmlns:a16="http://schemas.microsoft.com/office/drawing/2014/main" id="{F74B3362-B999-47D0-9255-0CA81E236E67}"/>
                </a:ext>
                <a:ext uri="{C183D7F6-B498-43B3-948B-1728B52AA6E4}">
                  <adec:decorative xmlns:adec="http://schemas.microsoft.com/office/drawing/2017/decorative" val="1"/>
                </a:ext>
              </a:extLst>
            </p:cNvPr>
            <p:cNvSpPr/>
            <p:nvPr/>
          </p:nvSpPr>
          <p:spPr>
            <a:xfrm>
              <a:off x="5000552" y="2097551"/>
              <a:ext cx="1584198" cy="210304"/>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sz="1351" noProof="1">
                <a:latin typeface="Graphik" panose="020B0503030202060203" pitchFamily="34" charset="77"/>
              </a:endParaRPr>
            </a:p>
          </p:txBody>
        </p:sp>
        <p:sp>
          <p:nvSpPr>
            <p:cNvPr id="32" name="Rectangle 31">
              <a:extLst>
                <a:ext uri="{FF2B5EF4-FFF2-40B4-BE49-F238E27FC236}">
                  <a16:creationId xmlns:a16="http://schemas.microsoft.com/office/drawing/2014/main" id="{3D63A6B1-188D-427D-AFA5-AE4015A34681}"/>
                </a:ext>
                <a:ext uri="{C183D7F6-B498-43B3-948B-1728B52AA6E4}">
                  <adec:decorative xmlns:adec="http://schemas.microsoft.com/office/drawing/2017/decorative" val="1"/>
                </a:ext>
              </a:extLst>
            </p:cNvPr>
            <p:cNvSpPr/>
            <p:nvPr/>
          </p:nvSpPr>
          <p:spPr>
            <a:xfrm>
              <a:off x="5453398" y="2369998"/>
              <a:ext cx="1300210" cy="210304"/>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sz="1351" noProof="1">
                <a:latin typeface="Graphik" panose="020B0503030202060203" pitchFamily="34" charset="77"/>
              </a:endParaRPr>
            </a:p>
          </p:txBody>
        </p:sp>
        <p:sp>
          <p:nvSpPr>
            <p:cNvPr id="34" name="Rectangle 33">
              <a:extLst>
                <a:ext uri="{FF2B5EF4-FFF2-40B4-BE49-F238E27FC236}">
                  <a16:creationId xmlns:a16="http://schemas.microsoft.com/office/drawing/2014/main" id="{CD3EA462-3A15-42B8-A53C-56C51EEEEF77}"/>
                </a:ext>
                <a:ext uri="{C183D7F6-B498-43B3-948B-1728B52AA6E4}">
                  <adec:decorative xmlns:adec="http://schemas.microsoft.com/office/drawing/2017/decorative" val="1"/>
                </a:ext>
              </a:extLst>
            </p:cNvPr>
            <p:cNvSpPr/>
            <p:nvPr/>
          </p:nvSpPr>
          <p:spPr>
            <a:xfrm>
              <a:off x="6022914" y="2642445"/>
              <a:ext cx="1317093" cy="210304"/>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sz="1351" noProof="1">
                <a:latin typeface="Graphik" panose="020B0503030202060203" pitchFamily="34" charset="77"/>
              </a:endParaRPr>
            </a:p>
          </p:txBody>
        </p:sp>
        <p:sp>
          <p:nvSpPr>
            <p:cNvPr id="36" name="Rectangle 35">
              <a:extLst>
                <a:ext uri="{FF2B5EF4-FFF2-40B4-BE49-F238E27FC236}">
                  <a16:creationId xmlns:a16="http://schemas.microsoft.com/office/drawing/2014/main" id="{39C257FA-FBDE-481F-BBC1-38474F71410D}"/>
                </a:ext>
                <a:ext uri="{C183D7F6-B498-43B3-948B-1728B52AA6E4}">
                  <adec:decorative xmlns:adec="http://schemas.microsoft.com/office/drawing/2017/decorative" val="1"/>
                </a:ext>
              </a:extLst>
            </p:cNvPr>
            <p:cNvSpPr/>
            <p:nvPr/>
          </p:nvSpPr>
          <p:spPr>
            <a:xfrm>
              <a:off x="5453397" y="2922897"/>
              <a:ext cx="5681148" cy="21030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sz="1351" noProof="1">
                <a:latin typeface="Graphik" panose="020B0503030202060203" pitchFamily="34" charset="77"/>
              </a:endParaRPr>
            </a:p>
          </p:txBody>
        </p:sp>
        <p:sp>
          <p:nvSpPr>
            <p:cNvPr id="38" name="Rectangle 37">
              <a:extLst>
                <a:ext uri="{FF2B5EF4-FFF2-40B4-BE49-F238E27FC236}">
                  <a16:creationId xmlns:a16="http://schemas.microsoft.com/office/drawing/2014/main" id="{9E21F7DA-1844-47FD-9FB7-929B9AC5E5B6}"/>
                </a:ext>
                <a:ext uri="{C183D7F6-B498-43B3-948B-1728B52AA6E4}">
                  <adec:decorative xmlns:adec="http://schemas.microsoft.com/office/drawing/2017/decorative" val="1"/>
                </a:ext>
              </a:extLst>
            </p:cNvPr>
            <p:cNvSpPr/>
            <p:nvPr/>
          </p:nvSpPr>
          <p:spPr>
            <a:xfrm>
              <a:off x="5453397" y="3203349"/>
              <a:ext cx="2142022" cy="21030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sz="1351" noProof="1">
                <a:latin typeface="Graphik" panose="020B0503030202060203" pitchFamily="34" charset="77"/>
              </a:endParaRPr>
            </a:p>
          </p:txBody>
        </p:sp>
        <p:sp>
          <p:nvSpPr>
            <p:cNvPr id="40" name="Rectangle 39">
              <a:extLst>
                <a:ext uri="{FF2B5EF4-FFF2-40B4-BE49-F238E27FC236}">
                  <a16:creationId xmlns:a16="http://schemas.microsoft.com/office/drawing/2014/main" id="{2325D245-5BB0-4AF7-BABE-D03C722EF39F}"/>
                </a:ext>
                <a:ext uri="{C183D7F6-B498-43B3-948B-1728B52AA6E4}">
                  <adec:decorative xmlns:adec="http://schemas.microsoft.com/office/drawing/2017/decorative" val="1"/>
                </a:ext>
              </a:extLst>
            </p:cNvPr>
            <p:cNvSpPr/>
            <p:nvPr/>
          </p:nvSpPr>
          <p:spPr>
            <a:xfrm>
              <a:off x="7340007" y="3483801"/>
              <a:ext cx="1619638" cy="21030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sz="1351" noProof="1">
                <a:latin typeface="Graphik" panose="020B0503030202060203" pitchFamily="34" charset="77"/>
              </a:endParaRPr>
            </a:p>
          </p:txBody>
        </p:sp>
        <p:sp>
          <p:nvSpPr>
            <p:cNvPr id="42" name="Rectangle 41">
              <a:extLst>
                <a:ext uri="{FF2B5EF4-FFF2-40B4-BE49-F238E27FC236}">
                  <a16:creationId xmlns:a16="http://schemas.microsoft.com/office/drawing/2014/main" id="{6E29D6A9-3C0D-4A78-87DE-29C88F7DD142}"/>
                </a:ext>
                <a:ext uri="{C183D7F6-B498-43B3-948B-1728B52AA6E4}">
                  <adec:decorative xmlns:adec="http://schemas.microsoft.com/office/drawing/2017/decorative" val="1"/>
                </a:ext>
              </a:extLst>
            </p:cNvPr>
            <p:cNvSpPr/>
            <p:nvPr/>
          </p:nvSpPr>
          <p:spPr>
            <a:xfrm>
              <a:off x="8503425" y="3764253"/>
              <a:ext cx="1805698" cy="21030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sz="1351" noProof="1">
                <a:latin typeface="Graphik" panose="020B0503030202060203" pitchFamily="34" charset="77"/>
              </a:endParaRPr>
            </a:p>
          </p:txBody>
        </p:sp>
        <p:sp>
          <p:nvSpPr>
            <p:cNvPr id="44" name="Rectangle 43">
              <a:extLst>
                <a:ext uri="{FF2B5EF4-FFF2-40B4-BE49-F238E27FC236}">
                  <a16:creationId xmlns:a16="http://schemas.microsoft.com/office/drawing/2014/main" id="{708667F1-A7FB-4CC6-9A3D-359854A74BFC}"/>
                </a:ext>
                <a:ext uri="{C183D7F6-B498-43B3-948B-1728B52AA6E4}">
                  <adec:decorative xmlns:adec="http://schemas.microsoft.com/office/drawing/2017/decorative" val="1"/>
                </a:ext>
              </a:extLst>
            </p:cNvPr>
            <p:cNvSpPr/>
            <p:nvPr/>
          </p:nvSpPr>
          <p:spPr>
            <a:xfrm>
              <a:off x="9036021" y="4044704"/>
              <a:ext cx="2098523" cy="21030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sz="1351" noProof="1">
                <a:latin typeface="Graphik" panose="020B0503030202060203" pitchFamily="34" charset="77"/>
              </a:endParaRPr>
            </a:p>
          </p:txBody>
        </p:sp>
        <p:sp>
          <p:nvSpPr>
            <p:cNvPr id="46" name="Rectangle 45">
              <a:extLst>
                <a:ext uri="{FF2B5EF4-FFF2-40B4-BE49-F238E27FC236}">
                  <a16:creationId xmlns:a16="http://schemas.microsoft.com/office/drawing/2014/main" id="{2234C003-C5B4-49C5-9E4D-C3217A1E435A}"/>
                </a:ext>
                <a:ext uri="{C183D7F6-B498-43B3-948B-1728B52AA6E4}">
                  <adec:decorative xmlns:adec="http://schemas.microsoft.com/office/drawing/2017/decorative" val="1"/>
                </a:ext>
              </a:extLst>
            </p:cNvPr>
            <p:cNvSpPr/>
            <p:nvPr/>
          </p:nvSpPr>
          <p:spPr>
            <a:xfrm>
              <a:off x="7410450" y="4314705"/>
              <a:ext cx="4445000" cy="210304"/>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sz="1351" noProof="1">
                <a:latin typeface="Graphik" panose="020B0503030202060203" pitchFamily="34" charset="77"/>
              </a:endParaRPr>
            </a:p>
          </p:txBody>
        </p:sp>
        <p:sp>
          <p:nvSpPr>
            <p:cNvPr id="48" name="Rectangle 47">
              <a:extLst>
                <a:ext uri="{FF2B5EF4-FFF2-40B4-BE49-F238E27FC236}">
                  <a16:creationId xmlns:a16="http://schemas.microsoft.com/office/drawing/2014/main" id="{FA0274D9-25D9-47AC-81BA-9BA6D7009B64}"/>
                </a:ext>
                <a:ext uri="{C183D7F6-B498-43B3-948B-1728B52AA6E4}">
                  <adec:decorative xmlns:adec="http://schemas.microsoft.com/office/drawing/2017/decorative" val="1"/>
                </a:ext>
              </a:extLst>
            </p:cNvPr>
            <p:cNvSpPr/>
            <p:nvPr/>
          </p:nvSpPr>
          <p:spPr>
            <a:xfrm>
              <a:off x="7410450" y="4593415"/>
              <a:ext cx="1549195" cy="210304"/>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sz="1351" noProof="1">
                <a:latin typeface="Graphik" panose="020B0503030202060203" pitchFamily="34" charset="77"/>
              </a:endParaRPr>
            </a:p>
          </p:txBody>
        </p:sp>
        <p:sp>
          <p:nvSpPr>
            <p:cNvPr id="50" name="Rectangle 49">
              <a:extLst>
                <a:ext uri="{FF2B5EF4-FFF2-40B4-BE49-F238E27FC236}">
                  <a16:creationId xmlns:a16="http://schemas.microsoft.com/office/drawing/2014/main" id="{2820D54E-00FD-4142-954A-E85E05E79A06}"/>
                </a:ext>
                <a:ext uri="{C183D7F6-B498-43B3-948B-1728B52AA6E4}">
                  <adec:decorative xmlns:adec="http://schemas.microsoft.com/office/drawing/2017/decorative" val="1"/>
                </a:ext>
              </a:extLst>
            </p:cNvPr>
            <p:cNvSpPr/>
            <p:nvPr/>
          </p:nvSpPr>
          <p:spPr>
            <a:xfrm>
              <a:off x="8503426" y="4872125"/>
              <a:ext cx="1503354" cy="210304"/>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sz="1351" noProof="1">
                <a:latin typeface="Graphik" panose="020B0503030202060203" pitchFamily="34" charset="77"/>
              </a:endParaRPr>
            </a:p>
          </p:txBody>
        </p:sp>
        <p:sp>
          <p:nvSpPr>
            <p:cNvPr id="52" name="Rectangle 51">
              <a:extLst>
                <a:ext uri="{FF2B5EF4-FFF2-40B4-BE49-F238E27FC236}">
                  <a16:creationId xmlns:a16="http://schemas.microsoft.com/office/drawing/2014/main" id="{429A4623-5A7B-4B1B-8F23-1125B9A87A59}"/>
                </a:ext>
                <a:ext uri="{C183D7F6-B498-43B3-948B-1728B52AA6E4}">
                  <adec:decorative xmlns:adec="http://schemas.microsoft.com/office/drawing/2017/decorative" val="1"/>
                </a:ext>
              </a:extLst>
            </p:cNvPr>
            <p:cNvSpPr/>
            <p:nvPr/>
          </p:nvSpPr>
          <p:spPr>
            <a:xfrm>
              <a:off x="9632950" y="5150835"/>
              <a:ext cx="1318800" cy="210304"/>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sz="1351" noProof="1">
                <a:latin typeface="Graphik" panose="020B0503030202060203" pitchFamily="34" charset="77"/>
              </a:endParaRPr>
            </a:p>
          </p:txBody>
        </p:sp>
        <p:sp>
          <p:nvSpPr>
            <p:cNvPr id="54" name="Rectangle 53">
              <a:extLst>
                <a:ext uri="{FF2B5EF4-FFF2-40B4-BE49-F238E27FC236}">
                  <a16:creationId xmlns:a16="http://schemas.microsoft.com/office/drawing/2014/main" id="{A7B73390-92A3-46B7-A5AD-E7DBE66EA2FD}"/>
                </a:ext>
                <a:ext uri="{C183D7F6-B498-43B3-948B-1728B52AA6E4}">
                  <adec:decorative xmlns:adec="http://schemas.microsoft.com/office/drawing/2017/decorative" val="1"/>
                </a:ext>
              </a:extLst>
            </p:cNvPr>
            <p:cNvSpPr/>
            <p:nvPr/>
          </p:nvSpPr>
          <p:spPr>
            <a:xfrm>
              <a:off x="10132142" y="5429552"/>
              <a:ext cx="1723307" cy="210304"/>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sz="1351" noProof="1">
                <a:latin typeface="Graphik" panose="020B0503030202060203" pitchFamily="34" charset="77"/>
              </a:endParaRPr>
            </a:p>
          </p:txBody>
        </p:sp>
        <p:sp>
          <p:nvSpPr>
            <p:cNvPr id="56" name="Text Box 46">
              <a:extLst>
                <a:ext uri="{FF2B5EF4-FFF2-40B4-BE49-F238E27FC236}">
                  <a16:creationId xmlns:a16="http://schemas.microsoft.com/office/drawing/2014/main" id="{6BD47E2F-D998-4FA4-9BF4-9AC67F9F1AE7}"/>
                </a:ext>
                <a:ext uri="{C183D7F6-B498-43B3-948B-1728B52AA6E4}">
                  <adec:decorative xmlns:adec="http://schemas.microsoft.com/office/drawing/2017/decorative" val="0"/>
                </a:ext>
              </a:extLst>
            </p:cNvPr>
            <p:cNvSpPr txBox="1">
              <a:spLocks noChangeArrowheads="1"/>
            </p:cNvSpPr>
            <p:nvPr>
              <p:custDataLst>
                <p:tags r:id="rId2"/>
              </p:custDataLst>
            </p:nvPr>
          </p:nvSpPr>
          <p:spPr bwMode="auto">
            <a:xfrm>
              <a:off x="7004950" y="5579902"/>
              <a:ext cx="1549195" cy="253222"/>
            </a:xfrm>
            <a:prstGeom prst="rect">
              <a:avLst/>
            </a:prstGeom>
            <a:noFill/>
            <a:ln w="6350">
              <a:noFill/>
              <a:miter lim="800000"/>
              <a:headEnd/>
              <a:tailEnd/>
            </a:ln>
            <a:effectLst/>
          </p:spPr>
          <p:txBody>
            <a:bodyPr lIns="45720" rIns="45720"/>
            <a:lstStyle/>
            <a:p>
              <a:pPr eaLnBrk="0" hangingPunct="0">
                <a:spcBef>
                  <a:spcPct val="0"/>
                </a:spcBef>
                <a:buClr>
                  <a:schemeClr val="tx1"/>
                </a:buClr>
                <a:buFont typeface="Wingdings" pitchFamily="2" charset="2"/>
                <a:buChar char="u"/>
              </a:pPr>
              <a:r>
                <a:rPr lang="pt-BR" sz="1400" noProof="1">
                  <a:latin typeface="Graphik" panose="020B0503030202060203" pitchFamily="34" charset="77"/>
                </a:rPr>
                <a:t> 13.03.02</a:t>
              </a:r>
            </a:p>
          </p:txBody>
        </p:sp>
        <p:sp>
          <p:nvSpPr>
            <p:cNvPr id="58" name="Text Box 47">
              <a:extLst>
                <a:ext uri="{FF2B5EF4-FFF2-40B4-BE49-F238E27FC236}">
                  <a16:creationId xmlns:a16="http://schemas.microsoft.com/office/drawing/2014/main" id="{19B8CDD1-ECD9-4536-A355-0EF84CEC524B}"/>
                </a:ext>
              </a:extLst>
            </p:cNvPr>
            <p:cNvSpPr txBox="1">
              <a:spLocks noChangeArrowheads="1"/>
            </p:cNvSpPr>
            <p:nvPr>
              <p:custDataLst>
                <p:tags r:id="rId3"/>
              </p:custDataLst>
            </p:nvPr>
          </p:nvSpPr>
          <p:spPr bwMode="auto">
            <a:xfrm>
              <a:off x="9742075" y="5612926"/>
              <a:ext cx="1318799" cy="253222"/>
            </a:xfrm>
            <a:prstGeom prst="rect">
              <a:avLst/>
            </a:prstGeom>
            <a:noFill/>
            <a:ln w="6350">
              <a:noFill/>
              <a:miter lim="800000"/>
              <a:headEnd/>
              <a:tailEnd/>
            </a:ln>
            <a:effectLst/>
          </p:spPr>
          <p:txBody>
            <a:bodyPr lIns="45720" rIns="45720"/>
            <a:lstStyle/>
            <a:p>
              <a:pPr eaLnBrk="0" hangingPunct="0">
                <a:spcBef>
                  <a:spcPct val="0"/>
                </a:spcBef>
                <a:buClr>
                  <a:schemeClr val="tx1"/>
                </a:buClr>
                <a:buFont typeface="Wingdings" pitchFamily="2" charset="2"/>
                <a:buChar char="u"/>
              </a:pPr>
              <a:r>
                <a:rPr lang="pt-BR" sz="1400" noProof="1">
                  <a:latin typeface="Graphik" panose="020B0503030202060203" pitchFamily="34" charset="77"/>
                </a:rPr>
                <a:t> 15.05.02</a:t>
              </a:r>
            </a:p>
          </p:txBody>
        </p:sp>
      </p:grpSp>
    </p:spTree>
    <p:extLst>
      <p:ext uri="{BB962C8B-B14F-4D97-AF65-F5344CB8AC3E}">
        <p14:creationId xmlns:p14="http://schemas.microsoft.com/office/powerpoint/2010/main" val="13372813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743511FF-02F3-D5E9-936F-A03F74032CF9}"/>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ED0B315-0799-25FD-8E6F-4EC2A654EEDD}"/>
              </a:ext>
            </a:extLst>
          </p:cNvPr>
          <p:cNvGraphicFramePr>
            <a:graphicFrameLocks noChangeAspect="1"/>
          </p:cNvGraphicFramePr>
          <p:nvPr>
            <p:custDataLst>
              <p:tags r:id="rId1"/>
            </p:custDataLst>
            <p:extLst>
              <p:ext uri="{D42A27DB-BD31-4B8C-83A1-F6EECF244321}">
                <p14:modId xmlns:p14="http://schemas.microsoft.com/office/powerpoint/2010/main" val="753406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3" name="think-cell data - do not delete" hidden="1">
                        <a:extLst>
                          <a:ext uri="{FF2B5EF4-FFF2-40B4-BE49-F238E27FC236}">
                            <a16:creationId xmlns:a16="http://schemas.microsoft.com/office/drawing/2014/main" id="{FED0B315-0799-25FD-8E6F-4EC2A654EE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2CCFC8A6-0A29-5B6D-CB71-FD2AC3DDAF00}"/>
              </a:ext>
            </a:extLst>
          </p:cNvPr>
          <p:cNvSpPr>
            <a:spLocks noGrp="1"/>
          </p:cNvSpPr>
          <p:nvPr>
            <p:ph type="title"/>
          </p:nvPr>
        </p:nvSpPr>
        <p:spPr/>
        <p:txBody>
          <a:bodyPr vert="horz"/>
          <a:lstStyle/>
          <a:p>
            <a:r>
              <a:rPr lang="pt-BR" noProof="1"/>
              <a:t>Program status dashboard example</a:t>
            </a:r>
          </a:p>
        </p:txBody>
      </p:sp>
      <p:graphicFrame>
        <p:nvGraphicFramePr>
          <p:cNvPr id="43" name="Group 69" descr="A section with fields for 'Start date' and 'End date'. Placeholder text (DD.MM.YYYY) is included to indicate where the start and end dates should be entered.">
            <a:extLst>
              <a:ext uri="{FF2B5EF4-FFF2-40B4-BE49-F238E27FC236}">
                <a16:creationId xmlns:a16="http://schemas.microsoft.com/office/drawing/2014/main" id="{5C00AD2C-D8D4-77C2-C5D4-47B4E8BA5E2D}"/>
              </a:ext>
            </a:extLst>
          </p:cNvPr>
          <p:cNvGraphicFramePr>
            <a:graphicFrameLocks noGrp="1"/>
          </p:cNvGraphicFramePr>
          <p:nvPr>
            <p:extLst>
              <p:ext uri="{D42A27DB-BD31-4B8C-83A1-F6EECF244321}">
                <p14:modId xmlns:p14="http://schemas.microsoft.com/office/powerpoint/2010/main" val="3738702993"/>
              </p:ext>
            </p:extLst>
          </p:nvPr>
        </p:nvGraphicFramePr>
        <p:xfrm>
          <a:off x="9270580" y="614380"/>
          <a:ext cx="2364953" cy="505100"/>
        </p:xfrm>
        <a:graphic>
          <a:graphicData uri="http://schemas.openxmlformats.org/drawingml/2006/table">
            <a:tbl>
              <a:tblPr firstRow="1"/>
              <a:tblGrid>
                <a:gridCol w="1146866">
                  <a:extLst>
                    <a:ext uri="{9D8B030D-6E8A-4147-A177-3AD203B41FA5}">
                      <a16:colId xmlns:a16="http://schemas.microsoft.com/office/drawing/2014/main" val="20000"/>
                    </a:ext>
                  </a:extLst>
                </a:gridCol>
                <a:gridCol w="1218087">
                  <a:extLst>
                    <a:ext uri="{9D8B030D-6E8A-4147-A177-3AD203B41FA5}">
                      <a16:colId xmlns:a16="http://schemas.microsoft.com/office/drawing/2014/main" val="20001"/>
                    </a:ext>
                  </a:extLst>
                </a:gridCol>
              </a:tblGrid>
              <a:tr h="247469">
                <a:tc>
                  <a:txBody>
                    <a:bodyPr/>
                    <a:lstStyle>
                      <a:defPPr>
                        <a:defRPr lang="en-US"/>
                      </a:defPPr>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pPr>
                      <a:r>
                        <a:rPr kumimoji="0" lang="pt-BR" sz="1100" b="0" i="0" u="none" strike="noStrike" cap="none" normalizeH="0" baseline="0" noProof="1">
                          <a:ln>
                            <a:noFill/>
                          </a:ln>
                          <a:solidFill>
                            <a:schemeClr val="bg1"/>
                          </a:solidFill>
                          <a:effectLst/>
                          <a:latin typeface="Graphik" panose="020B0503030202060203" pitchFamily="34" charset="77"/>
                        </a:rPr>
                        <a:t>Start date:</a:t>
                      </a:r>
                    </a:p>
                  </a:txBody>
                  <a:tcPr marL="42455" marR="0" marT="42455" marB="42455" anchor="ctr" horzOverflow="overflow">
                    <a:lnL w="6350" cap="flat" cmpd="sng" algn="ctr">
                      <a:noFill/>
                      <a:prstDash val="lgDash"/>
                      <a:round/>
                      <a:headEnd type="none" w="med" len="med"/>
                      <a:tailEnd type="none" w="med" len="med"/>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solidFill>
                      <a:schemeClr val="accent1"/>
                    </a:solidFill>
                  </a:tcPr>
                </a:tc>
                <a:tc>
                  <a:txBody>
                    <a:bodyPr/>
                    <a:lstStyle>
                      <a:defPPr>
                        <a:defRPr lang="en-US"/>
                      </a:defPPr>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pPr>
                      <a:r>
                        <a:rPr kumimoji="0" lang="pt-BR" sz="1100" b="0" i="0" u="none" strike="noStrike" cap="none" normalizeH="0" baseline="0" noProof="1">
                          <a:ln>
                            <a:noFill/>
                          </a:ln>
                          <a:solidFill>
                            <a:schemeClr val="bg1"/>
                          </a:solidFill>
                          <a:effectLst/>
                          <a:latin typeface="Graphik" panose="020B0503030202060203" pitchFamily="34" charset="77"/>
                        </a:rPr>
                        <a:t>End date:</a:t>
                      </a:r>
                    </a:p>
                  </a:txBody>
                  <a:tcPr marL="42455" marR="0" marT="42455" marB="42455" anchor="ctr" horzOverflow="overflow">
                    <a:lnL w="6350" cap="flat" cmpd="sng" algn="ctr">
                      <a:noFill/>
                      <a:prstDash val="lgDash"/>
                      <a:round/>
                      <a:headEnd type="none" w="med" len="med"/>
                      <a:tailEnd type="none" w="med" len="med"/>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0"/>
                  </a:ext>
                </a:extLst>
              </a:tr>
              <a:tr h="247469">
                <a:tc>
                  <a:txBody>
                    <a:bodyPr/>
                    <a:lstStyle>
                      <a:defPPr>
                        <a:defRPr lang="en-US"/>
                      </a:defPPr>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pPr>
                      <a:r>
                        <a:rPr kumimoji="0" lang="pt-BR" sz="1100" b="0" i="0" u="none" strike="noStrike" cap="none" normalizeH="0" baseline="0" noProof="1">
                          <a:ln>
                            <a:noFill/>
                          </a:ln>
                          <a:solidFill>
                            <a:schemeClr val="tx1"/>
                          </a:solidFill>
                          <a:effectLst/>
                          <a:latin typeface="Graphik" panose="020B0503030202060203" pitchFamily="34" charset="77"/>
                        </a:rPr>
                        <a:t>DD.MM.YYYY</a:t>
                      </a:r>
                    </a:p>
                  </a:txBody>
                  <a:tcPr marL="42455" marR="0" marT="42455" marB="42455" horzOverflow="overflow">
                    <a:lnL w="6350" cap="flat" cmpd="sng" algn="ctr">
                      <a:noFill/>
                      <a:prstDash val="lgDash"/>
                      <a:round/>
                      <a:headEnd type="none" w="med" len="med"/>
                      <a:tailEnd type="none" w="med" len="med"/>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pPr>
                      <a:r>
                        <a:rPr kumimoji="0" lang="pt-BR" sz="1100" b="0" i="0" u="none" strike="noStrike" cap="none" normalizeH="0" baseline="0" noProof="1">
                          <a:ln>
                            <a:noFill/>
                          </a:ln>
                          <a:solidFill>
                            <a:schemeClr val="tx1"/>
                          </a:solidFill>
                          <a:effectLst/>
                          <a:latin typeface="Graphik" panose="020B0503030202060203" pitchFamily="34" charset="77"/>
                        </a:rPr>
                        <a:t>DD.MM.YYYY</a:t>
                      </a:r>
                    </a:p>
                  </a:txBody>
                  <a:tcPr marL="42455" marR="0" marT="42455" marB="42455" horzOverflow="overflow">
                    <a:lnL w="6350" cap="flat" cmpd="sng" algn="ctr">
                      <a:noFill/>
                      <a:prstDash val="lgDash"/>
                      <a:round/>
                      <a:headEnd type="none" w="med" len="med"/>
                      <a:tailEnd type="none" w="med" len="med"/>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bl>
          </a:graphicData>
        </a:graphic>
      </p:graphicFrame>
      <p:sp>
        <p:nvSpPr>
          <p:cNvPr id="41" name="Rectangle 2">
            <a:extLst>
              <a:ext uri="{FF2B5EF4-FFF2-40B4-BE49-F238E27FC236}">
                <a16:creationId xmlns:a16="http://schemas.microsoft.com/office/drawing/2014/main" id="{4D63C3BC-2C08-74CE-0F58-2EF4D02B27F4}"/>
              </a:ext>
            </a:extLst>
          </p:cNvPr>
          <p:cNvSpPr txBox="1">
            <a:spLocks noChangeArrowheads="1"/>
          </p:cNvSpPr>
          <p:nvPr/>
        </p:nvSpPr>
        <p:spPr bwMode="auto">
          <a:xfrm>
            <a:off x="528663" y="1141341"/>
            <a:ext cx="5147279" cy="6546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761981" fontAlgn="base">
              <a:spcBef>
                <a:spcPts val="100"/>
              </a:spcBef>
              <a:spcAft>
                <a:spcPts val="100"/>
              </a:spcAft>
              <a:tabLst>
                <a:tab pos="2147834" algn="l"/>
              </a:tabLst>
              <a:defRPr/>
            </a:pPr>
            <a:r>
              <a:rPr lang="pt-BR" sz="1400" noProof="1">
                <a:solidFill>
                  <a:srgbClr val="000000"/>
                </a:solidFill>
                <a:latin typeface="Graphik" panose="020B0503030202060203" pitchFamily="34" charset="77"/>
              </a:rPr>
              <a:t>Workstream: &lt;Workstream name&gt;</a:t>
            </a:r>
            <a:br>
              <a:rPr lang="pt-BR" sz="1400" noProof="1">
                <a:solidFill>
                  <a:srgbClr val="000000"/>
                </a:solidFill>
                <a:latin typeface="Graphik" panose="020B0503030202060203" pitchFamily="34" charset="77"/>
              </a:rPr>
            </a:br>
            <a:r>
              <a:rPr lang="pt-BR" sz="1400" noProof="1">
                <a:solidFill>
                  <a:srgbClr val="000000"/>
                </a:solidFill>
                <a:latin typeface="Graphik" panose="020B0503030202060203" pitchFamily="34" charset="77"/>
              </a:rPr>
              <a:t>Workstream lead: &lt; Name&gt;</a:t>
            </a:r>
          </a:p>
        </p:txBody>
      </p:sp>
      <p:graphicFrame>
        <p:nvGraphicFramePr>
          <p:cNvPr id="7" name="Table 6" descr="A table displaying various workstream items such as 'Time', 'Workstream objectives', 'Client value delivered', and 'Budget'. Each item has a corresponding 'Status' and 'Comment' field to track current progress and updates.">
            <a:extLst>
              <a:ext uri="{FF2B5EF4-FFF2-40B4-BE49-F238E27FC236}">
                <a16:creationId xmlns:a16="http://schemas.microsoft.com/office/drawing/2014/main" id="{7F4E5342-5727-9502-AA49-B9A92D1FADC7}"/>
              </a:ext>
            </a:extLst>
          </p:cNvPr>
          <p:cNvGraphicFramePr>
            <a:graphicFrameLocks noGrp="1"/>
          </p:cNvGraphicFramePr>
          <p:nvPr>
            <p:extLst>
              <p:ext uri="{D42A27DB-BD31-4B8C-83A1-F6EECF244321}">
                <p14:modId xmlns:p14="http://schemas.microsoft.com/office/powerpoint/2010/main" val="1996530191"/>
              </p:ext>
            </p:extLst>
          </p:nvPr>
        </p:nvGraphicFramePr>
        <p:xfrm>
          <a:off x="528663" y="1777507"/>
          <a:ext cx="5888016" cy="2164080"/>
        </p:xfrm>
        <a:graphic>
          <a:graphicData uri="http://schemas.openxmlformats.org/drawingml/2006/table">
            <a:tbl>
              <a:tblPr firstRow="1" firstCol="1" bandRow="1">
                <a:tableStyleId>{F5AB1C69-6EDB-4FF4-983F-18BD219EF322}</a:tableStyleId>
              </a:tblPr>
              <a:tblGrid>
                <a:gridCol w="1824016">
                  <a:extLst>
                    <a:ext uri="{9D8B030D-6E8A-4147-A177-3AD203B41FA5}">
                      <a16:colId xmlns:a16="http://schemas.microsoft.com/office/drawing/2014/main" val="1859180376"/>
                    </a:ext>
                  </a:extLst>
                </a:gridCol>
                <a:gridCol w="2032000">
                  <a:extLst>
                    <a:ext uri="{9D8B030D-6E8A-4147-A177-3AD203B41FA5}">
                      <a16:colId xmlns:a16="http://schemas.microsoft.com/office/drawing/2014/main" val="797351281"/>
                    </a:ext>
                  </a:extLst>
                </a:gridCol>
                <a:gridCol w="2032000">
                  <a:extLst>
                    <a:ext uri="{9D8B030D-6E8A-4147-A177-3AD203B41FA5}">
                      <a16:colId xmlns:a16="http://schemas.microsoft.com/office/drawing/2014/main" val="1650896261"/>
                    </a:ext>
                  </a:extLst>
                </a:gridCol>
              </a:tblGrid>
              <a:tr h="296843">
                <a:tc>
                  <a:txBody>
                    <a:bodyPr/>
                    <a:lstStyle/>
                    <a:p>
                      <a:pPr rtl="0"/>
                      <a:r>
                        <a:rPr lang="pt-BR" sz="1600" b="0" i="0" noProof="1">
                          <a:solidFill>
                            <a:schemeClr val="bg1"/>
                          </a:solidFill>
                          <a:latin typeface="Graphik" panose="020B0503030202060203" pitchFamily="34" charset="77"/>
                        </a:rPr>
                        <a:t>Item</a:t>
                      </a:r>
                    </a:p>
                  </a:txBody>
                  <a:tcPr anchor="ctr">
                    <a:solidFill>
                      <a:schemeClr val="accent1"/>
                    </a:solidFill>
                  </a:tcPr>
                </a:tc>
                <a:tc>
                  <a:txBody>
                    <a:bodyPr/>
                    <a:lstStyle/>
                    <a:p>
                      <a:pPr algn="l" rtl="0"/>
                      <a:r>
                        <a:rPr lang="pt-BR" sz="1600" b="0" i="0" kern="1200" noProof="1">
                          <a:solidFill>
                            <a:schemeClr val="bg1"/>
                          </a:solidFill>
                          <a:latin typeface="Graphik" panose="020B0503030202060203" pitchFamily="34" charset="77"/>
                        </a:rPr>
                        <a:t>Status</a:t>
                      </a:r>
                      <a:endParaRPr lang="pt-BR" sz="1600" b="0" i="0" kern="1200" noProof="1">
                        <a:solidFill>
                          <a:schemeClr val="bg1"/>
                        </a:solidFill>
                        <a:latin typeface="Graphik" panose="020B0503030202060203" pitchFamily="34" charset="77"/>
                        <a:ea typeface="+mn-ea"/>
                        <a:cs typeface="+mn-cs"/>
                      </a:endParaRPr>
                    </a:p>
                  </a:txBody>
                  <a:tcPr anchor="ctr">
                    <a:solidFill>
                      <a:schemeClr val="accent1"/>
                    </a:solidFill>
                  </a:tcPr>
                </a:tc>
                <a:tc>
                  <a:txBody>
                    <a:bodyPr/>
                    <a:lstStyle/>
                    <a:p>
                      <a:pPr rtl="0"/>
                      <a:r>
                        <a:rPr lang="pt-BR" sz="1600" b="0" i="0" kern="1200" noProof="1">
                          <a:solidFill>
                            <a:schemeClr val="bg1"/>
                          </a:solidFill>
                          <a:latin typeface="Graphik" panose="020B0503030202060203" pitchFamily="34" charset="77"/>
                          <a:ea typeface="+mn-ea"/>
                          <a:cs typeface="+mn-cs"/>
                        </a:rPr>
                        <a:t>Comment</a:t>
                      </a:r>
                    </a:p>
                  </a:txBody>
                  <a:tcPr anchor="ctr">
                    <a:solidFill>
                      <a:schemeClr val="accent1"/>
                    </a:solidFill>
                  </a:tcPr>
                </a:tc>
                <a:extLst>
                  <a:ext uri="{0D108BD9-81ED-4DB2-BD59-A6C34878D82A}">
                    <a16:rowId xmlns:a16="http://schemas.microsoft.com/office/drawing/2014/main" val="4291296507"/>
                  </a:ext>
                </a:extLst>
              </a:tr>
              <a:tr h="365971">
                <a:tc>
                  <a:txBody>
                    <a:bodyPr/>
                    <a:lstStyle/>
                    <a:p>
                      <a:pPr rtl="0"/>
                      <a:r>
                        <a:rPr lang="pt-BR" sz="1200" b="0" noProof="1">
                          <a:solidFill>
                            <a:schemeClr val="tx1"/>
                          </a:solidFill>
                        </a:rPr>
                        <a:t>Time</a:t>
                      </a:r>
                      <a:endParaRPr lang="pt-BR" sz="1200" b="0" i="0" noProof="1">
                        <a:solidFill>
                          <a:schemeClr val="tx1"/>
                        </a:solidFill>
                        <a:latin typeface="Graphik" panose="020B0503030202060203" pitchFamily="34" charset="77"/>
                      </a:endParaRPr>
                    </a:p>
                  </a:txBody>
                  <a:tcPr>
                    <a:lnB w="9525" cap="flat" cmpd="sng" algn="ctr">
                      <a:solidFill>
                        <a:schemeClr val="tx1">
                          <a:lumMod val="75000"/>
                          <a:lumOff val="25000"/>
                        </a:schemeClr>
                      </a:solidFill>
                      <a:prstDash val="solid"/>
                      <a:round/>
                      <a:headEnd type="none" w="med" len="med"/>
                      <a:tailEnd type="none" w="med" len="med"/>
                    </a:lnB>
                    <a:noFill/>
                  </a:tcPr>
                </a:tc>
                <a:tc>
                  <a:txBody>
                    <a:bodyPr/>
                    <a:lstStyle/>
                    <a:p>
                      <a:pPr algn="l" rtl="0"/>
                      <a:r>
                        <a:rPr lang="pt-BR" sz="1200" b="1" i="0" noProof="1">
                          <a:solidFill>
                            <a:schemeClr val="tx1"/>
                          </a:solidFill>
                          <a:latin typeface="Graphik Semibold" panose="020B0503030202060203" pitchFamily="34" charset="77"/>
                        </a:rPr>
                        <a:t>On track</a:t>
                      </a:r>
                    </a:p>
                  </a:txBody>
                  <a:tcPr>
                    <a:lnB w="9525" cap="flat" cmpd="sng" algn="ctr">
                      <a:solidFill>
                        <a:schemeClr val="tx1">
                          <a:lumMod val="75000"/>
                          <a:lumOff val="25000"/>
                        </a:schemeClr>
                      </a:solidFill>
                      <a:prstDash val="solid"/>
                      <a:round/>
                      <a:headEnd type="none" w="med" len="med"/>
                      <a:tailEnd type="none" w="med" len="med"/>
                    </a:lnB>
                    <a:noFill/>
                  </a:tcPr>
                </a:tc>
                <a:tc>
                  <a:txBody>
                    <a:bodyPr/>
                    <a:lstStyle/>
                    <a:p>
                      <a:pPr rtl="0"/>
                      <a:r>
                        <a:rPr lang="pt-BR" sz="1200" b="0" noProof="1"/>
                        <a:t>Placeholder for comment</a:t>
                      </a:r>
                      <a:endParaRPr lang="pt-BR" sz="1200" b="0" i="0" noProof="1">
                        <a:latin typeface="Graphik" panose="020B0503030202060203" pitchFamily="34" charset="77"/>
                      </a:endParaRPr>
                    </a:p>
                  </a:txBody>
                  <a:tcPr>
                    <a:lnB w="9525" cap="flat" cmpd="sng" algn="ctr">
                      <a:solidFill>
                        <a:schemeClr val="tx1">
                          <a:lumMod val="75000"/>
                          <a:lumOff val="25000"/>
                        </a:schemeClr>
                      </a:solidFill>
                      <a:prstDash val="solid"/>
                      <a:round/>
                      <a:headEnd type="none" w="med" len="med"/>
                      <a:tailEnd type="none" w="med" len="med"/>
                    </a:lnB>
                    <a:noFill/>
                  </a:tcPr>
                </a:tc>
                <a:extLst>
                  <a:ext uri="{0D108BD9-81ED-4DB2-BD59-A6C34878D82A}">
                    <a16:rowId xmlns:a16="http://schemas.microsoft.com/office/drawing/2014/main" val="557612573"/>
                  </a:ext>
                </a:extLst>
              </a:tr>
              <a:tr h="365971">
                <a:tc>
                  <a:txBody>
                    <a:bodyPr/>
                    <a:lstStyle/>
                    <a:p>
                      <a:pPr rtl="0"/>
                      <a:r>
                        <a:rPr lang="pt-BR" sz="1200" b="0" noProof="1">
                          <a:solidFill>
                            <a:schemeClr val="tx1"/>
                          </a:solidFill>
                        </a:rPr>
                        <a:t>Workstream objectives</a:t>
                      </a:r>
                      <a:endParaRPr lang="pt-BR" sz="1200" b="0" i="0" noProof="1">
                        <a:solidFill>
                          <a:schemeClr val="tx1"/>
                        </a:solidFill>
                        <a:latin typeface="Graphik" panose="020B0503030202060203" pitchFamily="34" charset="77"/>
                      </a:endParaRPr>
                    </a:p>
                  </a:txBody>
                  <a:tcP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pPr algn="l" rtl="0"/>
                      <a:r>
                        <a:rPr lang="pt-BR" sz="1200" b="1" i="0" noProof="1">
                          <a:solidFill>
                            <a:schemeClr val="tx1"/>
                          </a:solidFill>
                          <a:latin typeface="Graphik Semibold" panose="020B0503030202060203" pitchFamily="34" charset="77"/>
                        </a:rPr>
                        <a:t>Delayed</a:t>
                      </a:r>
                    </a:p>
                  </a:txBody>
                  <a:tcP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pt-BR" sz="1200" b="0" noProof="1"/>
                        <a:t>Placeholder for comment</a:t>
                      </a:r>
                      <a:endParaRPr lang="pt-BR" sz="1200" b="0" i="0" noProof="1">
                        <a:latin typeface="Graphik" panose="020B0503030202060203" pitchFamily="34" charset="77"/>
                      </a:endParaRPr>
                    </a:p>
                  </a:txBody>
                  <a:tcP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extLst>
                  <a:ext uri="{0D108BD9-81ED-4DB2-BD59-A6C34878D82A}">
                    <a16:rowId xmlns:a16="http://schemas.microsoft.com/office/drawing/2014/main" val="615973145"/>
                  </a:ext>
                </a:extLst>
              </a:tr>
              <a:tr h="365971">
                <a:tc>
                  <a:txBody>
                    <a:bodyPr/>
                    <a:lstStyle/>
                    <a:p>
                      <a:pPr rtl="0"/>
                      <a:r>
                        <a:rPr lang="pt-BR" sz="1200" b="0" noProof="1">
                          <a:solidFill>
                            <a:schemeClr val="tx1"/>
                          </a:solidFill>
                        </a:rPr>
                        <a:t>Client value delivered</a:t>
                      </a:r>
                      <a:endParaRPr lang="pt-BR" sz="1200" b="0" i="0" noProof="1">
                        <a:solidFill>
                          <a:schemeClr val="tx1"/>
                        </a:solidFill>
                        <a:latin typeface="Graphik" panose="020B0503030202060203" pitchFamily="34" charset="77"/>
                      </a:endParaRPr>
                    </a:p>
                  </a:txBody>
                  <a:tcP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pPr algn="l" rtl="0"/>
                      <a:r>
                        <a:rPr lang="pt-BR" sz="1200" b="1" i="0" noProof="1">
                          <a:solidFill>
                            <a:schemeClr val="tx1"/>
                          </a:solidFill>
                          <a:latin typeface="Graphik Semibold" panose="020B0503030202060203" pitchFamily="34" charset="77"/>
                        </a:rPr>
                        <a:t>Needs attention</a:t>
                      </a:r>
                    </a:p>
                  </a:txBody>
                  <a:tcP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pt-BR" sz="1200" b="0" noProof="1"/>
                        <a:t>Placeholder for comment</a:t>
                      </a:r>
                      <a:endParaRPr lang="pt-BR" sz="1200" b="0" i="0" noProof="1">
                        <a:latin typeface="Graphik" panose="020B0503030202060203" pitchFamily="34" charset="77"/>
                      </a:endParaRPr>
                    </a:p>
                  </a:txBody>
                  <a:tcP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extLst>
                  <a:ext uri="{0D108BD9-81ED-4DB2-BD59-A6C34878D82A}">
                    <a16:rowId xmlns:a16="http://schemas.microsoft.com/office/drawing/2014/main" val="2687627321"/>
                  </a:ext>
                </a:extLst>
              </a:tr>
              <a:tr h="365971">
                <a:tc>
                  <a:txBody>
                    <a:bodyPr/>
                    <a:lstStyle/>
                    <a:p>
                      <a:pPr rtl="0"/>
                      <a:r>
                        <a:rPr lang="pt-BR" sz="1200" b="0" noProof="1">
                          <a:solidFill>
                            <a:schemeClr val="tx1"/>
                          </a:solidFill>
                        </a:rPr>
                        <a:t>Budget</a:t>
                      </a:r>
                      <a:endParaRPr lang="pt-BR" sz="1200" b="0" i="0" noProof="1">
                        <a:solidFill>
                          <a:schemeClr val="tx1"/>
                        </a:solidFill>
                        <a:latin typeface="Graphik" panose="020B0503030202060203" pitchFamily="34" charset="77"/>
                      </a:endParaRPr>
                    </a:p>
                  </a:txBody>
                  <a:tcPr>
                    <a:lnT w="9525" cap="flat" cmpd="sng" algn="ctr">
                      <a:solidFill>
                        <a:schemeClr val="tx1">
                          <a:lumMod val="75000"/>
                          <a:lumOff val="25000"/>
                        </a:schemeClr>
                      </a:solidFill>
                      <a:prstDash val="solid"/>
                      <a:round/>
                      <a:headEnd type="none" w="med" len="med"/>
                      <a:tailEnd type="none" w="med" len="med"/>
                    </a:lnT>
                    <a:noFill/>
                  </a:tcPr>
                </a:tc>
                <a:tc>
                  <a:txBody>
                    <a:bodyPr/>
                    <a:lstStyle/>
                    <a:p>
                      <a:pPr algn="l" rtl="0"/>
                      <a:r>
                        <a:rPr lang="pt-BR" sz="1200" b="1" i="0" noProof="1">
                          <a:solidFill>
                            <a:schemeClr val="tx1"/>
                          </a:solidFill>
                          <a:latin typeface="Graphik Semibold" panose="020B0503030202060203" pitchFamily="34" charset="77"/>
                        </a:rPr>
                        <a:t>In progress</a:t>
                      </a:r>
                    </a:p>
                  </a:txBody>
                  <a:tcPr>
                    <a:lnT w="9525" cap="flat" cmpd="sng" algn="ctr">
                      <a:solidFill>
                        <a:schemeClr val="tx1">
                          <a:lumMod val="75000"/>
                          <a:lumOff val="25000"/>
                        </a:schemeClr>
                      </a:solidFill>
                      <a:prstDash val="solid"/>
                      <a:round/>
                      <a:headEnd type="none" w="med" len="med"/>
                      <a:tailEnd type="none" w="med" len="med"/>
                    </a:lnT>
                    <a:no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pt-BR" sz="1200" b="0" noProof="1"/>
                        <a:t>Placeholder for comment</a:t>
                      </a:r>
                      <a:endParaRPr lang="pt-BR" sz="1200" b="0" i="0" noProof="1">
                        <a:latin typeface="Graphik" panose="020B0503030202060203" pitchFamily="34" charset="77"/>
                      </a:endParaRPr>
                    </a:p>
                  </a:txBody>
                  <a:tcPr>
                    <a:lnT w="9525" cap="flat" cmpd="sng" algn="ctr">
                      <a:solidFill>
                        <a:schemeClr val="tx1">
                          <a:lumMod val="75000"/>
                          <a:lumOff val="25000"/>
                        </a:schemeClr>
                      </a:solidFill>
                      <a:prstDash val="solid"/>
                      <a:round/>
                      <a:headEnd type="none" w="med" len="med"/>
                      <a:tailEnd type="none" w="med" len="med"/>
                    </a:lnT>
                    <a:noFill/>
                  </a:tcPr>
                </a:tc>
                <a:extLst>
                  <a:ext uri="{0D108BD9-81ED-4DB2-BD59-A6C34878D82A}">
                    <a16:rowId xmlns:a16="http://schemas.microsoft.com/office/drawing/2014/main" val="999117022"/>
                  </a:ext>
                </a:extLst>
              </a:tr>
            </a:tbl>
          </a:graphicData>
        </a:graphic>
      </p:graphicFrame>
      <p:graphicFrame>
        <p:nvGraphicFramePr>
          <p:cNvPr id="8" name="Table 7" descr="A section with space for a brief description of progress since the last report. It provides placeholders for comments, including a focus on positive changes and specific objectives or issues that were met.">
            <a:extLst>
              <a:ext uri="{FF2B5EF4-FFF2-40B4-BE49-F238E27FC236}">
                <a16:creationId xmlns:a16="http://schemas.microsoft.com/office/drawing/2014/main" id="{39B80B31-6277-A50F-4EB0-D7DCCCAEDA1C}"/>
              </a:ext>
            </a:extLst>
          </p:cNvPr>
          <p:cNvGraphicFramePr>
            <a:graphicFrameLocks noGrp="1"/>
          </p:cNvGraphicFramePr>
          <p:nvPr>
            <p:extLst>
              <p:ext uri="{D42A27DB-BD31-4B8C-83A1-F6EECF244321}">
                <p14:modId xmlns:p14="http://schemas.microsoft.com/office/powerpoint/2010/main" val="1398491331"/>
              </p:ext>
            </p:extLst>
          </p:nvPr>
        </p:nvGraphicFramePr>
        <p:xfrm>
          <a:off x="6488254" y="1777507"/>
          <a:ext cx="5147279" cy="2164080"/>
        </p:xfrm>
        <a:graphic>
          <a:graphicData uri="http://schemas.openxmlformats.org/drawingml/2006/table">
            <a:tbl>
              <a:tblPr firstRow="1" bandRow="1">
                <a:tableStyleId>{F5AB1C69-6EDB-4FF4-983F-18BD219EF322}</a:tableStyleId>
              </a:tblPr>
              <a:tblGrid>
                <a:gridCol w="5147279">
                  <a:extLst>
                    <a:ext uri="{9D8B030D-6E8A-4147-A177-3AD203B41FA5}">
                      <a16:colId xmlns:a16="http://schemas.microsoft.com/office/drawing/2014/main" val="832522101"/>
                    </a:ext>
                  </a:extLst>
                </a:gridCol>
              </a:tblGrid>
              <a:tr h="338691">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pt-BR" sz="1600" b="0" i="0" kern="1200" noProof="1">
                          <a:solidFill>
                            <a:schemeClr val="bg1"/>
                          </a:solidFill>
                          <a:latin typeface="Graphik" panose="020B0503030202060203" pitchFamily="34" charset="77"/>
                          <a:ea typeface="+mn-ea"/>
                          <a:cs typeface="+mn-cs"/>
                        </a:rPr>
                        <a:t>Progress since last report</a:t>
                      </a:r>
                    </a:p>
                  </a:txBody>
                  <a:tcPr anchor="ctr">
                    <a:solidFill>
                      <a:schemeClr val="accent1"/>
                    </a:solidFill>
                  </a:tcPr>
                </a:tc>
                <a:extLst>
                  <a:ext uri="{0D108BD9-81ED-4DB2-BD59-A6C34878D82A}">
                    <a16:rowId xmlns:a16="http://schemas.microsoft.com/office/drawing/2014/main" val="1796861586"/>
                  </a:ext>
                </a:extLst>
              </a:tr>
              <a:tr h="1825389">
                <a:tc>
                  <a:txBody>
                    <a:bodyPr/>
                    <a:lstStyle/>
                    <a:p>
                      <a:pPr marL="72000" marR="0" lvl="0" indent="-72000" algn="l" defTabSz="914400" rtl="0" eaLnBrk="1" fontAlgn="base" latinLnBrk="0" hangingPunct="1">
                        <a:lnSpc>
                          <a:spcPct val="100000"/>
                        </a:lnSpc>
                        <a:spcBef>
                          <a:spcPct val="10000"/>
                        </a:spcBef>
                        <a:spcAft>
                          <a:spcPct val="0"/>
                        </a:spcAft>
                        <a:buClrTx/>
                        <a:buSzTx/>
                        <a:buFont typeface="Graphik" pitchFamily="34" charset="0"/>
                        <a:buChar char="•"/>
                        <a:tabLst/>
                      </a:pPr>
                      <a:r>
                        <a:rPr kumimoji="0" lang="pt-BR" sz="1200" b="0" u="none" strike="noStrike" cap="none" normalizeH="0" baseline="0" noProof="1">
                          <a:ln>
                            <a:noFill/>
                          </a:ln>
                          <a:solidFill>
                            <a:schemeClr val="tx1"/>
                          </a:solidFill>
                          <a:effectLst/>
                        </a:rPr>
                        <a:t>&lt;Brief statement on positive changes since last report&gt;</a:t>
                      </a:r>
                    </a:p>
                    <a:p>
                      <a:pPr marL="72000" marR="0" lvl="0" indent="-72000" algn="l" defTabSz="914400" rtl="0" eaLnBrk="1" fontAlgn="base" latinLnBrk="0" hangingPunct="1">
                        <a:lnSpc>
                          <a:spcPct val="100000"/>
                        </a:lnSpc>
                        <a:spcBef>
                          <a:spcPct val="10000"/>
                        </a:spcBef>
                        <a:spcAft>
                          <a:spcPct val="0"/>
                        </a:spcAft>
                        <a:buClrTx/>
                        <a:buSzTx/>
                        <a:buFont typeface="Graphik" pitchFamily="34" charset="0"/>
                        <a:buChar char="•"/>
                        <a:tabLst/>
                      </a:pPr>
                      <a:r>
                        <a:rPr kumimoji="0" lang="pt-BR" sz="1200" b="0" u="none" strike="noStrike" cap="none" normalizeH="0" baseline="0" noProof="1">
                          <a:ln>
                            <a:noFill/>
                          </a:ln>
                          <a:solidFill>
                            <a:schemeClr val="tx1"/>
                          </a:solidFill>
                          <a:effectLst/>
                        </a:rPr>
                        <a:t>&lt;Continue to specifically focus on  Issues/objectives met and overall value delivered to the client as documented in the value map/business case&gt;</a:t>
                      </a:r>
                      <a:endParaRPr kumimoji="0" lang="pt-BR" sz="1200" b="0" i="0" u="none" strike="noStrike" cap="none" normalizeH="0" baseline="0" noProof="1">
                        <a:ln>
                          <a:noFill/>
                        </a:ln>
                        <a:solidFill>
                          <a:schemeClr val="tx1"/>
                        </a:solidFill>
                        <a:effectLst/>
                        <a:latin typeface="Graphik" panose="020B0503030202060203" pitchFamily="34" charset="77"/>
                      </a:endParaRPr>
                    </a:p>
                  </a:txBody>
                  <a:tcPr>
                    <a:noFill/>
                  </a:tcPr>
                </a:tc>
                <a:extLst>
                  <a:ext uri="{0D108BD9-81ED-4DB2-BD59-A6C34878D82A}">
                    <a16:rowId xmlns:a16="http://schemas.microsoft.com/office/drawing/2014/main" val="3904292920"/>
                  </a:ext>
                </a:extLst>
              </a:tr>
            </a:tbl>
          </a:graphicData>
        </a:graphic>
      </p:graphicFrame>
      <p:graphicFrame>
        <p:nvGraphicFramePr>
          <p:cNvPr id="9" name="Table 8" descr="A table with sections for 'Issues/Risks', 'Responsible', and 'End date'. It includes space for listing issues and risks, the person responsible for each, and the associated end date for resolution.">
            <a:extLst>
              <a:ext uri="{FF2B5EF4-FFF2-40B4-BE49-F238E27FC236}">
                <a16:creationId xmlns:a16="http://schemas.microsoft.com/office/drawing/2014/main" id="{5E905A0F-6118-A752-A4BE-52A6263BD20E}"/>
              </a:ext>
            </a:extLst>
          </p:cNvPr>
          <p:cNvGraphicFramePr>
            <a:graphicFrameLocks noGrp="1"/>
          </p:cNvGraphicFramePr>
          <p:nvPr>
            <p:extLst>
              <p:ext uri="{D42A27DB-BD31-4B8C-83A1-F6EECF244321}">
                <p14:modId xmlns:p14="http://schemas.microsoft.com/office/powerpoint/2010/main" val="3017366382"/>
              </p:ext>
            </p:extLst>
          </p:nvPr>
        </p:nvGraphicFramePr>
        <p:xfrm>
          <a:off x="528663" y="4121320"/>
          <a:ext cx="11112477" cy="2239952"/>
        </p:xfrm>
        <a:graphic>
          <a:graphicData uri="http://schemas.openxmlformats.org/drawingml/2006/table">
            <a:tbl>
              <a:tblPr firstRow="1" firstCol="1" bandRow="1">
                <a:tableStyleId>{8799B23B-EC83-4686-B30A-512413B5E67A}</a:tableStyleId>
              </a:tblPr>
              <a:tblGrid>
                <a:gridCol w="5919480">
                  <a:extLst>
                    <a:ext uri="{9D8B030D-6E8A-4147-A177-3AD203B41FA5}">
                      <a16:colId xmlns:a16="http://schemas.microsoft.com/office/drawing/2014/main" val="2282485881"/>
                    </a:ext>
                  </a:extLst>
                </a:gridCol>
                <a:gridCol w="3323910">
                  <a:extLst>
                    <a:ext uri="{9D8B030D-6E8A-4147-A177-3AD203B41FA5}">
                      <a16:colId xmlns:a16="http://schemas.microsoft.com/office/drawing/2014/main" val="3584059235"/>
                    </a:ext>
                  </a:extLst>
                </a:gridCol>
                <a:gridCol w="1869087">
                  <a:extLst>
                    <a:ext uri="{9D8B030D-6E8A-4147-A177-3AD203B41FA5}">
                      <a16:colId xmlns:a16="http://schemas.microsoft.com/office/drawing/2014/main" val="3511616355"/>
                    </a:ext>
                  </a:extLst>
                </a:gridCol>
              </a:tblGrid>
              <a:tr h="360020">
                <a:tc>
                  <a:txBody>
                    <a:bodyPr/>
                    <a:lstStyle/>
                    <a:p>
                      <a:pPr rtl="0"/>
                      <a:r>
                        <a:rPr lang="pt-BR" sz="1600" b="0" i="0" kern="1200" noProof="1">
                          <a:solidFill>
                            <a:schemeClr val="bg1"/>
                          </a:solidFill>
                          <a:latin typeface="Graphik" panose="020B0503030202060203" pitchFamily="34" charset="77"/>
                          <a:ea typeface="+mn-ea"/>
                          <a:cs typeface="+mn-cs"/>
                        </a:rPr>
                        <a:t>Issues / Risks</a:t>
                      </a:r>
                    </a:p>
                  </a:txBody>
                  <a:tcPr>
                    <a:solidFill>
                      <a:schemeClr val="accent1"/>
                    </a:solidFill>
                  </a:tcPr>
                </a:tc>
                <a:tc>
                  <a:txBody>
                    <a:bodyPr/>
                    <a:lstStyle/>
                    <a:p>
                      <a:pPr marL="0" algn="l" defTabSz="914377" rtl="0" eaLnBrk="1" latinLnBrk="0" hangingPunct="1"/>
                      <a:r>
                        <a:rPr lang="pt-BR" sz="1600" b="0" i="0" kern="1200" noProof="1">
                          <a:solidFill>
                            <a:schemeClr val="bg1"/>
                          </a:solidFill>
                          <a:latin typeface="Graphik" panose="020B0503030202060203" pitchFamily="34" charset="77"/>
                          <a:ea typeface="+mn-ea"/>
                          <a:cs typeface="+mn-cs"/>
                        </a:rPr>
                        <a:t>Responsible</a:t>
                      </a:r>
                    </a:p>
                  </a:txBody>
                  <a:tcPr>
                    <a:solidFill>
                      <a:schemeClr val="accent1"/>
                    </a:solidFill>
                  </a:tcPr>
                </a:tc>
                <a:tc>
                  <a:txBody>
                    <a:bodyPr/>
                    <a:lstStyle/>
                    <a:p>
                      <a:pPr marL="0" algn="l" defTabSz="914377" rtl="0" eaLnBrk="1" latinLnBrk="0" hangingPunct="1"/>
                      <a:r>
                        <a:rPr lang="pt-BR" sz="1600" b="0" i="0" kern="1200" noProof="1">
                          <a:solidFill>
                            <a:schemeClr val="bg1"/>
                          </a:solidFill>
                          <a:latin typeface="Graphik" panose="020B0503030202060203" pitchFamily="34" charset="77"/>
                          <a:ea typeface="+mn-ea"/>
                          <a:cs typeface="+mn-cs"/>
                        </a:rPr>
                        <a:t>End date</a:t>
                      </a:r>
                    </a:p>
                  </a:txBody>
                  <a:tcPr>
                    <a:solidFill>
                      <a:schemeClr val="accent1"/>
                    </a:solidFill>
                  </a:tcPr>
                </a:tc>
                <a:extLst>
                  <a:ext uri="{0D108BD9-81ED-4DB2-BD59-A6C34878D82A}">
                    <a16:rowId xmlns:a16="http://schemas.microsoft.com/office/drawing/2014/main" val="117353265"/>
                  </a:ext>
                </a:extLst>
              </a:tr>
              <a:tr h="333355">
                <a:tc>
                  <a:txBody>
                    <a:bodyPr/>
                    <a:lstStyle/>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t-BR" sz="1200" b="0" i="0" u="none" strike="noStrike" cap="none" normalizeH="0" baseline="0" noProof="1">
                          <a:ln>
                            <a:noFill/>
                          </a:ln>
                          <a:solidFill>
                            <a:schemeClr val="tx1"/>
                          </a:solidFill>
                          <a:effectLst/>
                          <a:latin typeface="Graphik" panose="020B0503030202060203" pitchFamily="34" charset="77"/>
                        </a:rPr>
                        <a:t>&lt;Issues and risks identified&gt;</a:t>
                      </a:r>
                    </a:p>
                  </a:txBody>
                  <a:tcPr>
                    <a:lnR w="9525" cap="flat" cmpd="sng" algn="ctr">
                      <a:solidFill>
                        <a:schemeClr val="tx1">
                          <a:lumMod val="75000"/>
                          <a:lumOff val="25000"/>
                        </a:schemeClr>
                      </a:solidFill>
                      <a:prstDash val="solid"/>
                      <a:round/>
                      <a:headEnd type="none" w="med" len="med"/>
                      <a:tailEnd type="none" w="med" len="med"/>
                    </a:lnR>
                    <a:no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pt-BR" sz="1200" b="0" i="0" u="none" strike="noStrike" cap="none" normalizeH="0" baseline="0" noProof="1">
                          <a:ln>
                            <a:noFill/>
                          </a:ln>
                          <a:solidFill>
                            <a:schemeClr val="tx1"/>
                          </a:solidFill>
                          <a:effectLst/>
                          <a:latin typeface="Graphik" panose="020B0503030202060203" pitchFamily="34" charset="77"/>
                        </a:rPr>
                        <a:t>&lt;Workstream team member&gt; </a:t>
                      </a:r>
                    </a:p>
                  </a:txBody>
                  <a:tcP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no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pt-BR" sz="1200" b="0" i="0" u="none" strike="noStrike" cap="none" normalizeH="0" baseline="0" noProof="1">
                          <a:ln>
                            <a:noFill/>
                          </a:ln>
                          <a:solidFill>
                            <a:schemeClr val="tx1"/>
                          </a:solidFill>
                          <a:effectLst/>
                          <a:latin typeface="Graphik" panose="020B0503030202060203" pitchFamily="34" charset="77"/>
                        </a:rPr>
                        <a:t>DD.MM.YYYY</a:t>
                      </a:r>
                    </a:p>
                  </a:txBody>
                  <a:tcPr>
                    <a:lnL w="9525" cap="flat" cmpd="sng" algn="ctr">
                      <a:solidFill>
                        <a:schemeClr val="tx1">
                          <a:lumMod val="75000"/>
                          <a:lumOff val="25000"/>
                        </a:schemeClr>
                      </a:solidFill>
                      <a:prstDash val="solid"/>
                      <a:round/>
                      <a:headEnd type="none" w="med" len="med"/>
                      <a:tailEnd type="none" w="med" len="med"/>
                    </a:lnL>
                    <a:noFill/>
                  </a:tcPr>
                </a:tc>
                <a:extLst>
                  <a:ext uri="{0D108BD9-81ED-4DB2-BD59-A6C34878D82A}">
                    <a16:rowId xmlns:a16="http://schemas.microsoft.com/office/drawing/2014/main" val="665535161"/>
                  </a:ext>
                </a:extLst>
              </a:tr>
              <a:tr h="36002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pt-BR" sz="1600" b="0" i="0" u="none" strike="noStrike" kern="1200" cap="none" normalizeH="0" baseline="0" noProof="1">
                          <a:ln>
                            <a:noFill/>
                          </a:ln>
                          <a:solidFill>
                            <a:schemeClr val="bg1"/>
                          </a:solidFill>
                          <a:effectLst/>
                          <a:latin typeface="Graphik" panose="020B0503030202060203" pitchFamily="34" charset="77"/>
                          <a:ea typeface="+mn-ea"/>
                          <a:cs typeface="+mn-cs"/>
                        </a:rPr>
                        <a:t>Necessary decisions</a:t>
                      </a:r>
                    </a:p>
                  </a:txBody>
                  <a:tcPr>
                    <a:solidFill>
                      <a:schemeClr val="accent1"/>
                    </a:solidFill>
                  </a:tcPr>
                </a:tc>
                <a:tc>
                  <a:txBody>
                    <a:bodyPr/>
                    <a:lstStyle/>
                    <a:p>
                      <a:pPr rtl="0"/>
                      <a:r>
                        <a:rPr lang="pt-BR" sz="1600" b="0" i="0" kern="1200" noProof="1">
                          <a:solidFill>
                            <a:schemeClr val="bg1"/>
                          </a:solidFill>
                          <a:latin typeface="Graphik" panose="020B0503030202060203" pitchFamily="34" charset="77"/>
                          <a:ea typeface="+mn-ea"/>
                          <a:cs typeface="+mn-cs"/>
                        </a:rPr>
                        <a:t>Responsible</a:t>
                      </a:r>
                      <a:endParaRPr lang="pt-BR" sz="1600" b="0" i="0" noProof="1">
                        <a:latin typeface="Graphik" panose="020B0503030202060203" pitchFamily="34" charset="77"/>
                      </a:endParaRPr>
                    </a:p>
                  </a:txBody>
                  <a:tcPr>
                    <a:solidFill>
                      <a:schemeClr val="accent1"/>
                    </a:solid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pt-BR" sz="1600" b="0" i="0" kern="1200" noProof="1">
                          <a:solidFill>
                            <a:schemeClr val="bg1"/>
                          </a:solidFill>
                          <a:latin typeface="Graphik" panose="020B0503030202060203" pitchFamily="34" charset="77"/>
                          <a:ea typeface="+mn-ea"/>
                          <a:cs typeface="+mn-cs"/>
                        </a:rPr>
                        <a:t>End date</a:t>
                      </a:r>
                    </a:p>
                  </a:txBody>
                  <a:tcPr>
                    <a:solidFill>
                      <a:schemeClr val="accent1"/>
                    </a:solidFill>
                  </a:tcPr>
                </a:tc>
                <a:extLst>
                  <a:ext uri="{0D108BD9-81ED-4DB2-BD59-A6C34878D82A}">
                    <a16:rowId xmlns:a16="http://schemas.microsoft.com/office/drawing/2014/main" val="2583367362"/>
                  </a:ext>
                </a:extLst>
              </a:tr>
              <a:tr h="333355">
                <a:tc>
                  <a:txBody>
                    <a:bodyPr/>
                    <a:lstStyle/>
                    <a:p>
                      <a:pPr marL="285750" marR="0" lvl="0" indent="-285750" algn="l" defTabSz="914400" rtl="0" eaLnBrk="1" fontAlgn="base" latinLnBrk="0" hangingPunct="1">
                        <a:lnSpc>
                          <a:spcPct val="100000"/>
                        </a:lnSpc>
                        <a:spcBef>
                          <a:spcPct val="10000"/>
                        </a:spcBef>
                        <a:spcAft>
                          <a:spcPct val="0"/>
                        </a:spcAft>
                        <a:buClrTx/>
                        <a:buSzTx/>
                        <a:buFont typeface="Arial" panose="020B0604020202020204" pitchFamily="34" charset="0"/>
                        <a:buChar char="•"/>
                        <a:tabLst/>
                      </a:pPr>
                      <a:r>
                        <a:rPr kumimoji="0" lang="pt-BR" sz="1200" b="0" i="0" u="none" strike="noStrike" cap="none" normalizeH="0" baseline="0" noProof="1">
                          <a:ln>
                            <a:noFill/>
                          </a:ln>
                          <a:solidFill>
                            <a:schemeClr val="tx1"/>
                          </a:solidFill>
                          <a:effectLst/>
                          <a:latin typeface="Graphik" panose="020B0503030202060203" pitchFamily="34" charset="77"/>
                        </a:rPr>
                        <a:t>&lt;Decisions needed to solve issues/risks&gt;</a:t>
                      </a:r>
                    </a:p>
                  </a:txBody>
                  <a:tcPr>
                    <a:lnR w="9525" cap="flat" cmpd="sng" algn="ctr">
                      <a:solidFill>
                        <a:schemeClr val="tx1">
                          <a:lumMod val="75000"/>
                          <a:lumOff val="25000"/>
                        </a:schemeClr>
                      </a:solidFill>
                      <a:prstDash val="solid"/>
                      <a:round/>
                      <a:headEnd type="none" w="med" len="med"/>
                      <a:tailEnd type="none" w="med" len="med"/>
                    </a:lnR>
                    <a:no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pt-BR" sz="1200" b="0" i="0" u="none" strike="noStrike" cap="none" normalizeH="0" baseline="0" noProof="1">
                          <a:ln>
                            <a:noFill/>
                          </a:ln>
                          <a:solidFill>
                            <a:schemeClr val="tx1"/>
                          </a:solidFill>
                          <a:effectLst/>
                          <a:latin typeface="Graphik" panose="020B0503030202060203" pitchFamily="34" charset="77"/>
                        </a:rPr>
                        <a:t>&lt;Name, department&gt;</a:t>
                      </a:r>
                    </a:p>
                  </a:txBody>
                  <a:tcP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no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pt-BR" sz="1200" b="0" i="0" u="none" strike="noStrike" cap="none" normalizeH="0" baseline="0" noProof="1">
                          <a:ln>
                            <a:noFill/>
                          </a:ln>
                          <a:solidFill>
                            <a:schemeClr val="tx1"/>
                          </a:solidFill>
                          <a:effectLst/>
                          <a:latin typeface="Graphik" panose="020B0503030202060203" pitchFamily="34" charset="77"/>
                        </a:rPr>
                        <a:t>DD.MM.YYYY</a:t>
                      </a:r>
                    </a:p>
                  </a:txBody>
                  <a:tcPr>
                    <a:lnL w="9525" cap="flat" cmpd="sng" algn="ctr">
                      <a:solidFill>
                        <a:schemeClr val="tx1">
                          <a:lumMod val="75000"/>
                          <a:lumOff val="25000"/>
                        </a:schemeClr>
                      </a:solidFill>
                      <a:prstDash val="solid"/>
                      <a:round/>
                      <a:headEnd type="none" w="med" len="med"/>
                      <a:tailEnd type="none" w="med" len="med"/>
                    </a:lnL>
                    <a:noFill/>
                  </a:tcPr>
                </a:tc>
                <a:extLst>
                  <a:ext uri="{0D108BD9-81ED-4DB2-BD59-A6C34878D82A}">
                    <a16:rowId xmlns:a16="http://schemas.microsoft.com/office/drawing/2014/main" val="2301704386"/>
                  </a:ext>
                </a:extLst>
              </a:tr>
              <a:tr h="36002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pt-BR" sz="1600" b="0" i="0" u="none" strike="noStrike" kern="1200" cap="none" normalizeH="0" baseline="0" noProof="1">
                          <a:ln>
                            <a:noFill/>
                          </a:ln>
                          <a:solidFill>
                            <a:schemeClr val="bg1"/>
                          </a:solidFill>
                          <a:effectLst/>
                          <a:latin typeface="Graphik" panose="020B0503030202060203" pitchFamily="34" charset="77"/>
                          <a:ea typeface="+mn-ea"/>
                          <a:cs typeface="+mn-cs"/>
                        </a:rPr>
                        <a:t>Next steps</a:t>
                      </a:r>
                    </a:p>
                  </a:txBody>
                  <a:tcPr>
                    <a:solidFill>
                      <a:schemeClr val="accent1"/>
                    </a:solidFill>
                  </a:tcPr>
                </a:tc>
                <a:tc>
                  <a:txBody>
                    <a:bodyPr/>
                    <a:lstStyle/>
                    <a:p>
                      <a:pPr rtl="0"/>
                      <a:r>
                        <a:rPr lang="pt-BR" sz="1600" b="0" i="0" kern="1200" noProof="1">
                          <a:solidFill>
                            <a:schemeClr val="bg1"/>
                          </a:solidFill>
                          <a:latin typeface="Graphik" panose="020B0503030202060203" pitchFamily="34" charset="77"/>
                          <a:ea typeface="+mn-ea"/>
                          <a:cs typeface="+mn-cs"/>
                        </a:rPr>
                        <a:t>Responsible</a:t>
                      </a:r>
                      <a:endParaRPr lang="pt-BR" sz="1600" b="0" i="0" noProof="1">
                        <a:latin typeface="Graphik" panose="020B0503030202060203" pitchFamily="34" charset="77"/>
                      </a:endParaRPr>
                    </a:p>
                  </a:txBody>
                  <a:tcPr>
                    <a:solidFill>
                      <a:schemeClr val="accent1"/>
                    </a:solid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pt-BR" sz="1600" b="0" i="0" kern="1200" noProof="1">
                          <a:solidFill>
                            <a:schemeClr val="bg1"/>
                          </a:solidFill>
                          <a:latin typeface="Graphik" panose="020B0503030202060203" pitchFamily="34" charset="77"/>
                          <a:ea typeface="+mn-ea"/>
                          <a:cs typeface="+mn-cs"/>
                        </a:rPr>
                        <a:t>End date</a:t>
                      </a:r>
                    </a:p>
                  </a:txBody>
                  <a:tcPr>
                    <a:solidFill>
                      <a:schemeClr val="accent1"/>
                    </a:solidFill>
                  </a:tcPr>
                </a:tc>
                <a:extLst>
                  <a:ext uri="{0D108BD9-81ED-4DB2-BD59-A6C34878D82A}">
                    <a16:rowId xmlns:a16="http://schemas.microsoft.com/office/drawing/2014/main" val="2301057569"/>
                  </a:ext>
                </a:extLst>
              </a:tr>
              <a:tr h="493182">
                <a:tc>
                  <a:txBody>
                    <a:bodyPr/>
                    <a:lstStyle/>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t-BR" sz="1200" b="0" i="0" u="none" strike="noStrike" cap="none" normalizeH="0" baseline="0" noProof="1">
                          <a:ln>
                            <a:noFill/>
                          </a:ln>
                          <a:solidFill>
                            <a:schemeClr val="tx1"/>
                          </a:solidFill>
                          <a:effectLst/>
                          <a:latin typeface="Graphik" panose="020B0503030202060203" pitchFamily="34" charset="77"/>
                        </a:rPr>
                        <a:t>&lt;Action items to be done until next report&gt;</a:t>
                      </a:r>
                    </a:p>
                  </a:txBody>
                  <a:tcPr>
                    <a:lnR w="9525" cap="flat" cmpd="sng" algn="ctr">
                      <a:solidFill>
                        <a:schemeClr val="tx1">
                          <a:lumMod val="75000"/>
                          <a:lumOff val="25000"/>
                        </a:schemeClr>
                      </a:solidFill>
                      <a:prstDash val="solid"/>
                      <a:round/>
                      <a:headEnd type="none" w="med" len="med"/>
                      <a:tailEnd type="none" w="med" len="med"/>
                    </a:lnR>
                    <a:no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pt-BR" sz="1200" b="0" i="0" u="none" strike="noStrike" cap="none" normalizeH="0" baseline="0" noProof="1">
                          <a:ln>
                            <a:noFill/>
                          </a:ln>
                          <a:solidFill>
                            <a:schemeClr val="tx1"/>
                          </a:solidFill>
                          <a:effectLst/>
                          <a:latin typeface="Graphik" panose="020B0503030202060203" pitchFamily="34" charset="77"/>
                        </a:rPr>
                        <a:t>&lt;Workstream team member required&gt;</a:t>
                      </a:r>
                    </a:p>
                  </a:txBody>
                  <a:tcP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no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pt-BR" sz="1200" b="0" i="0" u="none" strike="noStrike" cap="none" normalizeH="0" baseline="0" noProof="1">
                          <a:ln>
                            <a:noFill/>
                          </a:ln>
                          <a:solidFill>
                            <a:schemeClr val="tx1"/>
                          </a:solidFill>
                          <a:effectLst/>
                          <a:latin typeface="Graphik" panose="020B0503030202060203" pitchFamily="34" charset="77"/>
                        </a:rPr>
                        <a:t>DD.MM.YYYY</a:t>
                      </a:r>
                    </a:p>
                  </a:txBody>
                  <a:tcPr>
                    <a:lnL w="9525" cap="flat" cmpd="sng" algn="ctr">
                      <a:solidFill>
                        <a:schemeClr val="tx1">
                          <a:lumMod val="75000"/>
                          <a:lumOff val="25000"/>
                        </a:schemeClr>
                      </a:solidFill>
                      <a:prstDash val="solid"/>
                      <a:round/>
                      <a:headEnd type="none" w="med" len="med"/>
                      <a:tailEnd type="none" w="med" len="med"/>
                    </a:lnL>
                    <a:noFill/>
                  </a:tcPr>
                </a:tc>
                <a:extLst>
                  <a:ext uri="{0D108BD9-81ED-4DB2-BD59-A6C34878D82A}">
                    <a16:rowId xmlns:a16="http://schemas.microsoft.com/office/drawing/2014/main" val="475032383"/>
                  </a:ext>
                </a:extLst>
              </a:tr>
            </a:tbl>
          </a:graphicData>
        </a:graphic>
      </p:graphicFrame>
    </p:spTree>
    <p:extLst>
      <p:ext uri="{BB962C8B-B14F-4D97-AF65-F5344CB8AC3E}">
        <p14:creationId xmlns:p14="http://schemas.microsoft.com/office/powerpoint/2010/main" val="110241695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0" name="think-cell data - do not delete" hidden="1">
            <a:extLst>
              <a:ext uri="{FF2B5EF4-FFF2-40B4-BE49-F238E27FC236}">
                <a16:creationId xmlns:a16="http://schemas.microsoft.com/office/drawing/2014/main" id="{F9F11A79-E084-49E7-7237-725D302D1FFA}"/>
              </a:ext>
            </a:extLst>
          </p:cNvPr>
          <p:cNvGraphicFramePr>
            <a:graphicFrameLocks noChangeAspect="1"/>
          </p:cNvGraphicFramePr>
          <p:nvPr>
            <p:custDataLst>
              <p:tags r:id="rId1"/>
            </p:custDataLst>
            <p:extLst>
              <p:ext uri="{D42A27DB-BD31-4B8C-83A1-F6EECF244321}">
                <p14:modId xmlns:p14="http://schemas.microsoft.com/office/powerpoint/2010/main" val="3174377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50" name="think-cell data - do not delete" hidden="1">
                        <a:extLst>
                          <a:ext uri="{FF2B5EF4-FFF2-40B4-BE49-F238E27FC236}">
                            <a16:creationId xmlns:a16="http://schemas.microsoft.com/office/drawing/2014/main" id="{F9F11A79-E084-49E7-7237-725D302D1F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30B4296-9745-48A9-909B-7BED971230FC}"/>
              </a:ext>
            </a:extLst>
          </p:cNvPr>
          <p:cNvSpPr>
            <a:spLocks noGrp="1"/>
          </p:cNvSpPr>
          <p:nvPr>
            <p:ph type="title"/>
          </p:nvPr>
        </p:nvSpPr>
        <p:spPr/>
        <p:txBody>
          <a:bodyPr vert="horz"/>
          <a:lstStyle/>
          <a:p>
            <a:r>
              <a:rPr lang="pt-BR" noProof="1"/>
              <a:t>Project timeline </a:t>
            </a:r>
            <a:r>
              <a:rPr lang="pt-BR" noProof="1">
                <a:solidFill>
                  <a:srgbClr val="FFFFFF"/>
                </a:solidFill>
              </a:rPr>
              <a:t>2</a:t>
            </a:r>
          </a:p>
        </p:txBody>
      </p:sp>
      <p:grpSp>
        <p:nvGrpSpPr>
          <p:cNvPr id="2" name="Group 1" descr="Example of a project timeline with major tasks and milestones plotted across months. Dependencies and key deliverables are noted in a table below the chart.">
            <a:extLst>
              <a:ext uri="{FF2B5EF4-FFF2-40B4-BE49-F238E27FC236}">
                <a16:creationId xmlns:a16="http://schemas.microsoft.com/office/drawing/2014/main" id="{29B95B35-2188-4200-8356-CFDD4B890D1C}"/>
              </a:ext>
              <a:ext uri="{C183D7F6-B498-43B3-948B-1728B52AA6E4}">
                <adec:decorative xmlns:adec="http://schemas.microsoft.com/office/drawing/2017/decorative" val="0"/>
              </a:ext>
            </a:extLst>
          </p:cNvPr>
          <p:cNvGrpSpPr/>
          <p:nvPr/>
        </p:nvGrpSpPr>
        <p:grpSpPr>
          <a:xfrm>
            <a:off x="2027548" y="1037927"/>
            <a:ext cx="8140060" cy="3830208"/>
            <a:chOff x="2027549" y="1192164"/>
            <a:chExt cx="8140059" cy="3830207"/>
          </a:xfrm>
        </p:grpSpPr>
        <p:sp>
          <p:nvSpPr>
            <p:cNvPr id="7" name="Rectangle 90">
              <a:extLst>
                <a:ext uri="{FF2B5EF4-FFF2-40B4-BE49-F238E27FC236}">
                  <a16:creationId xmlns:a16="http://schemas.microsoft.com/office/drawing/2014/main" id="{4093FF5F-46C8-4B3E-9154-584FBEDA7A27}"/>
                </a:ext>
              </a:extLst>
            </p:cNvPr>
            <p:cNvSpPr>
              <a:spLocks noChangeArrowheads="1"/>
            </p:cNvSpPr>
            <p:nvPr/>
          </p:nvSpPr>
          <p:spPr bwMode="auto">
            <a:xfrm>
              <a:off x="8194058" y="4374848"/>
              <a:ext cx="1258152" cy="152400"/>
            </a:xfrm>
            <a:prstGeom prst="rect">
              <a:avLst/>
            </a:prstGeom>
            <a:solidFill>
              <a:schemeClr val="bg2"/>
            </a:solidFill>
            <a:ln w="12700" algn="ctr">
              <a:noFill/>
              <a:miter lim="800000"/>
              <a:headEnd/>
              <a:tailEnd/>
            </a:ln>
            <a:effectLst/>
          </p:spPr>
          <p:txBody>
            <a:bodyPr wrap="none" lIns="36000" tIns="0" rIns="36000" bIns="0" anchor="ctr"/>
            <a:lstStyle/>
            <a:p>
              <a:pPr defTabSz="787380">
                <a:defRPr/>
              </a:pPr>
              <a:r>
                <a:rPr lang="pt-BR" sz="800" kern="0" noProof="1">
                  <a:solidFill>
                    <a:schemeClr val="bg1"/>
                  </a:solidFill>
                  <a:latin typeface="Graphik" panose="020B0503030202060203" pitchFamily="34" charset="77"/>
                </a:rPr>
                <a:t>Metrics development</a:t>
              </a:r>
            </a:p>
          </p:txBody>
        </p:sp>
        <p:pic>
          <p:nvPicPr>
            <p:cNvPr id="8" name="Picture 3" descr="Add text and order accordingly">
              <a:extLst>
                <a:ext uri="{FF2B5EF4-FFF2-40B4-BE49-F238E27FC236}">
                  <a16:creationId xmlns:a16="http://schemas.microsoft.com/office/drawing/2014/main" id="{A3B332C4-29C3-4A07-8A71-370017421FED}"/>
                </a:ext>
              </a:extLst>
            </p:cNvPr>
            <p:cNvPicPr>
              <a:picLocks noChangeAspect="1" noChangeArrowheads="1"/>
            </p:cNvPicPr>
            <p:nvPr/>
          </p:nvPicPr>
          <p:blipFill rotWithShape="1">
            <a:blip r:embed="rId6" cstate="print"/>
            <a:srcRect l="2638" t="5662" r="3965" b="3528"/>
            <a:stretch/>
          </p:blipFill>
          <p:spPr bwMode="auto">
            <a:xfrm>
              <a:off x="2027549" y="2200424"/>
              <a:ext cx="2382385" cy="1816419"/>
            </a:xfrm>
            <a:prstGeom prst="rect">
              <a:avLst/>
            </a:prstGeom>
            <a:noFill/>
            <a:ln w="9525">
              <a:noFill/>
              <a:miter lim="800000"/>
              <a:headEnd/>
              <a:tailEnd/>
            </a:ln>
            <a:effectLst/>
          </p:spPr>
        </p:pic>
        <p:sp>
          <p:nvSpPr>
            <p:cNvPr id="9" name="Line 37">
              <a:extLst>
                <a:ext uri="{FF2B5EF4-FFF2-40B4-BE49-F238E27FC236}">
                  <a16:creationId xmlns:a16="http://schemas.microsoft.com/office/drawing/2014/main" id="{74876A3F-DE1F-4D31-A630-F77C690F9C9C}"/>
                </a:ext>
                <a:ext uri="{C183D7F6-B498-43B3-948B-1728B52AA6E4}">
                  <adec:decorative xmlns:adec="http://schemas.microsoft.com/office/drawing/2017/decorative" val="1"/>
                </a:ext>
              </a:extLst>
            </p:cNvPr>
            <p:cNvSpPr>
              <a:spLocks noChangeShapeType="1"/>
            </p:cNvSpPr>
            <p:nvPr/>
          </p:nvSpPr>
          <p:spPr bwMode="auto">
            <a:xfrm flipV="1">
              <a:off x="2884178" y="1801553"/>
              <a:ext cx="2135629" cy="603720"/>
            </a:xfrm>
            <a:prstGeom prst="line">
              <a:avLst/>
            </a:prstGeom>
            <a:noFill/>
            <a:ln w="6350">
              <a:solidFill>
                <a:srgbClr val="BE82FF"/>
              </a:solidFill>
              <a:prstDash val="dash"/>
              <a:round/>
              <a:headEnd/>
              <a:tailEnd/>
            </a:ln>
            <a:effectLst/>
          </p:spPr>
          <p:txBody>
            <a:bodyPr wrap="none" lIns="0" tIns="0" rIns="0" bIns="0" anchor="ctr"/>
            <a:lstStyle/>
            <a:p>
              <a:pPr>
                <a:defRPr/>
              </a:pPr>
              <a:endParaRPr lang="pt-BR" sz="2400" kern="0" noProof="1">
                <a:solidFill>
                  <a:srgbClr val="000000"/>
                </a:solidFill>
                <a:latin typeface="Graphik" panose="020B0503030202060203" pitchFamily="34" charset="77"/>
              </a:endParaRPr>
            </a:p>
          </p:txBody>
        </p:sp>
        <p:sp>
          <p:nvSpPr>
            <p:cNvPr id="10" name="Line 38">
              <a:extLst>
                <a:ext uri="{FF2B5EF4-FFF2-40B4-BE49-F238E27FC236}">
                  <a16:creationId xmlns:a16="http://schemas.microsoft.com/office/drawing/2014/main" id="{D99DA9B5-743D-42C7-9275-0A9ACEED83A8}"/>
                </a:ext>
                <a:ext uri="{C183D7F6-B498-43B3-948B-1728B52AA6E4}">
                  <adec:decorative xmlns:adec="http://schemas.microsoft.com/office/drawing/2017/decorative" val="1"/>
                </a:ext>
              </a:extLst>
            </p:cNvPr>
            <p:cNvSpPr>
              <a:spLocks noChangeShapeType="1"/>
            </p:cNvSpPr>
            <p:nvPr/>
          </p:nvSpPr>
          <p:spPr bwMode="auto">
            <a:xfrm>
              <a:off x="2884178" y="2939283"/>
              <a:ext cx="2135629" cy="2083086"/>
            </a:xfrm>
            <a:prstGeom prst="line">
              <a:avLst/>
            </a:prstGeom>
            <a:noFill/>
            <a:ln w="6350">
              <a:solidFill>
                <a:srgbClr val="BE82FF"/>
              </a:solidFill>
              <a:prstDash val="dash"/>
              <a:round/>
              <a:headEnd/>
              <a:tailEnd/>
            </a:ln>
            <a:effectLst/>
          </p:spPr>
          <p:txBody>
            <a:bodyPr wrap="none" lIns="0" tIns="0" rIns="0" bIns="0" anchor="ctr"/>
            <a:lstStyle/>
            <a:p>
              <a:pPr>
                <a:defRPr/>
              </a:pPr>
              <a:endParaRPr lang="pt-BR" sz="2400" kern="0" noProof="1">
                <a:solidFill>
                  <a:srgbClr val="000000"/>
                </a:solidFill>
                <a:latin typeface="Graphik" panose="020B0503030202060203" pitchFamily="34" charset="77"/>
              </a:endParaRPr>
            </a:p>
          </p:txBody>
        </p:sp>
        <p:grpSp>
          <p:nvGrpSpPr>
            <p:cNvPr id="11" name="Group 11" descr="Add text and order accordingly">
              <a:extLst>
                <a:ext uri="{FF2B5EF4-FFF2-40B4-BE49-F238E27FC236}">
                  <a16:creationId xmlns:a16="http://schemas.microsoft.com/office/drawing/2014/main" id="{1F8E78F1-0353-45EE-93B4-DD86913C1014}"/>
                </a:ext>
              </a:extLst>
            </p:cNvPr>
            <p:cNvGrpSpPr/>
            <p:nvPr/>
          </p:nvGrpSpPr>
          <p:grpSpPr bwMode="auto">
            <a:xfrm>
              <a:off x="5951451" y="1716348"/>
              <a:ext cx="3133531" cy="3306023"/>
              <a:chOff x="4427450" y="1607480"/>
              <a:chExt cx="3133531" cy="3440114"/>
            </a:xfrm>
          </p:grpSpPr>
          <p:sp>
            <p:nvSpPr>
              <p:cNvPr id="12" name="Line 41">
                <a:extLst>
                  <a:ext uri="{FF2B5EF4-FFF2-40B4-BE49-F238E27FC236}">
                    <a16:creationId xmlns:a16="http://schemas.microsoft.com/office/drawing/2014/main" id="{73617D6C-5B05-4C6A-AD2E-A25CFAB020A8}"/>
                  </a:ext>
                </a:extLst>
              </p:cNvPr>
              <p:cNvSpPr>
                <a:spLocks noChangeShapeType="1"/>
              </p:cNvSpPr>
              <p:nvPr/>
            </p:nvSpPr>
            <p:spPr bwMode="auto">
              <a:xfrm>
                <a:off x="4427450" y="1607480"/>
                <a:ext cx="0" cy="3440113"/>
              </a:xfrm>
              <a:prstGeom prst="line">
                <a:avLst/>
              </a:prstGeom>
              <a:noFill/>
              <a:ln w="6350">
                <a:solidFill>
                  <a:srgbClr val="96968C"/>
                </a:solidFill>
                <a:prstDash val="dash"/>
                <a:round/>
                <a:headEnd/>
                <a:tailEnd/>
              </a:ln>
              <a:effectLst/>
            </p:spPr>
            <p:txBody>
              <a:bodyPr lIns="0" tIns="0" rIns="0" bIns="0" anchor="ctr"/>
              <a:lstStyle/>
              <a:p>
                <a:pPr>
                  <a:defRPr/>
                </a:pPr>
                <a:endParaRPr lang="pt-BR" sz="2400" kern="0" noProof="1">
                  <a:solidFill>
                    <a:srgbClr val="000000"/>
                  </a:solidFill>
                  <a:latin typeface="Graphik" panose="020B0503030202060203" pitchFamily="34" charset="77"/>
                </a:endParaRPr>
              </a:p>
            </p:txBody>
          </p:sp>
          <p:sp>
            <p:nvSpPr>
              <p:cNvPr id="13" name="Line 11">
                <a:extLst>
                  <a:ext uri="{FF2B5EF4-FFF2-40B4-BE49-F238E27FC236}">
                    <a16:creationId xmlns:a16="http://schemas.microsoft.com/office/drawing/2014/main" id="{F9857F70-A2E8-4EAE-9261-D220795CCA5F}"/>
                  </a:ext>
                </a:extLst>
              </p:cNvPr>
              <p:cNvSpPr>
                <a:spLocks noChangeShapeType="1"/>
              </p:cNvSpPr>
              <p:nvPr/>
            </p:nvSpPr>
            <p:spPr bwMode="auto">
              <a:xfrm>
                <a:off x="7560981" y="1607481"/>
                <a:ext cx="0" cy="3440113"/>
              </a:xfrm>
              <a:prstGeom prst="line">
                <a:avLst/>
              </a:prstGeom>
              <a:noFill/>
              <a:ln w="6350">
                <a:solidFill>
                  <a:srgbClr val="96968C"/>
                </a:solidFill>
                <a:prstDash val="dash"/>
                <a:round/>
                <a:headEnd/>
                <a:tailEnd/>
              </a:ln>
              <a:effectLst/>
            </p:spPr>
            <p:txBody>
              <a:bodyPr lIns="0" tIns="0" rIns="0" bIns="0" anchor="ctr"/>
              <a:lstStyle/>
              <a:p>
                <a:pPr>
                  <a:defRPr/>
                </a:pPr>
                <a:endParaRPr lang="pt-BR" sz="2400" kern="0" noProof="1">
                  <a:solidFill>
                    <a:srgbClr val="000000"/>
                  </a:solidFill>
                  <a:latin typeface="Graphik" panose="020B0503030202060203" pitchFamily="34" charset="77"/>
                </a:endParaRPr>
              </a:p>
            </p:txBody>
          </p:sp>
          <p:sp>
            <p:nvSpPr>
              <p:cNvPr id="14" name="Line 14">
                <a:extLst>
                  <a:ext uri="{FF2B5EF4-FFF2-40B4-BE49-F238E27FC236}">
                    <a16:creationId xmlns:a16="http://schemas.microsoft.com/office/drawing/2014/main" id="{E1E69420-BE03-43E9-993A-B6A616A81542}"/>
                  </a:ext>
                </a:extLst>
              </p:cNvPr>
              <p:cNvSpPr>
                <a:spLocks noChangeShapeType="1"/>
              </p:cNvSpPr>
              <p:nvPr/>
            </p:nvSpPr>
            <p:spPr bwMode="auto">
              <a:xfrm>
                <a:off x="6780348" y="1607480"/>
                <a:ext cx="0" cy="3440113"/>
              </a:xfrm>
              <a:prstGeom prst="line">
                <a:avLst/>
              </a:prstGeom>
              <a:noFill/>
              <a:ln w="6350">
                <a:solidFill>
                  <a:srgbClr val="96968C"/>
                </a:solidFill>
                <a:prstDash val="dash"/>
                <a:round/>
                <a:headEnd/>
                <a:tailEnd/>
              </a:ln>
              <a:effectLst/>
            </p:spPr>
            <p:txBody>
              <a:bodyPr lIns="0" tIns="0" rIns="0" bIns="0" anchor="ctr"/>
              <a:lstStyle/>
              <a:p>
                <a:pPr>
                  <a:defRPr/>
                </a:pPr>
                <a:endParaRPr lang="pt-BR" sz="2400" kern="0" noProof="1">
                  <a:solidFill>
                    <a:srgbClr val="000000"/>
                  </a:solidFill>
                  <a:latin typeface="Graphik" panose="020B0503030202060203" pitchFamily="34" charset="77"/>
                </a:endParaRPr>
              </a:p>
            </p:txBody>
          </p:sp>
          <p:sp>
            <p:nvSpPr>
              <p:cNvPr id="15" name="Line 12">
                <a:extLst>
                  <a:ext uri="{FF2B5EF4-FFF2-40B4-BE49-F238E27FC236}">
                    <a16:creationId xmlns:a16="http://schemas.microsoft.com/office/drawing/2014/main" id="{0DBE76E5-8123-443B-AAE4-2E7F9CE12FEB}"/>
                  </a:ext>
                </a:extLst>
              </p:cNvPr>
              <p:cNvSpPr>
                <a:spLocks noChangeShapeType="1"/>
              </p:cNvSpPr>
              <p:nvPr/>
            </p:nvSpPr>
            <p:spPr bwMode="auto">
              <a:xfrm>
                <a:off x="5996048" y="1607480"/>
                <a:ext cx="0" cy="3440113"/>
              </a:xfrm>
              <a:prstGeom prst="line">
                <a:avLst/>
              </a:prstGeom>
              <a:noFill/>
              <a:ln w="6350">
                <a:solidFill>
                  <a:srgbClr val="96968C"/>
                </a:solidFill>
                <a:prstDash val="dash"/>
                <a:round/>
                <a:headEnd/>
                <a:tailEnd/>
              </a:ln>
              <a:effectLst/>
            </p:spPr>
            <p:txBody>
              <a:bodyPr lIns="0" tIns="0" rIns="0" bIns="0" anchor="ctr"/>
              <a:lstStyle/>
              <a:p>
                <a:pPr>
                  <a:defRPr/>
                </a:pPr>
                <a:endParaRPr lang="pt-BR" sz="2400" kern="0" noProof="1">
                  <a:solidFill>
                    <a:srgbClr val="000000"/>
                  </a:solidFill>
                  <a:latin typeface="Graphik" panose="020B0503030202060203" pitchFamily="34" charset="77"/>
                </a:endParaRPr>
              </a:p>
            </p:txBody>
          </p:sp>
          <p:sp>
            <p:nvSpPr>
              <p:cNvPr id="16" name="Line 13">
                <a:extLst>
                  <a:ext uri="{FF2B5EF4-FFF2-40B4-BE49-F238E27FC236}">
                    <a16:creationId xmlns:a16="http://schemas.microsoft.com/office/drawing/2014/main" id="{E262F095-FF5D-4678-B92C-7E80513A326E}"/>
                  </a:ext>
                </a:extLst>
              </p:cNvPr>
              <p:cNvSpPr>
                <a:spLocks noChangeShapeType="1"/>
              </p:cNvSpPr>
              <p:nvPr/>
            </p:nvSpPr>
            <p:spPr bwMode="auto">
              <a:xfrm>
                <a:off x="5211749" y="1607480"/>
                <a:ext cx="0" cy="3440113"/>
              </a:xfrm>
              <a:prstGeom prst="line">
                <a:avLst/>
              </a:prstGeom>
              <a:noFill/>
              <a:ln w="6350">
                <a:solidFill>
                  <a:srgbClr val="96968C"/>
                </a:solidFill>
                <a:prstDash val="dash"/>
                <a:round/>
                <a:headEnd/>
                <a:tailEnd/>
              </a:ln>
              <a:effectLst/>
            </p:spPr>
            <p:txBody>
              <a:bodyPr lIns="0" tIns="0" rIns="0" bIns="0" anchor="ctr"/>
              <a:lstStyle/>
              <a:p>
                <a:pPr>
                  <a:defRPr/>
                </a:pPr>
                <a:endParaRPr lang="pt-BR" sz="2400" kern="0" noProof="1">
                  <a:solidFill>
                    <a:srgbClr val="000000"/>
                  </a:solidFill>
                  <a:latin typeface="Graphik" panose="020B0503030202060203" pitchFamily="34" charset="77"/>
                </a:endParaRPr>
              </a:p>
            </p:txBody>
          </p:sp>
        </p:grpSp>
        <p:sp>
          <p:nvSpPr>
            <p:cNvPr id="17" name="Text Box 15">
              <a:extLst>
                <a:ext uri="{FF2B5EF4-FFF2-40B4-BE49-F238E27FC236}">
                  <a16:creationId xmlns:a16="http://schemas.microsoft.com/office/drawing/2014/main" id="{C78B31CD-67B9-4DE9-ADCB-7B97273751EB}"/>
                </a:ext>
              </a:extLst>
            </p:cNvPr>
            <p:cNvSpPr txBox="1">
              <a:spLocks noChangeArrowheads="1"/>
            </p:cNvSpPr>
            <p:nvPr/>
          </p:nvSpPr>
          <p:spPr bwMode="auto">
            <a:xfrm>
              <a:off x="6474613" y="1192164"/>
              <a:ext cx="517491" cy="153888"/>
            </a:xfrm>
            <a:prstGeom prst="rect">
              <a:avLst/>
            </a:prstGeom>
            <a:noFill/>
            <a:ln w="9525" algn="ctr">
              <a:noFill/>
              <a:miter lim="800000"/>
              <a:headEnd/>
              <a:tailEnd/>
            </a:ln>
            <a:effectLst/>
          </p:spPr>
          <p:txBody>
            <a:bodyPr lIns="0" tIns="0" rIns="0" bIns="0">
              <a:spAutoFit/>
            </a:bodyPr>
            <a:lstStyle/>
            <a:p>
              <a:pPr algn="ctr">
                <a:defRPr/>
              </a:pPr>
              <a:r>
                <a:rPr lang="pt-BR" sz="1000" noProof="1">
                  <a:solidFill>
                    <a:srgbClr val="000000"/>
                  </a:solidFill>
                  <a:latin typeface="Graphik" panose="020B0503030202060203" pitchFamily="34" charset="77"/>
                  <a:cs typeface="Times New Roman" pitchFamily="18" charset="0"/>
                </a:rPr>
                <a:t>02/10</a:t>
              </a:r>
            </a:p>
          </p:txBody>
        </p:sp>
        <p:sp>
          <p:nvSpPr>
            <p:cNvPr id="18" name="Text Box 20">
              <a:extLst>
                <a:ext uri="{FF2B5EF4-FFF2-40B4-BE49-F238E27FC236}">
                  <a16:creationId xmlns:a16="http://schemas.microsoft.com/office/drawing/2014/main" id="{4EC80A12-9D0C-4AAD-9078-57DCB9216FAA}"/>
                </a:ext>
              </a:extLst>
            </p:cNvPr>
            <p:cNvSpPr txBox="1">
              <a:spLocks noChangeArrowheads="1"/>
            </p:cNvSpPr>
            <p:nvPr/>
          </p:nvSpPr>
          <p:spPr bwMode="auto">
            <a:xfrm>
              <a:off x="7266701" y="1192164"/>
              <a:ext cx="517491" cy="153888"/>
            </a:xfrm>
            <a:prstGeom prst="rect">
              <a:avLst/>
            </a:prstGeom>
            <a:noFill/>
            <a:ln w="9525" algn="ctr">
              <a:noFill/>
              <a:miter lim="800000"/>
              <a:headEnd/>
              <a:tailEnd/>
            </a:ln>
            <a:effectLst/>
          </p:spPr>
          <p:txBody>
            <a:bodyPr lIns="0" tIns="0" rIns="0" bIns="0">
              <a:spAutoFit/>
            </a:bodyPr>
            <a:lstStyle/>
            <a:p>
              <a:pPr algn="ctr">
                <a:defRPr/>
              </a:pPr>
              <a:r>
                <a:rPr lang="pt-BR" sz="1000" noProof="1">
                  <a:solidFill>
                    <a:srgbClr val="000000"/>
                  </a:solidFill>
                  <a:latin typeface="Graphik" panose="020B0503030202060203" pitchFamily="34" charset="77"/>
                  <a:cs typeface="Times New Roman" pitchFamily="18" charset="0"/>
                </a:rPr>
                <a:t>03/10</a:t>
              </a:r>
            </a:p>
          </p:txBody>
        </p:sp>
        <p:sp>
          <p:nvSpPr>
            <p:cNvPr id="19" name="Text Box 21">
              <a:extLst>
                <a:ext uri="{FF2B5EF4-FFF2-40B4-BE49-F238E27FC236}">
                  <a16:creationId xmlns:a16="http://schemas.microsoft.com/office/drawing/2014/main" id="{15197CD3-239A-46B5-9EBE-F5357DAFCBFC}"/>
                </a:ext>
              </a:extLst>
            </p:cNvPr>
            <p:cNvSpPr txBox="1">
              <a:spLocks noChangeArrowheads="1"/>
            </p:cNvSpPr>
            <p:nvPr/>
          </p:nvSpPr>
          <p:spPr bwMode="auto">
            <a:xfrm>
              <a:off x="8044143" y="1192164"/>
              <a:ext cx="517491" cy="153888"/>
            </a:xfrm>
            <a:prstGeom prst="rect">
              <a:avLst/>
            </a:prstGeom>
            <a:noFill/>
            <a:ln w="9525" algn="ctr">
              <a:noFill/>
              <a:miter lim="800000"/>
              <a:headEnd/>
              <a:tailEnd/>
            </a:ln>
            <a:effectLst/>
          </p:spPr>
          <p:txBody>
            <a:bodyPr lIns="0" tIns="0" rIns="0" bIns="0">
              <a:spAutoFit/>
            </a:bodyPr>
            <a:lstStyle/>
            <a:p>
              <a:pPr algn="ctr">
                <a:defRPr/>
              </a:pPr>
              <a:r>
                <a:rPr lang="pt-BR" sz="1000" noProof="1">
                  <a:solidFill>
                    <a:srgbClr val="000000"/>
                  </a:solidFill>
                  <a:latin typeface="Graphik" panose="020B0503030202060203" pitchFamily="34" charset="77"/>
                  <a:cs typeface="Times New Roman" pitchFamily="18" charset="0"/>
                </a:rPr>
                <a:t>04/10</a:t>
              </a:r>
            </a:p>
          </p:txBody>
        </p:sp>
        <p:sp>
          <p:nvSpPr>
            <p:cNvPr id="20" name="Text Box 22">
              <a:extLst>
                <a:ext uri="{FF2B5EF4-FFF2-40B4-BE49-F238E27FC236}">
                  <a16:creationId xmlns:a16="http://schemas.microsoft.com/office/drawing/2014/main" id="{DBD45755-0411-4258-8A5A-3BC708E2D898}"/>
                </a:ext>
              </a:extLst>
            </p:cNvPr>
            <p:cNvSpPr txBox="1">
              <a:spLocks noChangeArrowheads="1"/>
            </p:cNvSpPr>
            <p:nvPr/>
          </p:nvSpPr>
          <p:spPr bwMode="auto">
            <a:xfrm>
              <a:off x="8836229" y="1192164"/>
              <a:ext cx="517491" cy="153888"/>
            </a:xfrm>
            <a:prstGeom prst="rect">
              <a:avLst/>
            </a:prstGeom>
            <a:noFill/>
            <a:ln w="9525" algn="ctr">
              <a:noFill/>
              <a:miter lim="800000"/>
              <a:headEnd/>
              <a:tailEnd/>
            </a:ln>
            <a:effectLst/>
          </p:spPr>
          <p:txBody>
            <a:bodyPr lIns="0" tIns="0" rIns="0" bIns="0">
              <a:spAutoFit/>
            </a:bodyPr>
            <a:lstStyle/>
            <a:p>
              <a:pPr algn="ctr">
                <a:defRPr/>
              </a:pPr>
              <a:r>
                <a:rPr lang="pt-BR" sz="1000" noProof="1">
                  <a:solidFill>
                    <a:srgbClr val="000000"/>
                  </a:solidFill>
                  <a:latin typeface="Graphik" panose="020B0503030202060203" pitchFamily="34" charset="77"/>
                  <a:cs typeface="Times New Roman" pitchFamily="18" charset="0"/>
                </a:rPr>
                <a:t>05/10</a:t>
              </a:r>
            </a:p>
          </p:txBody>
        </p:sp>
        <p:sp>
          <p:nvSpPr>
            <p:cNvPr id="21" name="Text Box 24">
              <a:extLst>
                <a:ext uri="{FF2B5EF4-FFF2-40B4-BE49-F238E27FC236}">
                  <a16:creationId xmlns:a16="http://schemas.microsoft.com/office/drawing/2014/main" id="{EA56B298-89A0-405F-913D-9B51E98913DC}"/>
                </a:ext>
              </a:extLst>
            </p:cNvPr>
            <p:cNvSpPr txBox="1">
              <a:spLocks noChangeArrowheads="1"/>
            </p:cNvSpPr>
            <p:nvPr/>
          </p:nvSpPr>
          <p:spPr bwMode="auto">
            <a:xfrm>
              <a:off x="9650117" y="1192164"/>
              <a:ext cx="517491" cy="153888"/>
            </a:xfrm>
            <a:prstGeom prst="rect">
              <a:avLst/>
            </a:prstGeom>
            <a:noFill/>
            <a:ln w="9525" algn="ctr">
              <a:noFill/>
              <a:miter lim="800000"/>
              <a:headEnd/>
              <a:tailEnd/>
            </a:ln>
            <a:effectLst/>
          </p:spPr>
          <p:txBody>
            <a:bodyPr lIns="0" tIns="0" rIns="0" bIns="0">
              <a:spAutoFit/>
            </a:bodyPr>
            <a:lstStyle/>
            <a:p>
              <a:pPr algn="ctr">
                <a:defRPr/>
              </a:pPr>
              <a:r>
                <a:rPr lang="pt-BR" sz="1000" noProof="1">
                  <a:solidFill>
                    <a:srgbClr val="000000"/>
                  </a:solidFill>
                  <a:latin typeface="Graphik" panose="020B0503030202060203" pitchFamily="34" charset="77"/>
                  <a:cs typeface="Times New Roman" pitchFamily="18" charset="0"/>
                </a:rPr>
                <a:t>06/10</a:t>
              </a:r>
            </a:p>
          </p:txBody>
        </p:sp>
        <p:sp>
          <p:nvSpPr>
            <p:cNvPr id="22" name="Text Box 43">
              <a:extLst>
                <a:ext uri="{FF2B5EF4-FFF2-40B4-BE49-F238E27FC236}">
                  <a16:creationId xmlns:a16="http://schemas.microsoft.com/office/drawing/2014/main" id="{2E899B1F-9049-4466-A6B3-408A11A9A39B}"/>
                </a:ext>
              </a:extLst>
            </p:cNvPr>
            <p:cNvSpPr txBox="1">
              <a:spLocks noChangeArrowheads="1"/>
            </p:cNvSpPr>
            <p:nvPr/>
          </p:nvSpPr>
          <p:spPr bwMode="auto">
            <a:xfrm>
              <a:off x="5727154" y="1192164"/>
              <a:ext cx="517491" cy="153888"/>
            </a:xfrm>
            <a:prstGeom prst="rect">
              <a:avLst/>
            </a:prstGeom>
            <a:noFill/>
            <a:ln w="9525" algn="ctr">
              <a:noFill/>
              <a:miter lim="800000"/>
              <a:headEnd/>
              <a:tailEnd/>
            </a:ln>
            <a:effectLst/>
          </p:spPr>
          <p:txBody>
            <a:bodyPr lIns="0" tIns="0" rIns="0" bIns="0">
              <a:spAutoFit/>
            </a:bodyPr>
            <a:lstStyle/>
            <a:p>
              <a:pPr algn="ctr">
                <a:defRPr/>
              </a:pPr>
              <a:r>
                <a:rPr lang="pt-BR" sz="1000" noProof="1">
                  <a:solidFill>
                    <a:srgbClr val="000000"/>
                  </a:solidFill>
                  <a:latin typeface="Graphik" panose="020B0503030202060203" pitchFamily="34" charset="77"/>
                  <a:cs typeface="Times New Roman" pitchFamily="18" charset="0"/>
                </a:rPr>
                <a:t>01/10</a:t>
              </a:r>
            </a:p>
          </p:txBody>
        </p:sp>
        <p:sp>
          <p:nvSpPr>
            <p:cNvPr id="23" name="Line 51">
              <a:extLst>
                <a:ext uri="{FF2B5EF4-FFF2-40B4-BE49-F238E27FC236}">
                  <a16:creationId xmlns:a16="http://schemas.microsoft.com/office/drawing/2014/main" id="{4E99365E-B348-4765-9B85-9C0E278EA081}"/>
                </a:ext>
                <a:ext uri="{C183D7F6-B498-43B3-948B-1728B52AA6E4}">
                  <adec:decorative xmlns:adec="http://schemas.microsoft.com/office/drawing/2017/decorative" val="1"/>
                </a:ext>
              </a:extLst>
            </p:cNvPr>
            <p:cNvSpPr>
              <a:spLocks noChangeShapeType="1"/>
            </p:cNvSpPr>
            <p:nvPr/>
          </p:nvSpPr>
          <p:spPr bwMode="auto">
            <a:xfrm>
              <a:off x="5256575" y="2310767"/>
              <a:ext cx="4557732" cy="0"/>
            </a:xfrm>
            <a:prstGeom prst="line">
              <a:avLst/>
            </a:prstGeom>
            <a:noFill/>
            <a:ln w="12700">
              <a:solidFill>
                <a:srgbClr val="A055F5"/>
              </a:solidFill>
              <a:round/>
              <a:headEnd/>
              <a:tailEnd/>
            </a:ln>
            <a:effectLst/>
          </p:spPr>
          <p:txBody>
            <a:bodyPr lIns="0" tIns="0" rIns="0" bIns="0" anchor="ctr"/>
            <a:lstStyle/>
            <a:p>
              <a:pPr>
                <a:defRPr/>
              </a:pPr>
              <a:endParaRPr lang="pt-BR" sz="2400" kern="0" noProof="1">
                <a:solidFill>
                  <a:srgbClr val="000000"/>
                </a:solidFill>
                <a:latin typeface="Graphik" panose="020B0503030202060203" pitchFamily="34" charset="77"/>
              </a:endParaRPr>
            </a:p>
          </p:txBody>
        </p:sp>
        <p:sp>
          <p:nvSpPr>
            <p:cNvPr id="24" name="Text Box 52">
              <a:extLst>
                <a:ext uri="{FF2B5EF4-FFF2-40B4-BE49-F238E27FC236}">
                  <a16:creationId xmlns:a16="http://schemas.microsoft.com/office/drawing/2014/main" id="{DF4D0603-F6D2-4D31-957A-18EA789AC0EF}"/>
                </a:ext>
              </a:extLst>
            </p:cNvPr>
            <p:cNvSpPr txBox="1">
              <a:spLocks noChangeArrowheads="1"/>
            </p:cNvSpPr>
            <p:nvPr/>
          </p:nvSpPr>
          <p:spPr bwMode="auto">
            <a:xfrm>
              <a:off x="6702764" y="2102905"/>
              <a:ext cx="1728390" cy="153888"/>
            </a:xfrm>
            <a:prstGeom prst="rect">
              <a:avLst/>
            </a:prstGeom>
            <a:noFill/>
            <a:ln w="12700" algn="ctr">
              <a:noFill/>
              <a:miter lim="800000"/>
              <a:headEnd/>
              <a:tailEnd/>
            </a:ln>
            <a:effectLst/>
          </p:spPr>
          <p:txBody>
            <a:bodyPr lIns="0" tIns="0" rIns="0" bIns="0">
              <a:spAutoFit/>
            </a:bodyPr>
            <a:lstStyle/>
            <a:p>
              <a:pPr defTabSz="787380">
                <a:spcBef>
                  <a:spcPct val="50000"/>
                </a:spcBef>
                <a:defRPr/>
              </a:pPr>
              <a:r>
                <a:rPr lang="pt-BR" sz="1000" b="1" kern="0" noProof="1">
                  <a:solidFill>
                    <a:srgbClr val="000000"/>
                  </a:solidFill>
                  <a:latin typeface="Graphik Semibold" panose="020B0703030202060203" pitchFamily="34" charset="0"/>
                </a:rPr>
                <a:t>Process design</a:t>
              </a:r>
            </a:p>
          </p:txBody>
        </p:sp>
        <p:sp>
          <p:nvSpPr>
            <p:cNvPr id="25" name="Oval 53">
              <a:extLst>
                <a:ext uri="{FF2B5EF4-FFF2-40B4-BE49-F238E27FC236}">
                  <a16:creationId xmlns:a16="http://schemas.microsoft.com/office/drawing/2014/main" id="{C3C2B136-9D74-40AD-A6BC-B3F217C8F1A7}"/>
                </a:ext>
                <a:ext uri="{C183D7F6-B498-43B3-948B-1728B52AA6E4}">
                  <adec:decorative xmlns:adec="http://schemas.microsoft.com/office/drawing/2017/decorative" val="1"/>
                </a:ext>
              </a:extLst>
            </p:cNvPr>
            <p:cNvSpPr>
              <a:spLocks noChangeAspect="1" noChangeArrowheads="1"/>
            </p:cNvSpPr>
            <p:nvPr/>
          </p:nvSpPr>
          <p:spPr bwMode="auto">
            <a:xfrm>
              <a:off x="5177413" y="2256794"/>
              <a:ext cx="83560" cy="88899"/>
            </a:xfrm>
            <a:prstGeom prst="ellipse">
              <a:avLst/>
            </a:prstGeom>
            <a:solidFill>
              <a:schemeClr val="tx2"/>
            </a:solidFill>
            <a:ln w="12700" algn="ctr">
              <a:noFill/>
              <a:round/>
              <a:headEnd/>
              <a:tailEnd/>
            </a:ln>
            <a:effectLst/>
          </p:spPr>
          <p:txBody>
            <a:bodyPr wrap="none" lIns="0" tIns="0" rIns="0" bIns="0" anchor="ctr"/>
            <a:lstStyle/>
            <a:p>
              <a:pPr>
                <a:defRPr/>
              </a:pPr>
              <a:endParaRPr lang="pt-BR" sz="2400" kern="0" noProof="1">
                <a:solidFill>
                  <a:srgbClr val="000000"/>
                </a:solidFill>
                <a:latin typeface="Graphik" panose="020B0503030202060203" pitchFamily="34" charset="77"/>
              </a:endParaRPr>
            </a:p>
          </p:txBody>
        </p:sp>
        <p:sp>
          <p:nvSpPr>
            <p:cNvPr id="26" name="Oval 54">
              <a:extLst>
                <a:ext uri="{FF2B5EF4-FFF2-40B4-BE49-F238E27FC236}">
                  <a16:creationId xmlns:a16="http://schemas.microsoft.com/office/drawing/2014/main" id="{ACD61EC2-95E4-4841-B2EB-20F4E93411EB}"/>
                </a:ext>
                <a:ext uri="{C183D7F6-B498-43B3-948B-1728B52AA6E4}">
                  <adec:decorative xmlns:adec="http://schemas.microsoft.com/office/drawing/2017/decorative" val="1"/>
                </a:ext>
              </a:extLst>
            </p:cNvPr>
            <p:cNvSpPr>
              <a:spLocks noChangeAspect="1" noChangeArrowheads="1"/>
            </p:cNvSpPr>
            <p:nvPr/>
          </p:nvSpPr>
          <p:spPr bwMode="auto">
            <a:xfrm>
              <a:off x="9806978" y="2269494"/>
              <a:ext cx="83560" cy="88899"/>
            </a:xfrm>
            <a:prstGeom prst="ellipse">
              <a:avLst/>
            </a:prstGeom>
            <a:solidFill>
              <a:schemeClr val="tx2"/>
            </a:solidFill>
            <a:ln w="12700" algn="ctr">
              <a:noFill/>
              <a:round/>
              <a:headEnd/>
              <a:tailEnd/>
            </a:ln>
            <a:effectLst/>
          </p:spPr>
          <p:txBody>
            <a:bodyPr wrap="none" lIns="0" tIns="0" rIns="0" bIns="0" anchor="ctr"/>
            <a:lstStyle/>
            <a:p>
              <a:pPr>
                <a:defRPr/>
              </a:pPr>
              <a:endParaRPr lang="pt-BR" sz="2400" kern="0" noProof="1">
                <a:solidFill>
                  <a:srgbClr val="000000"/>
                </a:solidFill>
                <a:latin typeface="Graphik" panose="020B0503030202060203" pitchFamily="34" charset="77"/>
              </a:endParaRPr>
            </a:p>
          </p:txBody>
        </p:sp>
        <p:sp>
          <p:nvSpPr>
            <p:cNvPr id="27" name="Rectangle 55">
              <a:extLst>
                <a:ext uri="{FF2B5EF4-FFF2-40B4-BE49-F238E27FC236}">
                  <a16:creationId xmlns:a16="http://schemas.microsoft.com/office/drawing/2014/main" id="{F8DDA04D-604F-4914-8DDC-F4A631DAC4D4}"/>
                </a:ext>
              </a:extLst>
            </p:cNvPr>
            <p:cNvSpPr>
              <a:spLocks noChangeArrowheads="1"/>
            </p:cNvSpPr>
            <p:nvPr/>
          </p:nvSpPr>
          <p:spPr bwMode="auto">
            <a:xfrm>
              <a:off x="5236051" y="2356804"/>
              <a:ext cx="1499698" cy="152400"/>
            </a:xfrm>
            <a:prstGeom prst="rect">
              <a:avLst/>
            </a:prstGeom>
            <a:solidFill>
              <a:schemeClr val="bg2"/>
            </a:solidFill>
            <a:ln w="12700" algn="ctr">
              <a:noFill/>
              <a:miter lim="800000"/>
              <a:headEnd/>
              <a:tailEnd/>
            </a:ln>
            <a:effectLst/>
          </p:spPr>
          <p:txBody>
            <a:bodyPr wrap="none" lIns="36000" tIns="0" rIns="36000" bIns="0" anchor="ctr"/>
            <a:lstStyle/>
            <a:p>
              <a:pPr>
                <a:defRPr/>
              </a:pPr>
              <a:r>
                <a:rPr lang="pt-BR" sz="800" kern="0" noProof="1">
                  <a:solidFill>
                    <a:prstClr val="white"/>
                  </a:solidFill>
                  <a:latin typeface="Graphik" panose="020B0503030202060203" pitchFamily="34" charset="77"/>
                </a:rPr>
                <a:t>Interviews</a:t>
              </a:r>
              <a:endParaRPr lang="pt-BR" sz="1600" kern="0" noProof="1">
                <a:solidFill>
                  <a:srgbClr val="FFFFFF"/>
                </a:solidFill>
                <a:latin typeface="Graphik" panose="020B0503030202060203" pitchFamily="34" charset="77"/>
              </a:endParaRPr>
            </a:p>
          </p:txBody>
        </p:sp>
        <p:sp>
          <p:nvSpPr>
            <p:cNvPr id="28" name="Rectangle 56">
              <a:extLst>
                <a:ext uri="{FF2B5EF4-FFF2-40B4-BE49-F238E27FC236}">
                  <a16:creationId xmlns:a16="http://schemas.microsoft.com/office/drawing/2014/main" id="{4691ADB1-8AD4-433E-969B-5225079818FD}"/>
                </a:ext>
              </a:extLst>
            </p:cNvPr>
            <p:cNvSpPr>
              <a:spLocks noChangeArrowheads="1"/>
            </p:cNvSpPr>
            <p:nvPr/>
          </p:nvSpPr>
          <p:spPr bwMode="auto">
            <a:xfrm>
              <a:off x="5381184" y="2537779"/>
              <a:ext cx="1549540" cy="152400"/>
            </a:xfrm>
            <a:prstGeom prst="rect">
              <a:avLst/>
            </a:prstGeom>
            <a:solidFill>
              <a:schemeClr val="bg2"/>
            </a:solidFill>
            <a:ln w="12700" algn="ctr">
              <a:noFill/>
              <a:miter lim="800000"/>
              <a:headEnd/>
              <a:tailEnd/>
            </a:ln>
            <a:effectLst/>
          </p:spPr>
          <p:txBody>
            <a:bodyPr wrap="none" lIns="36000" tIns="0" rIns="36000" bIns="0" anchor="ctr"/>
            <a:lstStyle/>
            <a:p>
              <a:pPr defTabSz="787380">
                <a:defRPr/>
              </a:pPr>
              <a:r>
                <a:rPr lang="pt-BR" sz="800" kern="0" noProof="1">
                  <a:solidFill>
                    <a:prstClr val="white"/>
                  </a:solidFill>
                  <a:latin typeface="Graphik" panose="020B0503030202060203" pitchFamily="34" charset="77"/>
                </a:rPr>
                <a:t>Process mapping (RAID)</a:t>
              </a:r>
            </a:p>
          </p:txBody>
        </p:sp>
        <p:sp>
          <p:nvSpPr>
            <p:cNvPr id="29" name="Rectangle 59">
              <a:extLst>
                <a:ext uri="{FF2B5EF4-FFF2-40B4-BE49-F238E27FC236}">
                  <a16:creationId xmlns:a16="http://schemas.microsoft.com/office/drawing/2014/main" id="{AF09F407-A02F-468E-97E5-4C2CD6E39F18}"/>
                </a:ext>
              </a:extLst>
            </p:cNvPr>
            <p:cNvSpPr>
              <a:spLocks noChangeArrowheads="1"/>
            </p:cNvSpPr>
            <p:nvPr/>
          </p:nvSpPr>
          <p:spPr bwMode="auto">
            <a:xfrm>
              <a:off x="6436519" y="2718754"/>
              <a:ext cx="1464684" cy="152400"/>
            </a:xfrm>
            <a:prstGeom prst="rect">
              <a:avLst/>
            </a:prstGeom>
            <a:solidFill>
              <a:schemeClr val="bg2"/>
            </a:solidFill>
            <a:ln w="12700" algn="ctr">
              <a:noFill/>
              <a:miter lim="800000"/>
              <a:headEnd/>
              <a:tailEnd/>
            </a:ln>
            <a:effectLst/>
          </p:spPr>
          <p:txBody>
            <a:bodyPr wrap="none" lIns="36000" tIns="0" rIns="36000" bIns="0" anchor="ctr"/>
            <a:lstStyle/>
            <a:p>
              <a:pPr defTabSz="787380">
                <a:defRPr/>
              </a:pPr>
              <a:r>
                <a:rPr lang="pt-BR" sz="800" kern="0" noProof="1">
                  <a:solidFill>
                    <a:prstClr val="white"/>
                  </a:solidFill>
                  <a:latin typeface="Graphik" panose="020B0503030202060203" pitchFamily="34" charset="77"/>
                </a:rPr>
                <a:t>Best practices collection</a:t>
              </a:r>
            </a:p>
          </p:txBody>
        </p:sp>
        <p:sp>
          <p:nvSpPr>
            <p:cNvPr id="30" name="Rectangle 61">
              <a:extLst>
                <a:ext uri="{FF2B5EF4-FFF2-40B4-BE49-F238E27FC236}">
                  <a16:creationId xmlns:a16="http://schemas.microsoft.com/office/drawing/2014/main" id="{F55B2C41-2B97-41F5-8A9F-1024C1CF6415}"/>
                </a:ext>
              </a:extLst>
            </p:cNvPr>
            <p:cNvSpPr>
              <a:spLocks noChangeArrowheads="1"/>
            </p:cNvSpPr>
            <p:nvPr/>
          </p:nvSpPr>
          <p:spPr bwMode="auto">
            <a:xfrm>
              <a:off x="7890943" y="2899729"/>
              <a:ext cx="2031207" cy="152400"/>
            </a:xfrm>
            <a:prstGeom prst="rect">
              <a:avLst/>
            </a:prstGeom>
            <a:solidFill>
              <a:schemeClr val="bg2"/>
            </a:solidFill>
            <a:ln w="12700" algn="ctr">
              <a:noFill/>
              <a:miter lim="800000"/>
              <a:headEnd/>
              <a:tailEnd/>
            </a:ln>
            <a:effectLst/>
          </p:spPr>
          <p:txBody>
            <a:bodyPr wrap="none" lIns="36000" tIns="0" rIns="36000" bIns="0" anchor="ctr"/>
            <a:lstStyle/>
            <a:p>
              <a:pPr defTabSz="787380">
                <a:defRPr/>
              </a:pPr>
              <a:r>
                <a:rPr lang="pt-BR" sz="800" kern="0" noProof="1">
                  <a:solidFill>
                    <a:prstClr val="white"/>
                  </a:solidFill>
                  <a:latin typeface="Graphik" panose="020B0503030202060203" pitchFamily="34" charset="77"/>
                </a:rPr>
                <a:t>Process reengineering</a:t>
              </a:r>
            </a:p>
          </p:txBody>
        </p:sp>
        <p:sp>
          <p:nvSpPr>
            <p:cNvPr id="31" name="Line 63">
              <a:extLst>
                <a:ext uri="{FF2B5EF4-FFF2-40B4-BE49-F238E27FC236}">
                  <a16:creationId xmlns:a16="http://schemas.microsoft.com/office/drawing/2014/main" id="{3CDBF86B-EDB8-4BE1-BF18-4583CCFDD72E}"/>
                </a:ext>
                <a:ext uri="{C183D7F6-B498-43B3-948B-1728B52AA6E4}">
                  <adec:decorative xmlns:adec="http://schemas.microsoft.com/office/drawing/2017/decorative" val="1"/>
                </a:ext>
              </a:extLst>
            </p:cNvPr>
            <p:cNvSpPr>
              <a:spLocks noChangeShapeType="1"/>
            </p:cNvSpPr>
            <p:nvPr/>
          </p:nvSpPr>
          <p:spPr bwMode="auto">
            <a:xfrm>
              <a:off x="5268304" y="3209292"/>
              <a:ext cx="2251745" cy="0"/>
            </a:xfrm>
            <a:prstGeom prst="line">
              <a:avLst/>
            </a:prstGeom>
            <a:noFill/>
            <a:ln w="12700">
              <a:solidFill>
                <a:srgbClr val="A055F5"/>
              </a:solidFill>
              <a:round/>
              <a:headEnd/>
              <a:tailEnd/>
            </a:ln>
            <a:effectLst/>
          </p:spPr>
          <p:txBody>
            <a:bodyPr lIns="0" tIns="0" rIns="0" bIns="0" anchor="ctr"/>
            <a:lstStyle/>
            <a:p>
              <a:pPr>
                <a:defRPr/>
              </a:pPr>
              <a:endParaRPr lang="pt-BR" sz="2400" kern="0" noProof="1">
                <a:solidFill>
                  <a:srgbClr val="000000"/>
                </a:solidFill>
                <a:latin typeface="Graphik" panose="020B0503030202060203" pitchFamily="34" charset="77"/>
              </a:endParaRPr>
            </a:p>
          </p:txBody>
        </p:sp>
        <p:sp>
          <p:nvSpPr>
            <p:cNvPr id="32" name="Text Box 64">
              <a:extLst>
                <a:ext uri="{FF2B5EF4-FFF2-40B4-BE49-F238E27FC236}">
                  <a16:creationId xmlns:a16="http://schemas.microsoft.com/office/drawing/2014/main" id="{CB136260-B653-4DF0-8CBA-7208A6213606}"/>
                </a:ext>
              </a:extLst>
            </p:cNvPr>
            <p:cNvSpPr txBox="1">
              <a:spLocks noChangeArrowheads="1"/>
            </p:cNvSpPr>
            <p:nvPr/>
          </p:nvSpPr>
          <p:spPr bwMode="auto">
            <a:xfrm>
              <a:off x="5330834" y="3017451"/>
              <a:ext cx="1951220" cy="153888"/>
            </a:xfrm>
            <a:prstGeom prst="rect">
              <a:avLst/>
            </a:prstGeom>
            <a:solidFill>
              <a:schemeClr val="bg2"/>
            </a:solidFill>
            <a:ln w="12700" algn="ctr">
              <a:noFill/>
              <a:miter lim="800000"/>
              <a:headEnd/>
              <a:tailEnd/>
            </a:ln>
            <a:effectLst/>
          </p:spPr>
          <p:txBody>
            <a:bodyPr lIns="0" tIns="0" rIns="0" bIns="0">
              <a:spAutoFit/>
            </a:bodyPr>
            <a:lstStyle/>
            <a:p>
              <a:pPr defTabSz="787380">
                <a:spcBef>
                  <a:spcPct val="50000"/>
                </a:spcBef>
                <a:defRPr/>
              </a:pPr>
              <a:r>
                <a:rPr lang="pt-BR" sz="1000" b="1" kern="0" noProof="1">
                  <a:solidFill>
                    <a:schemeClr val="bg1"/>
                  </a:solidFill>
                  <a:latin typeface="Graphik Semibold" panose="020B0703030202060203" pitchFamily="34" charset="0"/>
                </a:rPr>
                <a:t>Organization design </a:t>
              </a:r>
            </a:p>
          </p:txBody>
        </p:sp>
        <p:sp>
          <p:nvSpPr>
            <p:cNvPr id="33" name="Oval 65">
              <a:extLst>
                <a:ext uri="{FF2B5EF4-FFF2-40B4-BE49-F238E27FC236}">
                  <a16:creationId xmlns:a16="http://schemas.microsoft.com/office/drawing/2014/main" id="{41611D71-840E-4C05-9542-5C9DEF425F20}"/>
                </a:ext>
                <a:ext uri="{C183D7F6-B498-43B3-948B-1728B52AA6E4}">
                  <adec:decorative xmlns:adec="http://schemas.microsoft.com/office/drawing/2017/decorative" val="1"/>
                </a:ext>
              </a:extLst>
            </p:cNvPr>
            <p:cNvSpPr>
              <a:spLocks noChangeAspect="1" noChangeArrowheads="1"/>
            </p:cNvSpPr>
            <p:nvPr/>
          </p:nvSpPr>
          <p:spPr bwMode="auto">
            <a:xfrm>
              <a:off x="5199825" y="3164483"/>
              <a:ext cx="83560" cy="88899"/>
            </a:xfrm>
            <a:prstGeom prst="ellipse">
              <a:avLst/>
            </a:prstGeom>
            <a:solidFill>
              <a:schemeClr val="tx2"/>
            </a:solidFill>
            <a:ln w="12700" algn="ctr">
              <a:noFill/>
              <a:round/>
              <a:headEnd/>
              <a:tailEnd/>
            </a:ln>
            <a:effectLst/>
          </p:spPr>
          <p:txBody>
            <a:bodyPr wrap="none" lIns="0" tIns="0" rIns="0" bIns="0" anchor="ctr"/>
            <a:lstStyle/>
            <a:p>
              <a:pPr>
                <a:defRPr/>
              </a:pPr>
              <a:endParaRPr lang="pt-BR" sz="2400" kern="0" noProof="1">
                <a:solidFill>
                  <a:srgbClr val="000000"/>
                </a:solidFill>
                <a:latin typeface="Graphik" panose="020B0503030202060203" pitchFamily="34" charset="77"/>
              </a:endParaRPr>
            </a:p>
          </p:txBody>
        </p:sp>
        <p:sp>
          <p:nvSpPr>
            <p:cNvPr id="34" name="Oval 66">
              <a:extLst>
                <a:ext uri="{FF2B5EF4-FFF2-40B4-BE49-F238E27FC236}">
                  <a16:creationId xmlns:a16="http://schemas.microsoft.com/office/drawing/2014/main" id="{BFD79C76-07E6-4B4B-A303-0876886A40BB}"/>
                </a:ext>
                <a:ext uri="{C183D7F6-B498-43B3-948B-1728B52AA6E4}">
                  <adec:decorative xmlns:adec="http://schemas.microsoft.com/office/drawing/2017/decorative" val="1"/>
                </a:ext>
              </a:extLst>
            </p:cNvPr>
            <p:cNvSpPr>
              <a:spLocks noChangeAspect="1" noChangeArrowheads="1"/>
            </p:cNvSpPr>
            <p:nvPr/>
          </p:nvSpPr>
          <p:spPr bwMode="auto">
            <a:xfrm>
              <a:off x="7483399" y="3168017"/>
              <a:ext cx="83560" cy="88900"/>
            </a:xfrm>
            <a:prstGeom prst="ellipse">
              <a:avLst/>
            </a:prstGeom>
            <a:solidFill>
              <a:schemeClr val="tx2"/>
            </a:solidFill>
            <a:ln w="12700" algn="ctr">
              <a:noFill/>
              <a:round/>
              <a:headEnd/>
              <a:tailEnd/>
            </a:ln>
            <a:effectLst/>
          </p:spPr>
          <p:txBody>
            <a:bodyPr wrap="none" lIns="0" tIns="0" rIns="0" bIns="0" anchor="ctr"/>
            <a:lstStyle/>
            <a:p>
              <a:pPr>
                <a:defRPr/>
              </a:pPr>
              <a:endParaRPr lang="pt-BR" sz="2400" kern="0" noProof="1">
                <a:solidFill>
                  <a:srgbClr val="000000"/>
                </a:solidFill>
                <a:latin typeface="Graphik" panose="020B0503030202060203" pitchFamily="34" charset="77"/>
              </a:endParaRPr>
            </a:p>
          </p:txBody>
        </p:sp>
        <p:sp>
          <p:nvSpPr>
            <p:cNvPr id="35" name="Rectangle 71">
              <a:extLst>
                <a:ext uri="{FF2B5EF4-FFF2-40B4-BE49-F238E27FC236}">
                  <a16:creationId xmlns:a16="http://schemas.microsoft.com/office/drawing/2014/main" id="{0914313C-E3C2-49AB-9486-00A55A3E56B3}"/>
                </a:ext>
              </a:extLst>
            </p:cNvPr>
            <p:cNvSpPr>
              <a:spLocks noChangeArrowheads="1"/>
            </p:cNvSpPr>
            <p:nvPr/>
          </p:nvSpPr>
          <p:spPr bwMode="auto">
            <a:xfrm>
              <a:off x="6367788" y="3637916"/>
              <a:ext cx="1413886" cy="152400"/>
            </a:xfrm>
            <a:prstGeom prst="rect">
              <a:avLst/>
            </a:prstGeom>
            <a:solidFill>
              <a:schemeClr val="bg2"/>
            </a:solidFill>
            <a:ln w="12700" algn="ctr">
              <a:noFill/>
              <a:miter lim="800000"/>
              <a:headEnd/>
              <a:tailEnd/>
            </a:ln>
            <a:effectLst/>
          </p:spPr>
          <p:txBody>
            <a:bodyPr wrap="none" lIns="36000" tIns="0" rIns="36000" bIns="0" anchor="ctr"/>
            <a:lstStyle/>
            <a:p>
              <a:pPr defTabSz="787380">
                <a:defRPr/>
              </a:pPr>
              <a:r>
                <a:rPr lang="pt-BR" sz="800" kern="0" noProof="1">
                  <a:solidFill>
                    <a:prstClr val="white"/>
                  </a:solidFill>
                  <a:latin typeface="Graphik" panose="020B0503030202060203" pitchFamily="34" charset="77"/>
                </a:rPr>
                <a:t>Organization alignment</a:t>
              </a:r>
            </a:p>
          </p:txBody>
        </p:sp>
        <p:sp>
          <p:nvSpPr>
            <p:cNvPr id="36" name="Line 82">
              <a:extLst>
                <a:ext uri="{FF2B5EF4-FFF2-40B4-BE49-F238E27FC236}">
                  <a16:creationId xmlns:a16="http://schemas.microsoft.com/office/drawing/2014/main" id="{5A62E61B-B4AD-4474-A4C2-C10E513AE7E4}"/>
                </a:ext>
                <a:ext uri="{C183D7F6-B498-43B3-948B-1728B52AA6E4}">
                  <adec:decorative xmlns:adec="http://schemas.microsoft.com/office/drawing/2017/decorative" val="1"/>
                </a:ext>
              </a:extLst>
            </p:cNvPr>
            <p:cNvSpPr>
              <a:spLocks noChangeShapeType="1"/>
            </p:cNvSpPr>
            <p:nvPr/>
          </p:nvSpPr>
          <p:spPr bwMode="auto">
            <a:xfrm>
              <a:off x="7520049" y="3926842"/>
              <a:ext cx="2294259" cy="0"/>
            </a:xfrm>
            <a:prstGeom prst="line">
              <a:avLst/>
            </a:prstGeom>
            <a:noFill/>
            <a:ln w="12700">
              <a:solidFill>
                <a:srgbClr val="A055F5"/>
              </a:solidFill>
              <a:round/>
              <a:headEnd/>
              <a:tailEnd/>
            </a:ln>
            <a:effectLst/>
          </p:spPr>
          <p:txBody>
            <a:bodyPr lIns="0" tIns="0" rIns="0" bIns="0" anchor="ctr"/>
            <a:lstStyle/>
            <a:p>
              <a:pPr>
                <a:defRPr/>
              </a:pPr>
              <a:endParaRPr lang="pt-BR" sz="2400" kern="0" noProof="1">
                <a:solidFill>
                  <a:srgbClr val="000000"/>
                </a:solidFill>
                <a:latin typeface="Graphik" panose="020B0503030202060203" pitchFamily="34" charset="77"/>
              </a:endParaRPr>
            </a:p>
          </p:txBody>
        </p:sp>
        <p:sp>
          <p:nvSpPr>
            <p:cNvPr id="37" name="Text Box 83">
              <a:extLst>
                <a:ext uri="{FF2B5EF4-FFF2-40B4-BE49-F238E27FC236}">
                  <a16:creationId xmlns:a16="http://schemas.microsoft.com/office/drawing/2014/main" id="{FE59C00A-9E3F-40BF-8CCC-2AAE5BEB149F}"/>
                </a:ext>
              </a:extLst>
            </p:cNvPr>
            <p:cNvSpPr txBox="1">
              <a:spLocks noChangeArrowheads="1"/>
            </p:cNvSpPr>
            <p:nvPr/>
          </p:nvSpPr>
          <p:spPr bwMode="auto">
            <a:xfrm>
              <a:off x="7816179" y="3625217"/>
              <a:ext cx="1728390" cy="153888"/>
            </a:xfrm>
            <a:prstGeom prst="rect">
              <a:avLst/>
            </a:prstGeom>
            <a:solidFill>
              <a:schemeClr val="bg2"/>
            </a:solidFill>
            <a:ln w="12700" algn="ctr">
              <a:noFill/>
              <a:miter lim="800000"/>
              <a:headEnd/>
              <a:tailEnd/>
            </a:ln>
            <a:effectLst/>
          </p:spPr>
          <p:txBody>
            <a:bodyPr lIns="0" tIns="0" rIns="0" bIns="0">
              <a:spAutoFit/>
            </a:bodyPr>
            <a:lstStyle/>
            <a:p>
              <a:pPr defTabSz="787380">
                <a:spcBef>
                  <a:spcPct val="50000"/>
                </a:spcBef>
                <a:defRPr/>
              </a:pPr>
              <a:r>
                <a:rPr lang="pt-BR" sz="1000" b="1" kern="0" noProof="1">
                  <a:solidFill>
                    <a:schemeClr val="bg1"/>
                  </a:solidFill>
                  <a:latin typeface="Graphik Semibold" panose="020B0703030202060203" pitchFamily="34" charset="0"/>
                </a:rPr>
                <a:t>Customer survey</a:t>
              </a:r>
            </a:p>
          </p:txBody>
        </p:sp>
        <p:sp>
          <p:nvSpPr>
            <p:cNvPr id="38" name="Oval 84">
              <a:extLst>
                <a:ext uri="{FF2B5EF4-FFF2-40B4-BE49-F238E27FC236}">
                  <a16:creationId xmlns:a16="http://schemas.microsoft.com/office/drawing/2014/main" id="{D33B03CE-52E3-4346-BAD3-386C0380B944}"/>
                </a:ext>
                <a:ext uri="{C183D7F6-B498-43B3-948B-1728B52AA6E4}">
                  <adec:decorative xmlns:adec="http://schemas.microsoft.com/office/drawing/2017/decorative" val="1"/>
                </a:ext>
              </a:extLst>
            </p:cNvPr>
            <p:cNvSpPr>
              <a:spLocks noChangeAspect="1" noChangeArrowheads="1"/>
            </p:cNvSpPr>
            <p:nvPr/>
          </p:nvSpPr>
          <p:spPr bwMode="auto">
            <a:xfrm>
              <a:off x="7489263" y="3871279"/>
              <a:ext cx="83560" cy="88900"/>
            </a:xfrm>
            <a:prstGeom prst="ellipse">
              <a:avLst/>
            </a:prstGeom>
            <a:solidFill>
              <a:schemeClr val="tx2"/>
            </a:solidFill>
            <a:ln w="12700" algn="ctr">
              <a:noFill/>
              <a:round/>
              <a:headEnd/>
              <a:tailEnd/>
            </a:ln>
            <a:effectLst/>
          </p:spPr>
          <p:txBody>
            <a:bodyPr wrap="none" lIns="0" tIns="0" rIns="0" bIns="0" anchor="ctr"/>
            <a:lstStyle/>
            <a:p>
              <a:pPr>
                <a:defRPr/>
              </a:pPr>
              <a:endParaRPr lang="pt-BR" sz="2400" kern="0" noProof="1">
                <a:solidFill>
                  <a:srgbClr val="000000"/>
                </a:solidFill>
                <a:latin typeface="Graphik" panose="020B0503030202060203" pitchFamily="34" charset="77"/>
              </a:endParaRPr>
            </a:p>
          </p:txBody>
        </p:sp>
        <p:sp>
          <p:nvSpPr>
            <p:cNvPr id="39" name="Oval 85">
              <a:extLst>
                <a:ext uri="{FF2B5EF4-FFF2-40B4-BE49-F238E27FC236}">
                  <a16:creationId xmlns:a16="http://schemas.microsoft.com/office/drawing/2014/main" id="{42B03777-DD36-4582-A6E4-68870BA2E8EE}"/>
                </a:ext>
                <a:ext uri="{C183D7F6-B498-43B3-948B-1728B52AA6E4}">
                  <adec:decorative xmlns:adec="http://schemas.microsoft.com/office/drawing/2017/decorative" val="1"/>
                </a:ext>
              </a:extLst>
            </p:cNvPr>
            <p:cNvSpPr>
              <a:spLocks noChangeAspect="1" noChangeArrowheads="1"/>
            </p:cNvSpPr>
            <p:nvPr/>
          </p:nvSpPr>
          <p:spPr bwMode="auto">
            <a:xfrm>
              <a:off x="9806978" y="3883981"/>
              <a:ext cx="83560" cy="88899"/>
            </a:xfrm>
            <a:prstGeom prst="ellipse">
              <a:avLst/>
            </a:prstGeom>
            <a:solidFill>
              <a:schemeClr val="tx2"/>
            </a:solidFill>
            <a:ln w="12700" algn="ctr">
              <a:noFill/>
              <a:round/>
              <a:headEnd/>
              <a:tailEnd/>
            </a:ln>
            <a:effectLst/>
          </p:spPr>
          <p:txBody>
            <a:bodyPr wrap="none" lIns="0" tIns="0" rIns="0" bIns="0" anchor="ctr"/>
            <a:lstStyle/>
            <a:p>
              <a:pPr>
                <a:defRPr/>
              </a:pPr>
              <a:endParaRPr lang="pt-BR" sz="2400" kern="0" noProof="1">
                <a:solidFill>
                  <a:srgbClr val="000000"/>
                </a:solidFill>
                <a:latin typeface="Graphik" panose="020B0503030202060203" pitchFamily="34" charset="77"/>
              </a:endParaRPr>
            </a:p>
          </p:txBody>
        </p:sp>
        <p:sp>
          <p:nvSpPr>
            <p:cNvPr id="40" name="Rectangle 86">
              <a:extLst>
                <a:ext uri="{FF2B5EF4-FFF2-40B4-BE49-F238E27FC236}">
                  <a16:creationId xmlns:a16="http://schemas.microsoft.com/office/drawing/2014/main" id="{1C403132-EFA7-4A56-BBBE-281D4F86E9D7}"/>
                </a:ext>
              </a:extLst>
            </p:cNvPr>
            <p:cNvSpPr>
              <a:spLocks noChangeArrowheads="1"/>
            </p:cNvSpPr>
            <p:nvPr/>
          </p:nvSpPr>
          <p:spPr bwMode="auto">
            <a:xfrm>
              <a:off x="7520049" y="4001454"/>
              <a:ext cx="782838" cy="152400"/>
            </a:xfrm>
            <a:prstGeom prst="rect">
              <a:avLst/>
            </a:prstGeom>
            <a:solidFill>
              <a:schemeClr val="bg2"/>
            </a:solidFill>
            <a:ln w="12700" algn="ctr">
              <a:noFill/>
              <a:miter lim="800000"/>
              <a:headEnd/>
              <a:tailEnd/>
            </a:ln>
            <a:effectLst/>
          </p:spPr>
          <p:txBody>
            <a:bodyPr wrap="none" lIns="36000" tIns="0" rIns="36000" bIns="0" anchor="ctr"/>
            <a:lstStyle/>
            <a:p>
              <a:pPr>
                <a:defRPr/>
              </a:pPr>
              <a:r>
                <a:rPr lang="pt-BR" sz="800" kern="0" noProof="1">
                  <a:solidFill>
                    <a:prstClr val="white"/>
                  </a:solidFill>
                  <a:latin typeface="Graphik" panose="020B0503030202060203" pitchFamily="34" charset="77"/>
                </a:rPr>
                <a:t>Interviews</a:t>
              </a:r>
              <a:endParaRPr lang="pt-BR" sz="1600" kern="0" noProof="1">
                <a:solidFill>
                  <a:srgbClr val="FFFFFF"/>
                </a:solidFill>
                <a:latin typeface="Graphik" panose="020B0503030202060203" pitchFamily="34" charset="77"/>
              </a:endParaRPr>
            </a:p>
          </p:txBody>
        </p:sp>
        <p:sp>
          <p:nvSpPr>
            <p:cNvPr id="41" name="Rectangle 88">
              <a:extLst>
                <a:ext uri="{FF2B5EF4-FFF2-40B4-BE49-F238E27FC236}">
                  <a16:creationId xmlns:a16="http://schemas.microsoft.com/office/drawing/2014/main" id="{C06E0BEB-A217-47DB-A2D4-AF40182F72D4}"/>
                </a:ext>
              </a:extLst>
            </p:cNvPr>
            <p:cNvSpPr>
              <a:spLocks noChangeArrowheads="1"/>
            </p:cNvSpPr>
            <p:nvPr/>
          </p:nvSpPr>
          <p:spPr bwMode="auto">
            <a:xfrm>
              <a:off x="7654033" y="4188151"/>
              <a:ext cx="1541529" cy="152400"/>
            </a:xfrm>
            <a:prstGeom prst="rect">
              <a:avLst/>
            </a:prstGeom>
            <a:solidFill>
              <a:schemeClr val="bg2"/>
            </a:solidFill>
            <a:ln w="12700" algn="ctr">
              <a:noFill/>
              <a:miter lim="800000"/>
              <a:headEnd/>
              <a:tailEnd/>
            </a:ln>
            <a:effectLst/>
          </p:spPr>
          <p:txBody>
            <a:bodyPr wrap="none" lIns="36000" tIns="0" rIns="36000" bIns="0" anchor="ctr"/>
            <a:lstStyle/>
            <a:p>
              <a:pPr defTabSz="787380">
                <a:defRPr/>
              </a:pPr>
              <a:r>
                <a:rPr lang="pt-BR" sz="800" kern="0" noProof="1">
                  <a:solidFill>
                    <a:prstClr val="white"/>
                  </a:solidFill>
                  <a:latin typeface="Graphik" panose="020B0503030202060203" pitchFamily="34" charset="77"/>
                </a:rPr>
                <a:t>Value drivers</a:t>
              </a:r>
            </a:p>
          </p:txBody>
        </p:sp>
        <p:sp>
          <p:nvSpPr>
            <p:cNvPr id="42" name="Rectangle 92">
              <a:extLst>
                <a:ext uri="{FF2B5EF4-FFF2-40B4-BE49-F238E27FC236}">
                  <a16:creationId xmlns:a16="http://schemas.microsoft.com/office/drawing/2014/main" id="{455EDE1B-ACEA-48A9-9B64-3C7F6A4D5147}"/>
                </a:ext>
              </a:extLst>
            </p:cNvPr>
            <p:cNvSpPr>
              <a:spLocks noChangeArrowheads="1"/>
            </p:cNvSpPr>
            <p:nvPr/>
          </p:nvSpPr>
          <p:spPr bwMode="auto">
            <a:xfrm>
              <a:off x="9084982" y="4561544"/>
              <a:ext cx="837167" cy="152400"/>
            </a:xfrm>
            <a:prstGeom prst="rect">
              <a:avLst/>
            </a:prstGeom>
            <a:solidFill>
              <a:schemeClr val="bg2"/>
            </a:solidFill>
            <a:ln w="12700" algn="ctr">
              <a:noFill/>
              <a:miter lim="800000"/>
              <a:headEnd/>
              <a:tailEnd/>
            </a:ln>
            <a:effectLst/>
          </p:spPr>
          <p:txBody>
            <a:bodyPr wrap="none" lIns="36000" tIns="0" rIns="36000" bIns="0" anchor="ctr"/>
            <a:lstStyle/>
            <a:p>
              <a:pPr defTabSz="787380">
                <a:defRPr/>
              </a:pPr>
              <a:r>
                <a:rPr lang="pt-BR" sz="800" kern="0" noProof="1">
                  <a:solidFill>
                    <a:prstClr val="white"/>
                  </a:solidFill>
                  <a:latin typeface="Graphik" panose="020B0503030202060203" pitchFamily="34" charset="77"/>
                </a:rPr>
                <a:t>Action plan</a:t>
              </a:r>
            </a:p>
          </p:txBody>
        </p:sp>
        <p:sp>
          <p:nvSpPr>
            <p:cNvPr id="43" name="Line 103">
              <a:extLst>
                <a:ext uri="{FF2B5EF4-FFF2-40B4-BE49-F238E27FC236}">
                  <a16:creationId xmlns:a16="http://schemas.microsoft.com/office/drawing/2014/main" id="{C14830FD-EFA3-47BA-9FEB-A5645DFB2493}"/>
                </a:ext>
                <a:ext uri="{C183D7F6-B498-43B3-948B-1728B52AA6E4}">
                  <adec:decorative xmlns:adec="http://schemas.microsoft.com/office/drawing/2017/decorative" val="1"/>
                </a:ext>
              </a:extLst>
            </p:cNvPr>
            <p:cNvSpPr>
              <a:spLocks noChangeShapeType="1"/>
            </p:cNvSpPr>
            <p:nvPr/>
          </p:nvSpPr>
          <p:spPr bwMode="auto">
            <a:xfrm>
              <a:off x="5218460" y="2069467"/>
              <a:ext cx="784300" cy="0"/>
            </a:xfrm>
            <a:prstGeom prst="line">
              <a:avLst/>
            </a:prstGeom>
            <a:noFill/>
            <a:ln w="12700">
              <a:solidFill>
                <a:srgbClr val="A055F5"/>
              </a:solidFill>
              <a:round/>
              <a:headEnd/>
              <a:tailEnd/>
            </a:ln>
            <a:effectLst/>
          </p:spPr>
          <p:txBody>
            <a:bodyPr lIns="0" tIns="0" rIns="0" bIns="0" anchor="ctr"/>
            <a:lstStyle/>
            <a:p>
              <a:pPr>
                <a:defRPr/>
              </a:pPr>
              <a:endParaRPr lang="pt-BR" sz="2400" kern="0" noProof="1">
                <a:solidFill>
                  <a:srgbClr val="000000"/>
                </a:solidFill>
                <a:latin typeface="Graphik" panose="020B0503030202060203" pitchFamily="34" charset="77"/>
              </a:endParaRPr>
            </a:p>
          </p:txBody>
        </p:sp>
        <p:sp>
          <p:nvSpPr>
            <p:cNvPr id="44" name="Oval 104">
              <a:extLst>
                <a:ext uri="{FF2B5EF4-FFF2-40B4-BE49-F238E27FC236}">
                  <a16:creationId xmlns:a16="http://schemas.microsoft.com/office/drawing/2014/main" id="{DFB15903-75AC-4D1C-8AA7-4FAD11E856E0}"/>
                </a:ext>
                <a:ext uri="{C183D7F6-B498-43B3-948B-1728B52AA6E4}">
                  <adec:decorative xmlns:adec="http://schemas.microsoft.com/office/drawing/2017/decorative" val="1"/>
                </a:ext>
              </a:extLst>
            </p:cNvPr>
            <p:cNvSpPr>
              <a:spLocks noChangeAspect="1" noChangeArrowheads="1"/>
            </p:cNvSpPr>
            <p:nvPr/>
          </p:nvSpPr>
          <p:spPr bwMode="auto">
            <a:xfrm>
              <a:off x="5174481" y="2025019"/>
              <a:ext cx="83560" cy="88899"/>
            </a:xfrm>
            <a:prstGeom prst="ellipse">
              <a:avLst/>
            </a:prstGeom>
            <a:solidFill>
              <a:srgbClr val="A055F5"/>
            </a:solidFill>
            <a:ln w="12700" algn="ctr">
              <a:noFill/>
              <a:round/>
              <a:headEnd/>
              <a:tailEnd/>
            </a:ln>
            <a:effectLst/>
          </p:spPr>
          <p:txBody>
            <a:bodyPr wrap="none" lIns="0" tIns="0" rIns="0" bIns="0" anchor="ctr"/>
            <a:lstStyle/>
            <a:p>
              <a:pPr>
                <a:defRPr/>
              </a:pPr>
              <a:endParaRPr lang="pt-BR" sz="2400" kern="0" noProof="1">
                <a:solidFill>
                  <a:srgbClr val="000000"/>
                </a:solidFill>
                <a:latin typeface="Graphik" panose="020B0503030202060203" pitchFamily="34" charset="77"/>
              </a:endParaRPr>
            </a:p>
          </p:txBody>
        </p:sp>
        <p:sp>
          <p:nvSpPr>
            <p:cNvPr id="45" name="Oval 105">
              <a:extLst>
                <a:ext uri="{FF2B5EF4-FFF2-40B4-BE49-F238E27FC236}">
                  <a16:creationId xmlns:a16="http://schemas.microsoft.com/office/drawing/2014/main" id="{6951E097-6A32-4175-BB03-FC60D1D07A6E}"/>
                </a:ext>
                <a:ext uri="{C183D7F6-B498-43B3-948B-1728B52AA6E4}">
                  <adec:decorative xmlns:adec="http://schemas.microsoft.com/office/drawing/2017/decorative" val="1"/>
                </a:ext>
              </a:extLst>
            </p:cNvPr>
            <p:cNvSpPr>
              <a:spLocks noChangeAspect="1" noChangeArrowheads="1"/>
            </p:cNvSpPr>
            <p:nvPr/>
          </p:nvSpPr>
          <p:spPr bwMode="auto">
            <a:xfrm>
              <a:off x="5960246" y="2025019"/>
              <a:ext cx="83560" cy="88899"/>
            </a:xfrm>
            <a:prstGeom prst="ellipse">
              <a:avLst/>
            </a:prstGeom>
            <a:solidFill>
              <a:srgbClr val="A055F5"/>
            </a:solidFill>
            <a:ln w="12700" algn="ctr">
              <a:noFill/>
              <a:round/>
              <a:headEnd/>
              <a:tailEnd/>
            </a:ln>
            <a:effectLst/>
          </p:spPr>
          <p:txBody>
            <a:bodyPr wrap="none" lIns="0" tIns="0" rIns="0" bIns="0" anchor="ctr"/>
            <a:lstStyle/>
            <a:p>
              <a:pPr>
                <a:defRPr/>
              </a:pPr>
              <a:endParaRPr lang="pt-BR" sz="2400" kern="0" noProof="1">
                <a:solidFill>
                  <a:srgbClr val="000000"/>
                </a:solidFill>
                <a:latin typeface="Graphik" panose="020B0503030202060203" pitchFamily="34" charset="77"/>
              </a:endParaRPr>
            </a:p>
          </p:txBody>
        </p:sp>
        <p:pic>
          <p:nvPicPr>
            <p:cNvPr id="47" name="Picture 2" descr="Add text and order accordingly">
              <a:extLst>
                <a:ext uri="{FF2B5EF4-FFF2-40B4-BE49-F238E27FC236}">
                  <a16:creationId xmlns:a16="http://schemas.microsoft.com/office/drawing/2014/main" id="{3C7A5DC5-8005-4167-8D6A-D5DD751C540A}"/>
                </a:ext>
              </a:extLst>
            </p:cNvPr>
            <p:cNvPicPr>
              <a:picLocks noChangeAspect="1" noChangeArrowheads="1"/>
            </p:cNvPicPr>
            <p:nvPr/>
          </p:nvPicPr>
          <p:blipFill>
            <a:blip r:embed="rId7" cstate="print"/>
            <a:srcRect/>
            <a:stretch>
              <a:fillRect/>
            </a:stretch>
          </p:blipFill>
          <p:spPr bwMode="auto">
            <a:xfrm>
              <a:off x="2036497" y="2416864"/>
              <a:ext cx="847681" cy="506867"/>
            </a:xfrm>
            <a:prstGeom prst="rect">
              <a:avLst/>
            </a:prstGeom>
            <a:noFill/>
            <a:ln w="9525">
              <a:solidFill>
                <a:srgbClr val="96968C"/>
              </a:solidFill>
              <a:miter lim="800000"/>
              <a:headEnd/>
              <a:tailEnd/>
            </a:ln>
          </p:spPr>
        </p:pic>
        <p:sp>
          <p:nvSpPr>
            <p:cNvPr id="48" name="Rectangle 47">
              <a:extLst>
                <a:ext uri="{FF2B5EF4-FFF2-40B4-BE49-F238E27FC236}">
                  <a16:creationId xmlns:a16="http://schemas.microsoft.com/office/drawing/2014/main" id="{D8A868C8-8E8E-4C5E-A94F-55D68E268F3F}"/>
                </a:ext>
                <a:ext uri="{C183D7F6-B498-43B3-948B-1728B52AA6E4}">
                  <adec:decorative xmlns:adec="http://schemas.microsoft.com/office/drawing/2017/decorative" val="1"/>
                </a:ext>
              </a:extLst>
            </p:cNvPr>
            <p:cNvSpPr/>
            <p:nvPr/>
          </p:nvSpPr>
          <p:spPr bwMode="auto">
            <a:xfrm>
              <a:off x="2027550" y="2405275"/>
              <a:ext cx="857915" cy="534009"/>
            </a:xfrm>
            <a:prstGeom prst="rect">
              <a:avLst/>
            </a:prstGeom>
            <a:noFill/>
            <a:ln w="19050" cap="flat" cmpd="sng" algn="ctr">
              <a:solidFill>
                <a:srgbClr val="A100FF"/>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eaLnBrk="0" fontAlgn="base" hangingPunct="0">
                <a:lnSpc>
                  <a:spcPct val="80000"/>
                </a:lnSpc>
                <a:spcBef>
                  <a:spcPct val="0"/>
                </a:spcBef>
                <a:spcAft>
                  <a:spcPct val="0"/>
                </a:spcAft>
                <a:defRPr/>
              </a:pPr>
              <a:endParaRPr lang="pt-BR" sz="3200" kern="0" noProof="1">
                <a:solidFill>
                  <a:srgbClr val="000000"/>
                </a:solidFill>
                <a:latin typeface="Graphik" panose="020B0503030202060203" pitchFamily="34" charset="77"/>
              </a:endParaRPr>
            </a:p>
          </p:txBody>
        </p:sp>
        <p:sp>
          <p:nvSpPr>
            <p:cNvPr id="53" name="Rectangle 52">
              <a:extLst>
                <a:ext uri="{FF2B5EF4-FFF2-40B4-BE49-F238E27FC236}">
                  <a16:creationId xmlns:a16="http://schemas.microsoft.com/office/drawing/2014/main" id="{02AC10DC-2865-4AA7-A54F-9300AE5F8BB7}"/>
                </a:ext>
                <a:ext uri="{C183D7F6-B498-43B3-948B-1728B52AA6E4}">
                  <adec:decorative xmlns:adec="http://schemas.microsoft.com/office/drawing/2017/decorative" val="1"/>
                </a:ext>
              </a:extLst>
            </p:cNvPr>
            <p:cNvSpPr/>
            <p:nvPr/>
          </p:nvSpPr>
          <p:spPr bwMode="auto">
            <a:xfrm>
              <a:off x="5019807" y="1788330"/>
              <a:ext cx="4902343" cy="3234041"/>
            </a:xfrm>
            <a:prstGeom prst="rect">
              <a:avLst/>
            </a:prstGeom>
            <a:noFill/>
            <a:ln w="6350">
              <a:solidFill>
                <a:srgbClr val="BE82FF"/>
              </a:solidFill>
              <a:prstDash val="dash"/>
              <a:miter lim="800000"/>
              <a:headEnd/>
              <a:tailEnd/>
            </a:ln>
            <a:effectLst/>
          </p:spPr>
          <p:txBody>
            <a:bodyPr vert="horz" wrap="square" lIns="0" tIns="0" rIns="0" bIns="0" numCol="1" rtlCol="0" anchor="t" anchorCtr="0" compatLnSpc="1">
              <a:prstTxWarp prst="textNoShape">
                <a:avLst/>
              </a:prstTxWarp>
              <a:noAutofit/>
            </a:bodyPr>
            <a:lstStyle/>
            <a:p>
              <a:pPr fontAlgn="base">
                <a:spcAft>
                  <a:spcPts val="300"/>
                </a:spcAft>
                <a:defRPr/>
              </a:pPr>
              <a:endParaRPr lang="pt-BR" sz="1600" kern="0" noProof="1">
                <a:solidFill>
                  <a:sysClr val="windowText" lastClr="000000"/>
                </a:solidFill>
                <a:latin typeface="Graphik" panose="020B0503030202060203" pitchFamily="34" charset="77"/>
                <a:cs typeface="Graphik" pitchFamily="34" charset="0"/>
              </a:endParaRPr>
            </a:p>
          </p:txBody>
        </p:sp>
        <p:sp>
          <p:nvSpPr>
            <p:cNvPr id="54" name="Rectangle 67">
              <a:extLst>
                <a:ext uri="{FF2B5EF4-FFF2-40B4-BE49-F238E27FC236}">
                  <a16:creationId xmlns:a16="http://schemas.microsoft.com/office/drawing/2014/main" id="{AF266481-3179-4590-B37B-04754EA7697B}"/>
                </a:ext>
              </a:extLst>
            </p:cNvPr>
            <p:cNvSpPr>
              <a:spLocks noChangeArrowheads="1"/>
            </p:cNvSpPr>
            <p:nvPr/>
          </p:nvSpPr>
          <p:spPr bwMode="auto">
            <a:xfrm>
              <a:off x="5239174" y="3290254"/>
              <a:ext cx="795837" cy="152400"/>
            </a:xfrm>
            <a:prstGeom prst="rect">
              <a:avLst/>
            </a:prstGeom>
            <a:solidFill>
              <a:schemeClr val="bg2"/>
            </a:solidFill>
            <a:ln w="12700" algn="ctr">
              <a:noFill/>
              <a:miter lim="800000"/>
              <a:headEnd/>
              <a:tailEnd/>
            </a:ln>
            <a:effectLst/>
          </p:spPr>
          <p:txBody>
            <a:bodyPr wrap="none" lIns="36000" tIns="0" rIns="36000" bIns="0" anchor="ctr"/>
            <a:lstStyle/>
            <a:p>
              <a:pPr defTabSz="787380">
                <a:defRPr/>
              </a:pPr>
              <a:r>
                <a:rPr lang="pt-BR" sz="800" kern="0" noProof="1">
                  <a:solidFill>
                    <a:prstClr val="white"/>
                  </a:solidFill>
                  <a:latin typeface="Graphik" panose="020B0503030202060203" pitchFamily="34" charset="77"/>
                </a:rPr>
                <a:t>Gap analysis</a:t>
              </a:r>
            </a:p>
          </p:txBody>
        </p:sp>
        <p:sp>
          <p:nvSpPr>
            <p:cNvPr id="55" name="Rectangle 69">
              <a:extLst>
                <a:ext uri="{FF2B5EF4-FFF2-40B4-BE49-F238E27FC236}">
                  <a16:creationId xmlns:a16="http://schemas.microsoft.com/office/drawing/2014/main" id="{075FEC39-18AE-463A-8F64-C1E748BD474C}"/>
                </a:ext>
              </a:extLst>
            </p:cNvPr>
            <p:cNvSpPr>
              <a:spLocks noChangeArrowheads="1"/>
            </p:cNvSpPr>
            <p:nvPr/>
          </p:nvSpPr>
          <p:spPr bwMode="auto">
            <a:xfrm>
              <a:off x="5239175" y="3464085"/>
              <a:ext cx="1235439" cy="152400"/>
            </a:xfrm>
            <a:prstGeom prst="rect">
              <a:avLst/>
            </a:prstGeom>
            <a:solidFill>
              <a:schemeClr val="bg2"/>
            </a:solidFill>
            <a:ln w="12700" algn="ctr">
              <a:noFill/>
              <a:miter lim="800000"/>
              <a:headEnd/>
              <a:tailEnd/>
            </a:ln>
            <a:effectLst/>
          </p:spPr>
          <p:txBody>
            <a:bodyPr wrap="none" lIns="36000" tIns="0" rIns="36000" bIns="0" anchor="ctr"/>
            <a:lstStyle/>
            <a:p>
              <a:pPr defTabSz="787380">
                <a:defRPr/>
              </a:pPr>
              <a:r>
                <a:rPr lang="pt-BR" sz="800" kern="0" noProof="1">
                  <a:solidFill>
                    <a:prstClr val="white"/>
                  </a:solidFill>
                  <a:latin typeface="Graphik" panose="020B0503030202060203" pitchFamily="34" charset="77"/>
                </a:rPr>
                <a:t>To-be confirmation</a:t>
              </a:r>
            </a:p>
          </p:txBody>
        </p:sp>
        <p:sp>
          <p:nvSpPr>
            <p:cNvPr id="56" name="AutoShape 16">
              <a:extLst>
                <a:ext uri="{FF2B5EF4-FFF2-40B4-BE49-F238E27FC236}">
                  <a16:creationId xmlns:a16="http://schemas.microsoft.com/office/drawing/2014/main" id="{2CA5F31A-53B0-4B49-9681-66539C0C2835}"/>
                </a:ext>
                <a:ext uri="{C183D7F6-B498-43B3-948B-1728B52AA6E4}">
                  <adec:decorative xmlns:adec="http://schemas.microsoft.com/office/drawing/2017/decorative" val="1"/>
                </a:ext>
              </a:extLst>
            </p:cNvPr>
            <p:cNvSpPr>
              <a:spLocks noChangeArrowheads="1"/>
            </p:cNvSpPr>
            <p:nvPr/>
          </p:nvSpPr>
          <p:spPr bwMode="auto">
            <a:xfrm rot="10800000">
              <a:off x="6642881" y="1323301"/>
              <a:ext cx="185737" cy="921412"/>
            </a:xfrm>
            <a:prstGeom prst="triangle">
              <a:avLst>
                <a:gd name="adj" fmla="val 50000"/>
              </a:avLst>
            </a:prstGeom>
            <a:solidFill>
              <a:srgbClr val="A100FF"/>
            </a:solidFill>
            <a:ln w="12700" algn="ctr">
              <a:noFill/>
              <a:miter lim="800000"/>
              <a:headEnd/>
              <a:tailEnd/>
            </a:ln>
            <a:effectLst/>
          </p:spPr>
          <p:txBody>
            <a:bodyPr lIns="90000" tIns="46800" rIns="90000" bIns="46800" anchor="ctr">
              <a:spAutoFit/>
            </a:bodyPr>
            <a:lstStyle/>
            <a:p>
              <a:pPr>
                <a:defRPr/>
              </a:pPr>
              <a:endParaRPr lang="pt-BR" sz="2400" kern="0" noProof="1">
                <a:solidFill>
                  <a:srgbClr val="000000"/>
                </a:solidFill>
                <a:latin typeface="Graphik" panose="020B0503030202060203" pitchFamily="34" charset="77"/>
              </a:endParaRPr>
            </a:p>
          </p:txBody>
        </p:sp>
        <p:sp>
          <p:nvSpPr>
            <p:cNvPr id="57" name="AutoShape 17">
              <a:extLst>
                <a:ext uri="{FF2B5EF4-FFF2-40B4-BE49-F238E27FC236}">
                  <a16:creationId xmlns:a16="http://schemas.microsoft.com/office/drawing/2014/main" id="{FA7148C4-6B9D-47F4-8BF3-75EC1A9F80A8}"/>
                </a:ext>
                <a:ext uri="{C183D7F6-B498-43B3-948B-1728B52AA6E4}">
                  <adec:decorative xmlns:adec="http://schemas.microsoft.com/office/drawing/2017/decorative" val="1"/>
                </a:ext>
              </a:extLst>
            </p:cNvPr>
            <p:cNvSpPr>
              <a:spLocks noChangeArrowheads="1"/>
            </p:cNvSpPr>
            <p:nvPr/>
          </p:nvSpPr>
          <p:spPr bwMode="auto">
            <a:xfrm rot="10800000">
              <a:off x="7427179" y="1323300"/>
              <a:ext cx="185739" cy="921412"/>
            </a:xfrm>
            <a:prstGeom prst="triangle">
              <a:avLst>
                <a:gd name="adj" fmla="val 50000"/>
              </a:avLst>
            </a:prstGeom>
            <a:solidFill>
              <a:srgbClr val="A100FF"/>
            </a:solidFill>
            <a:ln w="12700" algn="ctr">
              <a:noFill/>
              <a:miter lim="800000"/>
              <a:headEnd/>
              <a:tailEnd/>
            </a:ln>
            <a:effectLst/>
          </p:spPr>
          <p:txBody>
            <a:bodyPr lIns="90000" tIns="46800" rIns="90000" bIns="46800" anchor="ctr">
              <a:spAutoFit/>
            </a:bodyPr>
            <a:lstStyle/>
            <a:p>
              <a:pPr>
                <a:defRPr/>
              </a:pPr>
              <a:endParaRPr lang="pt-BR" sz="2400" kern="0" noProof="1">
                <a:solidFill>
                  <a:srgbClr val="000000"/>
                </a:solidFill>
                <a:latin typeface="Graphik" panose="020B0503030202060203" pitchFamily="34" charset="77"/>
              </a:endParaRPr>
            </a:p>
          </p:txBody>
        </p:sp>
        <p:sp>
          <p:nvSpPr>
            <p:cNvPr id="58" name="AutoShape 18">
              <a:extLst>
                <a:ext uri="{FF2B5EF4-FFF2-40B4-BE49-F238E27FC236}">
                  <a16:creationId xmlns:a16="http://schemas.microsoft.com/office/drawing/2014/main" id="{84D1585F-F65D-4E0C-946E-D6FE193AD262}"/>
                </a:ext>
                <a:ext uri="{C183D7F6-B498-43B3-948B-1728B52AA6E4}">
                  <adec:decorative xmlns:adec="http://schemas.microsoft.com/office/drawing/2017/decorative" val="1"/>
                </a:ext>
              </a:extLst>
            </p:cNvPr>
            <p:cNvSpPr>
              <a:spLocks noChangeArrowheads="1"/>
            </p:cNvSpPr>
            <p:nvPr/>
          </p:nvSpPr>
          <p:spPr bwMode="auto">
            <a:xfrm rot="10800000">
              <a:off x="8221440" y="1323299"/>
              <a:ext cx="185737" cy="921412"/>
            </a:xfrm>
            <a:prstGeom prst="triangle">
              <a:avLst>
                <a:gd name="adj" fmla="val 50000"/>
              </a:avLst>
            </a:prstGeom>
            <a:solidFill>
              <a:srgbClr val="A100FF"/>
            </a:solidFill>
            <a:ln w="12700" algn="ctr">
              <a:noFill/>
              <a:miter lim="800000"/>
              <a:headEnd/>
              <a:tailEnd/>
            </a:ln>
            <a:effectLst/>
          </p:spPr>
          <p:txBody>
            <a:bodyPr lIns="90000" tIns="46800" rIns="90000" bIns="46800" anchor="ctr">
              <a:spAutoFit/>
            </a:bodyPr>
            <a:lstStyle/>
            <a:p>
              <a:pPr>
                <a:defRPr/>
              </a:pPr>
              <a:endParaRPr lang="pt-BR" sz="2400" kern="0" noProof="1">
                <a:solidFill>
                  <a:srgbClr val="000000"/>
                </a:solidFill>
                <a:latin typeface="Graphik" panose="020B0503030202060203" pitchFamily="34" charset="77"/>
              </a:endParaRPr>
            </a:p>
          </p:txBody>
        </p:sp>
        <p:sp>
          <p:nvSpPr>
            <p:cNvPr id="59" name="AutoShape 19">
              <a:extLst>
                <a:ext uri="{FF2B5EF4-FFF2-40B4-BE49-F238E27FC236}">
                  <a16:creationId xmlns:a16="http://schemas.microsoft.com/office/drawing/2014/main" id="{CF2ADFEE-C683-4F89-871B-F6F30EC3286B}"/>
                </a:ext>
                <a:ext uri="{C183D7F6-B498-43B3-948B-1728B52AA6E4}">
                  <adec:decorative xmlns:adec="http://schemas.microsoft.com/office/drawing/2017/decorative" val="1"/>
                </a:ext>
              </a:extLst>
            </p:cNvPr>
            <p:cNvSpPr>
              <a:spLocks noChangeArrowheads="1"/>
            </p:cNvSpPr>
            <p:nvPr/>
          </p:nvSpPr>
          <p:spPr bwMode="auto">
            <a:xfrm rot="10800000">
              <a:off x="8992113" y="1323299"/>
              <a:ext cx="185737" cy="921412"/>
            </a:xfrm>
            <a:prstGeom prst="triangle">
              <a:avLst>
                <a:gd name="adj" fmla="val 50000"/>
              </a:avLst>
            </a:prstGeom>
            <a:solidFill>
              <a:srgbClr val="A100FF"/>
            </a:solidFill>
            <a:ln w="12700" algn="ctr">
              <a:noFill/>
              <a:miter lim="800000"/>
              <a:headEnd/>
              <a:tailEnd/>
            </a:ln>
            <a:effectLst/>
          </p:spPr>
          <p:txBody>
            <a:bodyPr lIns="90000" tIns="46800" rIns="90000" bIns="46800" anchor="ctr">
              <a:spAutoFit/>
            </a:bodyPr>
            <a:lstStyle/>
            <a:p>
              <a:pPr>
                <a:defRPr/>
              </a:pPr>
              <a:endParaRPr lang="pt-BR" sz="2400" kern="0" noProof="1">
                <a:solidFill>
                  <a:srgbClr val="000000"/>
                </a:solidFill>
                <a:latin typeface="Graphik" panose="020B0503030202060203" pitchFamily="34" charset="77"/>
              </a:endParaRPr>
            </a:p>
          </p:txBody>
        </p:sp>
        <p:sp>
          <p:nvSpPr>
            <p:cNvPr id="60" name="AutoShape 23">
              <a:extLst>
                <a:ext uri="{FF2B5EF4-FFF2-40B4-BE49-F238E27FC236}">
                  <a16:creationId xmlns:a16="http://schemas.microsoft.com/office/drawing/2014/main" id="{B53EFBE0-0193-4CF5-B26E-0FAFF83E3736}"/>
                </a:ext>
                <a:ext uri="{C183D7F6-B498-43B3-948B-1728B52AA6E4}">
                  <adec:decorative xmlns:adec="http://schemas.microsoft.com/office/drawing/2017/decorative" val="1"/>
                </a:ext>
              </a:extLst>
            </p:cNvPr>
            <p:cNvSpPr>
              <a:spLocks noChangeArrowheads="1"/>
            </p:cNvSpPr>
            <p:nvPr/>
          </p:nvSpPr>
          <p:spPr bwMode="auto">
            <a:xfrm rot="10800000">
              <a:off x="9829281" y="1323299"/>
              <a:ext cx="185737" cy="921412"/>
            </a:xfrm>
            <a:prstGeom prst="triangle">
              <a:avLst>
                <a:gd name="adj" fmla="val 50000"/>
              </a:avLst>
            </a:prstGeom>
            <a:solidFill>
              <a:srgbClr val="A100FF"/>
            </a:solidFill>
            <a:ln w="12700" algn="ctr">
              <a:noFill/>
              <a:miter lim="800000"/>
              <a:headEnd/>
              <a:tailEnd/>
            </a:ln>
            <a:effectLst/>
          </p:spPr>
          <p:txBody>
            <a:bodyPr lIns="90000" tIns="46800" rIns="90000" bIns="46800" anchor="ctr">
              <a:spAutoFit/>
            </a:bodyPr>
            <a:lstStyle/>
            <a:p>
              <a:pPr>
                <a:defRPr/>
              </a:pPr>
              <a:endParaRPr lang="pt-BR" sz="2400" kern="0" noProof="1">
                <a:solidFill>
                  <a:srgbClr val="000000"/>
                </a:solidFill>
                <a:latin typeface="Graphik" panose="020B0503030202060203" pitchFamily="34" charset="77"/>
              </a:endParaRPr>
            </a:p>
          </p:txBody>
        </p:sp>
        <p:sp>
          <p:nvSpPr>
            <p:cNvPr id="61" name="AutoShape 42">
              <a:extLst>
                <a:ext uri="{FF2B5EF4-FFF2-40B4-BE49-F238E27FC236}">
                  <a16:creationId xmlns:a16="http://schemas.microsoft.com/office/drawing/2014/main" id="{05C1F093-DE03-41D1-83D5-49501D516BE7}"/>
                </a:ext>
                <a:ext uri="{C183D7F6-B498-43B3-948B-1728B52AA6E4}">
                  <adec:decorative xmlns:adec="http://schemas.microsoft.com/office/drawing/2017/decorative" val="1"/>
                </a:ext>
              </a:extLst>
            </p:cNvPr>
            <p:cNvSpPr>
              <a:spLocks noChangeArrowheads="1"/>
            </p:cNvSpPr>
            <p:nvPr/>
          </p:nvSpPr>
          <p:spPr bwMode="auto">
            <a:xfrm rot="10800000">
              <a:off x="5856892" y="1323299"/>
              <a:ext cx="185739" cy="921412"/>
            </a:xfrm>
            <a:prstGeom prst="triangle">
              <a:avLst>
                <a:gd name="adj" fmla="val 50000"/>
              </a:avLst>
            </a:prstGeom>
            <a:solidFill>
              <a:srgbClr val="A100FF"/>
            </a:solidFill>
            <a:ln w="12700" algn="ctr">
              <a:noFill/>
              <a:miter lim="800000"/>
              <a:headEnd/>
              <a:tailEnd/>
            </a:ln>
            <a:effectLst/>
          </p:spPr>
          <p:txBody>
            <a:bodyPr lIns="90000" tIns="46800" rIns="90000" bIns="46800" anchor="ctr">
              <a:spAutoFit/>
            </a:bodyPr>
            <a:lstStyle/>
            <a:p>
              <a:pPr>
                <a:defRPr/>
              </a:pPr>
              <a:endParaRPr lang="pt-BR" sz="2400" kern="0" noProof="1">
                <a:solidFill>
                  <a:srgbClr val="000000"/>
                </a:solidFill>
                <a:latin typeface="Graphik" panose="020B0503030202060203" pitchFamily="34" charset="77"/>
              </a:endParaRPr>
            </a:p>
          </p:txBody>
        </p:sp>
        <p:sp>
          <p:nvSpPr>
            <p:cNvPr id="46" name="Text Box 106">
              <a:extLst>
                <a:ext uri="{FF2B5EF4-FFF2-40B4-BE49-F238E27FC236}">
                  <a16:creationId xmlns:a16="http://schemas.microsoft.com/office/drawing/2014/main" id="{83C23D1F-32E2-4999-AE3D-DCB25B0CFD6E}"/>
                </a:ext>
              </a:extLst>
            </p:cNvPr>
            <p:cNvSpPr txBox="1">
              <a:spLocks noChangeArrowheads="1"/>
            </p:cNvSpPr>
            <p:nvPr/>
          </p:nvSpPr>
          <p:spPr bwMode="auto">
            <a:xfrm>
              <a:off x="5221303" y="1752432"/>
              <a:ext cx="668067" cy="307777"/>
            </a:xfrm>
            <a:prstGeom prst="rect">
              <a:avLst/>
            </a:prstGeom>
            <a:noFill/>
            <a:ln w="12700" algn="ctr">
              <a:noFill/>
              <a:miter lim="800000"/>
              <a:headEnd/>
              <a:tailEnd/>
            </a:ln>
            <a:effectLst/>
          </p:spPr>
          <p:txBody>
            <a:bodyPr wrap="square" lIns="0" tIns="0" rIns="0" bIns="0">
              <a:spAutoFit/>
            </a:bodyPr>
            <a:lstStyle/>
            <a:p>
              <a:pPr defTabSz="787380">
                <a:spcBef>
                  <a:spcPct val="50000"/>
                </a:spcBef>
                <a:defRPr/>
              </a:pPr>
              <a:r>
                <a:rPr lang="pt-BR" sz="1000" b="1" kern="0" noProof="1">
                  <a:solidFill>
                    <a:srgbClr val="000000"/>
                  </a:solidFill>
                  <a:latin typeface="Graphik Semibold" panose="020B0703030202060203" pitchFamily="34" charset="0"/>
                </a:rPr>
                <a:t>Mission statement</a:t>
              </a:r>
            </a:p>
          </p:txBody>
        </p:sp>
      </p:grpSp>
      <p:sp>
        <p:nvSpPr>
          <p:cNvPr id="64" name="TextBox 63">
            <a:extLst>
              <a:ext uri="{FF2B5EF4-FFF2-40B4-BE49-F238E27FC236}">
                <a16:creationId xmlns:a16="http://schemas.microsoft.com/office/drawing/2014/main" id="{8C316125-1529-ACEE-C1B6-0972C1309A9E}"/>
              </a:ext>
            </a:extLst>
          </p:cNvPr>
          <p:cNvSpPr txBox="1"/>
          <p:nvPr/>
        </p:nvSpPr>
        <p:spPr bwMode="auto">
          <a:xfrm>
            <a:off x="3538658" y="4550444"/>
            <a:ext cx="1424145" cy="276999"/>
          </a:xfrm>
          <a:prstGeom prst="rect">
            <a:avLst/>
          </a:prstGeom>
          <a:noFill/>
        </p:spPr>
        <p:txBody>
          <a:bodyPr wrap="square" lIns="0" tIns="0" rIns="0" bIns="0" rtlCol="0">
            <a:spAutoFit/>
          </a:bodyPr>
          <a:lstStyle/>
          <a:p>
            <a:pPr>
              <a:defRPr/>
            </a:pPr>
            <a:r>
              <a:rPr lang="pt-BR" sz="900" kern="0" noProof="1">
                <a:solidFill>
                  <a:srgbClr val="000000"/>
                </a:solidFill>
                <a:latin typeface="Graphik" panose="020B0503030202060203" pitchFamily="34" charset="77"/>
              </a:rPr>
              <a:t>Steering committee reviews (quarterly)</a:t>
            </a:r>
          </a:p>
        </p:txBody>
      </p:sp>
      <p:sp>
        <p:nvSpPr>
          <p:cNvPr id="3" name="5-Point Star 122">
            <a:extLst>
              <a:ext uri="{FF2B5EF4-FFF2-40B4-BE49-F238E27FC236}">
                <a16:creationId xmlns:a16="http://schemas.microsoft.com/office/drawing/2014/main" id="{88DC9556-4F3B-B38E-B960-AA2D37CBAAF0}"/>
              </a:ext>
              <a:ext uri="{C183D7F6-B498-43B3-948B-1728B52AA6E4}">
                <adec:decorative xmlns:adec="http://schemas.microsoft.com/office/drawing/2017/decorative" val="1"/>
              </a:ext>
            </a:extLst>
          </p:cNvPr>
          <p:cNvSpPr/>
          <p:nvPr/>
        </p:nvSpPr>
        <p:spPr bwMode="auto">
          <a:xfrm>
            <a:off x="8173876" y="4727330"/>
            <a:ext cx="277699" cy="245660"/>
          </a:xfrm>
          <a:prstGeom prst="star5">
            <a:avLst/>
          </a:prstGeom>
          <a:solidFill>
            <a:schemeClr val="accent4"/>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eaLnBrk="0" fontAlgn="base" hangingPunct="0">
              <a:lnSpc>
                <a:spcPct val="80000"/>
              </a:lnSpc>
              <a:spcBef>
                <a:spcPct val="0"/>
              </a:spcBef>
              <a:spcAft>
                <a:spcPct val="0"/>
              </a:spcAft>
              <a:defRPr/>
            </a:pPr>
            <a:endParaRPr lang="pt-BR" sz="3200" kern="0" noProof="1">
              <a:solidFill>
                <a:srgbClr val="000000"/>
              </a:solidFill>
              <a:latin typeface="Graphik" panose="020B0503030202060203" pitchFamily="34" charset="77"/>
            </a:endParaRPr>
          </a:p>
        </p:txBody>
      </p:sp>
      <p:sp>
        <p:nvSpPr>
          <p:cNvPr id="5" name="5-Point Star 122">
            <a:extLst>
              <a:ext uri="{FF2B5EF4-FFF2-40B4-BE49-F238E27FC236}">
                <a16:creationId xmlns:a16="http://schemas.microsoft.com/office/drawing/2014/main" id="{7CDFCC14-0E42-890B-65FE-A4D9A9780F66}"/>
              </a:ext>
              <a:ext uri="{C183D7F6-B498-43B3-948B-1728B52AA6E4}">
                <adec:decorative xmlns:adec="http://schemas.microsoft.com/office/drawing/2017/decorative" val="1"/>
              </a:ext>
            </a:extLst>
          </p:cNvPr>
          <p:cNvSpPr/>
          <p:nvPr/>
        </p:nvSpPr>
        <p:spPr bwMode="auto">
          <a:xfrm>
            <a:off x="9792515" y="4750162"/>
            <a:ext cx="277699" cy="245660"/>
          </a:xfrm>
          <a:prstGeom prst="star5">
            <a:avLst/>
          </a:prstGeom>
          <a:solidFill>
            <a:schemeClr val="accent4"/>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eaLnBrk="0" fontAlgn="base" hangingPunct="0">
              <a:lnSpc>
                <a:spcPct val="80000"/>
              </a:lnSpc>
              <a:spcBef>
                <a:spcPct val="0"/>
              </a:spcBef>
              <a:spcAft>
                <a:spcPct val="0"/>
              </a:spcAft>
              <a:defRPr/>
            </a:pPr>
            <a:endParaRPr lang="pt-BR" sz="3200" kern="0" noProof="1">
              <a:solidFill>
                <a:srgbClr val="000000"/>
              </a:solidFill>
              <a:latin typeface="Graphik" panose="020B0503030202060203" pitchFamily="34" charset="77"/>
            </a:endParaRPr>
          </a:p>
        </p:txBody>
      </p:sp>
      <p:sp>
        <p:nvSpPr>
          <p:cNvPr id="63" name="5-Point Star 122">
            <a:extLst>
              <a:ext uri="{FF2B5EF4-FFF2-40B4-BE49-F238E27FC236}">
                <a16:creationId xmlns:a16="http://schemas.microsoft.com/office/drawing/2014/main" id="{9B912F34-9078-54E3-F990-D97EB4CC4910}"/>
              </a:ext>
              <a:ext uri="{C183D7F6-B498-43B3-948B-1728B52AA6E4}">
                <adec:decorative xmlns:adec="http://schemas.microsoft.com/office/drawing/2017/decorative" val="1"/>
              </a:ext>
            </a:extLst>
          </p:cNvPr>
          <p:cNvSpPr/>
          <p:nvPr/>
        </p:nvSpPr>
        <p:spPr bwMode="auto">
          <a:xfrm>
            <a:off x="3190009" y="4566112"/>
            <a:ext cx="277699" cy="245660"/>
          </a:xfrm>
          <a:prstGeom prst="star5">
            <a:avLst/>
          </a:prstGeom>
          <a:solidFill>
            <a:schemeClr val="accent4"/>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eaLnBrk="0" fontAlgn="base" hangingPunct="0">
              <a:lnSpc>
                <a:spcPct val="80000"/>
              </a:lnSpc>
              <a:spcBef>
                <a:spcPct val="0"/>
              </a:spcBef>
              <a:spcAft>
                <a:spcPct val="0"/>
              </a:spcAft>
              <a:defRPr/>
            </a:pPr>
            <a:endParaRPr lang="pt-BR" sz="3200" kern="0" noProof="1">
              <a:solidFill>
                <a:srgbClr val="000000"/>
              </a:solidFill>
              <a:latin typeface="Graphik" panose="020B0503030202060203" pitchFamily="34" charset="77"/>
            </a:endParaRPr>
          </a:p>
        </p:txBody>
      </p:sp>
      <p:graphicFrame>
        <p:nvGraphicFramePr>
          <p:cNvPr id="6" name="Table 5" descr="Project Timelines 3 key deliverables table">
            <a:extLst>
              <a:ext uri="{FF2B5EF4-FFF2-40B4-BE49-F238E27FC236}">
                <a16:creationId xmlns:a16="http://schemas.microsoft.com/office/drawing/2014/main" id="{E198DBFA-D8D1-44DA-9F7D-A2A2F0E8C7AC}"/>
              </a:ext>
            </a:extLst>
          </p:cNvPr>
          <p:cNvGraphicFramePr>
            <a:graphicFrameLocks noGrp="1"/>
          </p:cNvGraphicFramePr>
          <p:nvPr>
            <p:extLst>
              <p:ext uri="{D42A27DB-BD31-4B8C-83A1-F6EECF244321}">
                <p14:modId xmlns:p14="http://schemas.microsoft.com/office/powerpoint/2010/main" val="2123318143"/>
              </p:ext>
            </p:extLst>
          </p:nvPr>
        </p:nvGraphicFramePr>
        <p:xfrm>
          <a:off x="1992315" y="4946485"/>
          <a:ext cx="8203443" cy="1295400"/>
        </p:xfrm>
        <a:graphic>
          <a:graphicData uri="http://schemas.openxmlformats.org/drawingml/2006/table">
            <a:tbl>
              <a:tblPr firstRow="1" bandRow="1"/>
              <a:tblGrid>
                <a:gridCol w="2381320">
                  <a:extLst>
                    <a:ext uri="{9D8B030D-6E8A-4147-A177-3AD203B41FA5}">
                      <a16:colId xmlns:a16="http://schemas.microsoft.com/office/drawing/2014/main" val="20000"/>
                    </a:ext>
                  </a:extLst>
                </a:gridCol>
                <a:gridCol w="5822123">
                  <a:extLst>
                    <a:ext uri="{9D8B030D-6E8A-4147-A177-3AD203B41FA5}">
                      <a16:colId xmlns:a16="http://schemas.microsoft.com/office/drawing/2014/main" val="20001"/>
                    </a:ext>
                  </a:extLst>
                </a:gridCol>
              </a:tblGrid>
              <a:tr h="254000">
                <a:tc>
                  <a:txBody>
                    <a:bodyPr/>
                    <a:lstStyle>
                      <a:lvl1pPr marL="0" algn="l" defTabSz="914400" rtl="0" eaLnBrk="1" latinLnBrk="0" hangingPunct="1">
                        <a:defRPr sz="1800" b="1" kern="1200">
                          <a:solidFill>
                            <a:schemeClr val="lt1"/>
                          </a:solidFill>
                          <a:latin typeface="Graphik"/>
                        </a:defRPr>
                      </a:lvl1pPr>
                      <a:lvl2pPr marL="457200" algn="l" defTabSz="914400" rtl="0" eaLnBrk="1" latinLnBrk="0" hangingPunct="1">
                        <a:defRPr sz="1800" b="1" kern="1200">
                          <a:solidFill>
                            <a:schemeClr val="lt1"/>
                          </a:solidFill>
                          <a:latin typeface="Graphik"/>
                        </a:defRPr>
                      </a:lvl2pPr>
                      <a:lvl3pPr marL="914400" algn="l" defTabSz="914400" rtl="0" eaLnBrk="1" latinLnBrk="0" hangingPunct="1">
                        <a:defRPr sz="1800" b="1" kern="1200">
                          <a:solidFill>
                            <a:schemeClr val="lt1"/>
                          </a:solidFill>
                          <a:latin typeface="Graphik"/>
                        </a:defRPr>
                      </a:lvl3pPr>
                      <a:lvl4pPr marL="1371600" algn="l" defTabSz="914400" rtl="0" eaLnBrk="1" latinLnBrk="0" hangingPunct="1">
                        <a:defRPr sz="1800" b="1" kern="1200">
                          <a:solidFill>
                            <a:schemeClr val="lt1"/>
                          </a:solidFill>
                          <a:latin typeface="Graphik"/>
                        </a:defRPr>
                      </a:lvl4pPr>
                      <a:lvl5pPr marL="1828800" algn="l" defTabSz="914400" rtl="0" eaLnBrk="1" latinLnBrk="0" hangingPunct="1">
                        <a:defRPr sz="1800" b="1" kern="1200">
                          <a:solidFill>
                            <a:schemeClr val="lt1"/>
                          </a:solidFill>
                          <a:latin typeface="Graphik"/>
                        </a:defRPr>
                      </a:lvl5pPr>
                      <a:lvl6pPr marL="2286000" algn="l" defTabSz="914400" rtl="0" eaLnBrk="1" latinLnBrk="0" hangingPunct="1">
                        <a:defRPr sz="1800" b="1" kern="1200">
                          <a:solidFill>
                            <a:schemeClr val="lt1"/>
                          </a:solidFill>
                          <a:latin typeface="Graphik"/>
                        </a:defRPr>
                      </a:lvl6pPr>
                      <a:lvl7pPr marL="2743200" algn="l" defTabSz="914400" rtl="0" eaLnBrk="1" latinLnBrk="0" hangingPunct="1">
                        <a:defRPr sz="1800" b="1" kern="1200">
                          <a:solidFill>
                            <a:schemeClr val="lt1"/>
                          </a:solidFill>
                          <a:latin typeface="Graphik"/>
                        </a:defRPr>
                      </a:lvl7pPr>
                      <a:lvl8pPr marL="3200400" algn="l" defTabSz="914400" rtl="0" eaLnBrk="1" latinLnBrk="0" hangingPunct="1">
                        <a:defRPr sz="1800" b="1" kern="1200">
                          <a:solidFill>
                            <a:schemeClr val="lt1"/>
                          </a:solidFill>
                          <a:latin typeface="Graphik"/>
                        </a:defRPr>
                      </a:lvl8pPr>
                      <a:lvl9pPr marL="3657600" algn="l" defTabSz="914400" rtl="0" eaLnBrk="1" latinLnBrk="0" hangingPunct="1">
                        <a:defRPr sz="1800" b="1" kern="1200">
                          <a:solidFill>
                            <a:schemeClr val="lt1"/>
                          </a:solidFill>
                          <a:latin typeface="Graphik"/>
                        </a:defRPr>
                      </a:lvl9pPr>
                    </a:lstStyle>
                    <a:p>
                      <a:pPr algn="l" rtl="0"/>
                      <a:r>
                        <a:rPr lang="pt-BR" sz="1100" noProof="1">
                          <a:latin typeface="Graphik Semibold" panose="020B0703030202060203" pitchFamily="34" charset="0"/>
                        </a:rPr>
                        <a:t>Key deliverables</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b="1" kern="1200">
                          <a:solidFill>
                            <a:schemeClr val="lt1"/>
                          </a:solidFill>
                          <a:latin typeface="Graphik"/>
                        </a:defRPr>
                      </a:lvl1pPr>
                      <a:lvl2pPr marL="457200" algn="l" defTabSz="914400" rtl="0" eaLnBrk="1" latinLnBrk="0" hangingPunct="1">
                        <a:defRPr sz="1800" b="1" kern="1200">
                          <a:solidFill>
                            <a:schemeClr val="lt1"/>
                          </a:solidFill>
                          <a:latin typeface="Graphik"/>
                        </a:defRPr>
                      </a:lvl2pPr>
                      <a:lvl3pPr marL="914400" algn="l" defTabSz="914400" rtl="0" eaLnBrk="1" latinLnBrk="0" hangingPunct="1">
                        <a:defRPr sz="1800" b="1" kern="1200">
                          <a:solidFill>
                            <a:schemeClr val="lt1"/>
                          </a:solidFill>
                          <a:latin typeface="Graphik"/>
                        </a:defRPr>
                      </a:lvl3pPr>
                      <a:lvl4pPr marL="1371600" algn="l" defTabSz="914400" rtl="0" eaLnBrk="1" latinLnBrk="0" hangingPunct="1">
                        <a:defRPr sz="1800" b="1" kern="1200">
                          <a:solidFill>
                            <a:schemeClr val="lt1"/>
                          </a:solidFill>
                          <a:latin typeface="Graphik"/>
                        </a:defRPr>
                      </a:lvl4pPr>
                      <a:lvl5pPr marL="1828800" algn="l" defTabSz="914400" rtl="0" eaLnBrk="1" latinLnBrk="0" hangingPunct="1">
                        <a:defRPr sz="1800" b="1" kern="1200">
                          <a:solidFill>
                            <a:schemeClr val="lt1"/>
                          </a:solidFill>
                          <a:latin typeface="Graphik"/>
                        </a:defRPr>
                      </a:lvl5pPr>
                      <a:lvl6pPr marL="2286000" algn="l" defTabSz="914400" rtl="0" eaLnBrk="1" latinLnBrk="0" hangingPunct="1">
                        <a:defRPr sz="1800" b="1" kern="1200">
                          <a:solidFill>
                            <a:schemeClr val="lt1"/>
                          </a:solidFill>
                          <a:latin typeface="Graphik"/>
                        </a:defRPr>
                      </a:lvl6pPr>
                      <a:lvl7pPr marL="2743200" algn="l" defTabSz="914400" rtl="0" eaLnBrk="1" latinLnBrk="0" hangingPunct="1">
                        <a:defRPr sz="1800" b="1" kern="1200">
                          <a:solidFill>
                            <a:schemeClr val="lt1"/>
                          </a:solidFill>
                          <a:latin typeface="Graphik"/>
                        </a:defRPr>
                      </a:lvl7pPr>
                      <a:lvl8pPr marL="3200400" algn="l" defTabSz="914400" rtl="0" eaLnBrk="1" latinLnBrk="0" hangingPunct="1">
                        <a:defRPr sz="1800" b="1" kern="1200">
                          <a:solidFill>
                            <a:schemeClr val="lt1"/>
                          </a:solidFill>
                          <a:latin typeface="Graphik"/>
                        </a:defRPr>
                      </a:lvl8pPr>
                      <a:lvl9pPr marL="3657600" algn="l" defTabSz="914400" rtl="0" eaLnBrk="1" latinLnBrk="0" hangingPunct="1">
                        <a:defRPr sz="1800" b="1" kern="1200">
                          <a:solidFill>
                            <a:schemeClr val="lt1"/>
                          </a:solidFill>
                          <a:latin typeface="Graphik"/>
                        </a:defRPr>
                      </a:lvl9pPr>
                    </a:lstStyle>
                    <a:p>
                      <a:pPr algn="l" rtl="0"/>
                      <a:r>
                        <a:rPr lang="pt-BR" sz="1100" noProof="1">
                          <a:latin typeface="Graphik Semibold" panose="020B0703030202060203" pitchFamily="34" charset="0"/>
                        </a:rPr>
                        <a:t>Dependencies</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254000">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pt-BR" sz="1100" b="0" i="0" noProof="1">
                          <a:solidFill>
                            <a:schemeClr val="tx1"/>
                          </a:solidFill>
                          <a:latin typeface="Graphik" panose="020B0503030202060203" pitchFamily="34" charset="77"/>
                        </a:rPr>
                        <a:t>Work plan</a:t>
                      </a:r>
                      <a:endParaRPr lang="pt-BR" sz="1100" b="0" i="0" noProof="1">
                        <a:latin typeface="Graphik" panose="020B0503030202060203" pitchFamily="34" charset="77"/>
                      </a:endParaRPr>
                    </a:p>
                  </a:txBody>
                  <a:tcPr>
                    <a:lnL w="12700" cmpd="sng">
                      <a:noFill/>
                    </a:lnL>
                    <a:lnR w="12700" cmpd="sng">
                      <a:noFill/>
                    </a:lnR>
                    <a:lnT w="38100" cmpd="sng">
                      <a:noFill/>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rtl="0"/>
                      <a:r>
                        <a:rPr lang="pt-BR" sz="1100" b="0" i="0" noProof="1">
                          <a:latin typeface="Graphik" panose="020B0503030202060203" pitchFamily="34" charset="77"/>
                        </a:rPr>
                        <a:t>Placeholder </a:t>
                      </a:r>
                    </a:p>
                  </a:txBody>
                  <a:tcPr>
                    <a:lnL w="12700" cmpd="sng">
                      <a:noFill/>
                    </a:lnL>
                    <a:lnR w="12700" cmpd="sng">
                      <a:noFill/>
                    </a:lnR>
                    <a:lnT w="38100" cmpd="sng">
                      <a:noFill/>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54000">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pt-BR" sz="1100" b="0" i="0" noProof="1">
                          <a:solidFill>
                            <a:schemeClr val="tx1"/>
                          </a:solidFill>
                          <a:latin typeface="Graphik" panose="020B0503030202060203" pitchFamily="34" charset="77"/>
                        </a:rPr>
                        <a:t>Issue log template</a:t>
                      </a:r>
                      <a:endParaRPr lang="pt-BR" sz="1100" b="0" i="0" noProof="1">
                        <a:latin typeface="Graphik" panose="020B0503030202060203" pitchFamily="34" charset="77"/>
                      </a:endParaRPr>
                    </a:p>
                  </a:txBody>
                  <a:tcPr>
                    <a:lnL w="12700" cmpd="sng">
                      <a:noFill/>
                    </a:lnL>
                    <a:lnR w="12700" cmpd="sng">
                      <a:noFill/>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rtl="0"/>
                      <a:r>
                        <a:rPr lang="pt-BR" sz="1100" b="0" i="0" noProof="1">
                          <a:latin typeface="Graphik" panose="020B0503030202060203" pitchFamily="34" charset="77"/>
                        </a:rPr>
                        <a:t>Placeholder</a:t>
                      </a:r>
                    </a:p>
                  </a:txBody>
                  <a:tcPr>
                    <a:lnL w="12700" cmpd="sng">
                      <a:noFill/>
                    </a:lnL>
                    <a:lnR w="12700" cmpd="sng">
                      <a:noFill/>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54000">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pt-BR" sz="1100" b="0" i="0" noProof="1">
                          <a:solidFill>
                            <a:schemeClr val="tx1"/>
                          </a:solidFill>
                          <a:latin typeface="Graphik" panose="020B0503030202060203" pitchFamily="34" charset="77"/>
                        </a:rPr>
                        <a:t>Change impacts list</a:t>
                      </a:r>
                      <a:endParaRPr lang="pt-BR" sz="1100" b="0" i="0" noProof="1">
                        <a:latin typeface="Graphik" panose="020B0503030202060203" pitchFamily="34" charset="77"/>
                      </a:endParaRPr>
                    </a:p>
                  </a:txBody>
                  <a:tcPr>
                    <a:lnL w="12700" cmpd="sng">
                      <a:noFill/>
                    </a:lnL>
                    <a:lnR w="12700" cmpd="sng">
                      <a:noFill/>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rtl="0"/>
                      <a:r>
                        <a:rPr lang="pt-BR" sz="1100" b="0" i="0" noProof="1">
                          <a:latin typeface="Graphik" panose="020B0503030202060203" pitchFamily="34" charset="77"/>
                        </a:rPr>
                        <a:t>Placeholder</a:t>
                      </a:r>
                    </a:p>
                  </a:txBody>
                  <a:tcPr>
                    <a:lnL w="12700" cmpd="sng">
                      <a:noFill/>
                    </a:lnL>
                    <a:lnR w="12700" cmpd="sng">
                      <a:noFill/>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54000">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pt-BR" sz="1100" b="0" i="0" noProof="1">
                          <a:solidFill>
                            <a:schemeClr val="tx1"/>
                          </a:solidFill>
                          <a:latin typeface="Graphik" panose="020B0503030202060203" pitchFamily="34" charset="77"/>
                        </a:rPr>
                        <a:t>Communication plan</a:t>
                      </a:r>
                      <a:endParaRPr lang="pt-BR" sz="1100" b="0" i="0" noProof="1">
                        <a:latin typeface="Graphik" panose="020B0503030202060203" pitchFamily="34" charset="77"/>
                      </a:endParaRPr>
                    </a:p>
                  </a:txBody>
                  <a:tcPr>
                    <a:lnL w="12700" cmpd="sng">
                      <a:noFill/>
                    </a:lnL>
                    <a:lnR w="12700" cmpd="sng">
                      <a:noFill/>
                    </a:lnR>
                    <a:lnT w="6350" cap="flat" cmpd="sng" algn="ctr">
                      <a:solidFill>
                        <a:schemeClr val="tx1">
                          <a:lumMod val="50000"/>
                          <a:lumOff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rtl="0"/>
                      <a:r>
                        <a:rPr lang="pt-BR" sz="1100" b="0" i="0" noProof="1">
                          <a:latin typeface="Graphik" panose="020B0503030202060203" pitchFamily="34" charset="77"/>
                        </a:rPr>
                        <a:t>Placeholder</a:t>
                      </a:r>
                    </a:p>
                  </a:txBody>
                  <a:tcPr>
                    <a:lnL w="12700" cmpd="sng">
                      <a:noFill/>
                    </a:lnL>
                    <a:lnR w="12700" cmpd="sng">
                      <a:noFill/>
                    </a:lnR>
                    <a:lnT w="6350" cap="flat" cmpd="sng" algn="ctr">
                      <a:solidFill>
                        <a:schemeClr val="tx1">
                          <a:lumMod val="50000"/>
                          <a:lumOff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3049446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7739D3-8A61-C510-EDF3-BF756A31DE3B}"/>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97EFAAE-DDE0-EBDC-3427-14AE6F0652BB}"/>
              </a:ext>
            </a:extLst>
          </p:cNvPr>
          <p:cNvGraphicFramePr>
            <a:graphicFrameLocks noChangeAspect="1"/>
          </p:cNvGraphicFramePr>
          <p:nvPr>
            <p:custDataLst>
              <p:tags r:id="rId1"/>
            </p:custDataLst>
            <p:extLst>
              <p:ext uri="{D42A27DB-BD31-4B8C-83A1-F6EECF244321}">
                <p14:modId xmlns:p14="http://schemas.microsoft.com/office/powerpoint/2010/main" val="3972560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3" name="think-cell data - do not delete" hidden="1">
                        <a:extLst>
                          <a:ext uri="{FF2B5EF4-FFF2-40B4-BE49-F238E27FC236}">
                            <a16:creationId xmlns:a16="http://schemas.microsoft.com/office/drawing/2014/main" id="{E97EFAAE-DDE0-EBDC-3427-14AE6F0652B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14">
            <a:extLst>
              <a:ext uri="{FF2B5EF4-FFF2-40B4-BE49-F238E27FC236}">
                <a16:creationId xmlns:a16="http://schemas.microsoft.com/office/drawing/2014/main" id="{C478DC5A-ADEC-A438-5A07-B0FD9B7B1C82}"/>
              </a:ext>
            </a:extLst>
          </p:cNvPr>
          <p:cNvSpPr>
            <a:spLocks noGrp="1"/>
          </p:cNvSpPr>
          <p:nvPr>
            <p:ph type="title"/>
          </p:nvPr>
        </p:nvSpPr>
        <p:spPr>
          <a:xfrm>
            <a:off x="563410" y="558086"/>
            <a:ext cx="10966140" cy="393954"/>
          </a:xfrm>
        </p:spPr>
        <p:txBody>
          <a:bodyPr vert="horz"/>
          <a:lstStyle/>
          <a:p>
            <a:r>
              <a:rPr lang="pt-BR" b="1" noProof="1"/>
              <a:t>Histórico dos Métodos Numéricos - (1/2)</a:t>
            </a:r>
            <a:endParaRPr lang="pt-BR" noProof="1"/>
          </a:p>
        </p:txBody>
      </p:sp>
      <p:sp>
        <p:nvSpPr>
          <p:cNvPr id="22" name="Text Placeholder 21">
            <a:extLst>
              <a:ext uri="{FF2B5EF4-FFF2-40B4-BE49-F238E27FC236}">
                <a16:creationId xmlns:a16="http://schemas.microsoft.com/office/drawing/2014/main" id="{D517E5B9-E4DA-64A7-70D3-3BA4DFEEB950}"/>
              </a:ext>
            </a:extLst>
          </p:cNvPr>
          <p:cNvSpPr>
            <a:spLocks noGrp="1"/>
          </p:cNvSpPr>
          <p:nvPr>
            <p:ph type="body" sz="quarter" idx="26"/>
          </p:nvPr>
        </p:nvSpPr>
        <p:spPr>
          <a:xfrm>
            <a:off x="563410" y="1609787"/>
            <a:ext cx="6665429" cy="384048"/>
          </a:xfrm>
        </p:spPr>
        <p:txBody>
          <a:bodyPr/>
          <a:lstStyle/>
          <a:p>
            <a:r>
              <a:rPr lang="pt-BR" noProof="1">
                <a:solidFill>
                  <a:schemeClr val="bg2"/>
                </a:solidFill>
              </a:rPr>
              <a:t>Da formulação variacional aos métodos contemporâneos</a:t>
            </a:r>
          </a:p>
        </p:txBody>
      </p:sp>
      <p:grpSp>
        <p:nvGrpSpPr>
          <p:cNvPr id="63" name="Group 62">
            <a:extLst>
              <a:ext uri="{FF2B5EF4-FFF2-40B4-BE49-F238E27FC236}">
                <a16:creationId xmlns:a16="http://schemas.microsoft.com/office/drawing/2014/main" id="{CCA7D18A-5E5C-4896-9BCB-DF80B411D9B1}"/>
              </a:ext>
            </a:extLst>
          </p:cNvPr>
          <p:cNvGrpSpPr/>
          <p:nvPr/>
        </p:nvGrpSpPr>
        <p:grpSpPr>
          <a:xfrm>
            <a:off x="4943100" y="2525284"/>
            <a:ext cx="4314790" cy="3763647"/>
            <a:chOff x="4743153" y="2525284"/>
            <a:chExt cx="4314790" cy="3763647"/>
          </a:xfrm>
        </p:grpSpPr>
        <p:sp>
          <p:nvSpPr>
            <p:cNvPr id="6" name="Text Placeholder 22">
              <a:extLst>
                <a:ext uri="{FF2B5EF4-FFF2-40B4-BE49-F238E27FC236}">
                  <a16:creationId xmlns:a16="http://schemas.microsoft.com/office/drawing/2014/main" id="{BA0CBFB2-A7EC-AF5F-3DBF-87279669B2AE}"/>
                </a:ext>
              </a:extLst>
            </p:cNvPr>
            <p:cNvSpPr txBox="1">
              <a:spLocks/>
            </p:cNvSpPr>
            <p:nvPr/>
          </p:nvSpPr>
          <p:spPr>
            <a:xfrm>
              <a:off x="4743153" y="2525284"/>
              <a:ext cx="4314790" cy="734935"/>
            </a:xfrm>
            <a:prstGeom prst="rect">
              <a:avLst/>
            </a:prstGeom>
            <a:ln>
              <a:noFill/>
            </a:ln>
          </p:spPr>
          <p:txBody>
            <a:bodyPr vert="horz" lIns="0" tIns="0" rIns="0" bIns="0" rtlCol="0">
              <a:noAutofit/>
            </a:bodyPr>
            <a:lstStyle>
              <a:lvl1pPr marL="0" indent="0" algn="l" defTabSz="228594" rtl="0" eaLnBrk="1" latinLnBrk="0" hangingPunct="1">
                <a:lnSpc>
                  <a:spcPct val="100000"/>
                </a:lnSpc>
                <a:spcBef>
                  <a:spcPts val="0"/>
                </a:spcBef>
                <a:spcAft>
                  <a:spcPts val="1200"/>
                </a:spcAft>
                <a:buFont typeface="Arial" panose="020B0604020202020204" pitchFamily="34" charset="0"/>
                <a:buNone/>
                <a:defRPr lang="en-US" sz="1200" b="0" kern="1200" dirty="0" smtClean="0">
                  <a:solidFill>
                    <a:schemeClr val="tx1"/>
                  </a:solidFill>
                  <a:latin typeface="+mn-lt"/>
                  <a:ea typeface="+mn-ea"/>
                  <a:cs typeface="+mn-cs"/>
                </a:defRPr>
              </a:lvl1pPr>
              <a:lvl2pPr marL="228594" indent="-228594" algn="l" defTabSz="228594" rtl="0" eaLnBrk="1" latinLnBrk="0" hangingPunct="1">
                <a:lnSpc>
                  <a:spcPct val="100000"/>
                </a:lnSpc>
                <a:spcBef>
                  <a:spcPts val="0"/>
                </a:spcBef>
                <a:spcAft>
                  <a:spcPts val="1200"/>
                </a:spcAft>
                <a:buClrTx/>
                <a:buFont typeface="Arial" panose="020B0604020202020204" pitchFamily="34" charset="0"/>
                <a:buChar char="•"/>
                <a:defRPr lang="en-US" sz="1400" b="0" kern="1200" dirty="0" smtClean="0">
                  <a:solidFill>
                    <a:schemeClr val="tx1"/>
                  </a:solidFill>
                  <a:latin typeface="+mn-lt"/>
                  <a:ea typeface="+mn-ea"/>
                  <a:cs typeface="+mn-cs"/>
                </a:defRPr>
              </a:lvl2pPr>
              <a:lvl3pPr marL="457189" indent="-228594" algn="l" defTabSz="228594" rtl="0" eaLnBrk="1" latinLnBrk="0" hangingPunct="1">
                <a:lnSpc>
                  <a:spcPct val="100000"/>
                </a:lnSpc>
                <a:spcBef>
                  <a:spcPts val="0"/>
                </a:spcBef>
                <a:spcAft>
                  <a:spcPts val="1200"/>
                </a:spcAft>
                <a:buFont typeface="System Font"/>
                <a:buChar char="–"/>
                <a:defRPr sz="1200" kern="1200">
                  <a:solidFill>
                    <a:schemeClr val="tx1"/>
                  </a:solidFill>
                  <a:latin typeface="+mn-lt"/>
                  <a:ea typeface="+mn-ea"/>
                  <a:cs typeface="+mn-cs"/>
                </a:defRPr>
              </a:lvl3pPr>
              <a:lvl4pPr marL="685783" indent="-228594" algn="l" defTabSz="228594" rtl="0" eaLnBrk="1" latinLnBrk="0" hangingPunct="1">
                <a:lnSpc>
                  <a:spcPct val="100000"/>
                </a:lnSpc>
                <a:spcBef>
                  <a:spcPts val="0"/>
                </a:spcBef>
                <a:spcAft>
                  <a:spcPts val="1200"/>
                </a:spcAft>
                <a:buFont typeface="Arial" panose="020B0604020202020204" pitchFamily="34" charset="0"/>
                <a:buChar char="•"/>
                <a:defRPr sz="1100" kern="1200">
                  <a:solidFill>
                    <a:schemeClr val="tx1"/>
                  </a:solidFill>
                  <a:latin typeface="+mn-lt"/>
                  <a:ea typeface="+mn-ea"/>
                  <a:cs typeface="+mn-cs"/>
                </a:defRPr>
              </a:lvl4pPr>
              <a:lvl5pPr marL="914377" indent="-228594" algn="l" defTabSz="228594" rtl="0" eaLnBrk="1" latinLnBrk="0" hangingPunct="1">
                <a:lnSpc>
                  <a:spcPct val="100000"/>
                </a:lnSpc>
                <a:spcBef>
                  <a:spcPts val="0"/>
                </a:spcBef>
                <a:spcAft>
                  <a:spcPts val="1200"/>
                </a:spcAft>
                <a:buFont typeface="System Font"/>
                <a:buChar char="–"/>
                <a:defRPr sz="1100" kern="1200">
                  <a:solidFill>
                    <a:schemeClr val="tx1"/>
                  </a:solidFill>
                  <a:latin typeface="+mn-lt"/>
                  <a:ea typeface="+mn-ea"/>
                  <a:cs typeface="+mn-cs"/>
                </a:defRPr>
              </a:lvl5pPr>
              <a:lvl6pPr marL="11113" indent="0" algn="l" defTabSz="228594" rtl="0" eaLnBrk="1" latinLnBrk="0" hangingPunct="1">
                <a:lnSpc>
                  <a:spcPct val="90000"/>
                </a:lnSpc>
                <a:spcBef>
                  <a:spcPts val="0"/>
                </a:spcBef>
                <a:spcAft>
                  <a:spcPts val="1200"/>
                </a:spcAft>
                <a:buFont typeface="Graphik" panose="020B0503030202060203" pitchFamily="34" charset="0"/>
                <a:buNone/>
                <a:tabLst/>
                <a:defRPr sz="1200" kern="1200">
                  <a:solidFill>
                    <a:schemeClr val="tx1"/>
                  </a:solidFill>
                  <a:latin typeface="+mn-lt"/>
                  <a:ea typeface="+mn-ea"/>
                  <a:cs typeface="+mn-cs"/>
                </a:defRPr>
              </a:lvl6pPr>
              <a:lvl7pPr marL="0" indent="0" algn="l" defTabSz="22859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mn-lt"/>
                  <a:ea typeface="+mn-ea"/>
                  <a:cs typeface="+mn-cs"/>
                </a:defRPr>
              </a:lvl7pPr>
              <a:lvl8pPr marL="0" indent="0" algn="l" defTabSz="22859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mn-lt"/>
                  <a:ea typeface="+mn-ea"/>
                  <a:cs typeface="+mn-cs"/>
                </a:defRPr>
              </a:lvl8pPr>
              <a:lvl9pPr marL="0" indent="0" algn="l" defTabSz="22859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mn-lt"/>
                  <a:ea typeface="+mn-ea"/>
                  <a:cs typeface="+mn-cs"/>
                </a:defRPr>
              </a:lvl9pPr>
            </a:lstStyle>
            <a:p>
              <a:r>
                <a:rPr lang="pt-BR" noProof="1"/>
                <a:t>Introduziu o método de aproximação variacional usando funções  base, precursor direto dos métodos numéricos modernos.</a:t>
              </a:r>
            </a:p>
          </p:txBody>
        </p:sp>
        <p:sp>
          <p:nvSpPr>
            <p:cNvPr id="7" name="Text Placeholder 25">
              <a:extLst>
                <a:ext uri="{FF2B5EF4-FFF2-40B4-BE49-F238E27FC236}">
                  <a16:creationId xmlns:a16="http://schemas.microsoft.com/office/drawing/2014/main" id="{401C6966-B163-D47F-3030-133EB2B4255C}"/>
                </a:ext>
              </a:extLst>
            </p:cNvPr>
            <p:cNvSpPr txBox="1">
              <a:spLocks/>
            </p:cNvSpPr>
            <p:nvPr/>
          </p:nvSpPr>
          <p:spPr>
            <a:xfrm>
              <a:off x="4743153" y="3538534"/>
              <a:ext cx="4314790" cy="734935"/>
            </a:xfrm>
            <a:prstGeom prst="rect">
              <a:avLst/>
            </a:prstGeom>
            <a:ln>
              <a:noFill/>
            </a:ln>
          </p:spPr>
          <p:txBody>
            <a:bodyPr vert="horz" lIns="0" tIns="0" rIns="0" bIns="0" rtlCol="0">
              <a:noAutofit/>
            </a:bodyPr>
            <a:lstStyle>
              <a:lvl1pPr marL="0" indent="0" algn="l" defTabSz="228594" rtl="0" eaLnBrk="1" latinLnBrk="0" hangingPunct="1">
                <a:lnSpc>
                  <a:spcPct val="100000"/>
                </a:lnSpc>
                <a:spcBef>
                  <a:spcPts val="0"/>
                </a:spcBef>
                <a:spcAft>
                  <a:spcPts val="1200"/>
                </a:spcAft>
                <a:buFont typeface="Arial" panose="020B0604020202020204" pitchFamily="34" charset="0"/>
                <a:buNone/>
                <a:defRPr lang="en-US" sz="1200" b="0" kern="1200" dirty="0" smtClean="0">
                  <a:solidFill>
                    <a:schemeClr val="tx1"/>
                  </a:solidFill>
                  <a:latin typeface="+mn-lt"/>
                  <a:ea typeface="+mn-ea"/>
                  <a:cs typeface="+mn-cs"/>
                </a:defRPr>
              </a:lvl1pPr>
              <a:lvl2pPr marL="228594" indent="-228594" algn="l" defTabSz="228594" rtl="0" eaLnBrk="1" latinLnBrk="0" hangingPunct="1">
                <a:lnSpc>
                  <a:spcPct val="100000"/>
                </a:lnSpc>
                <a:spcBef>
                  <a:spcPts val="0"/>
                </a:spcBef>
                <a:spcAft>
                  <a:spcPts val="1200"/>
                </a:spcAft>
                <a:buClrTx/>
                <a:buFont typeface="Arial" panose="020B0604020202020204" pitchFamily="34" charset="0"/>
                <a:buChar char="•"/>
                <a:defRPr lang="en-US" sz="1400" b="0" kern="1200" dirty="0" smtClean="0">
                  <a:solidFill>
                    <a:schemeClr val="tx1"/>
                  </a:solidFill>
                  <a:latin typeface="+mn-lt"/>
                  <a:ea typeface="+mn-ea"/>
                  <a:cs typeface="+mn-cs"/>
                </a:defRPr>
              </a:lvl2pPr>
              <a:lvl3pPr marL="457189" indent="-228594" algn="l" defTabSz="228594" rtl="0" eaLnBrk="1" latinLnBrk="0" hangingPunct="1">
                <a:lnSpc>
                  <a:spcPct val="100000"/>
                </a:lnSpc>
                <a:spcBef>
                  <a:spcPts val="0"/>
                </a:spcBef>
                <a:spcAft>
                  <a:spcPts val="1200"/>
                </a:spcAft>
                <a:buFont typeface="System Font"/>
                <a:buChar char="–"/>
                <a:defRPr sz="1200" kern="1200">
                  <a:solidFill>
                    <a:schemeClr val="tx1"/>
                  </a:solidFill>
                  <a:latin typeface="+mn-lt"/>
                  <a:ea typeface="+mn-ea"/>
                  <a:cs typeface="+mn-cs"/>
                </a:defRPr>
              </a:lvl3pPr>
              <a:lvl4pPr marL="685783" indent="-228594" algn="l" defTabSz="228594" rtl="0" eaLnBrk="1" latinLnBrk="0" hangingPunct="1">
                <a:lnSpc>
                  <a:spcPct val="100000"/>
                </a:lnSpc>
                <a:spcBef>
                  <a:spcPts val="0"/>
                </a:spcBef>
                <a:spcAft>
                  <a:spcPts val="1200"/>
                </a:spcAft>
                <a:buFont typeface="Arial" panose="020B0604020202020204" pitchFamily="34" charset="0"/>
                <a:buChar char="•"/>
                <a:defRPr sz="1100" kern="1200">
                  <a:solidFill>
                    <a:schemeClr val="tx1"/>
                  </a:solidFill>
                  <a:latin typeface="+mn-lt"/>
                  <a:ea typeface="+mn-ea"/>
                  <a:cs typeface="+mn-cs"/>
                </a:defRPr>
              </a:lvl4pPr>
              <a:lvl5pPr marL="914377" indent="-228594" algn="l" defTabSz="228594" rtl="0" eaLnBrk="1" latinLnBrk="0" hangingPunct="1">
                <a:lnSpc>
                  <a:spcPct val="100000"/>
                </a:lnSpc>
                <a:spcBef>
                  <a:spcPts val="0"/>
                </a:spcBef>
                <a:spcAft>
                  <a:spcPts val="1200"/>
                </a:spcAft>
                <a:buFont typeface="System Font"/>
                <a:buChar char="–"/>
                <a:defRPr sz="1100" kern="1200">
                  <a:solidFill>
                    <a:schemeClr val="tx1"/>
                  </a:solidFill>
                  <a:latin typeface="+mn-lt"/>
                  <a:ea typeface="+mn-ea"/>
                  <a:cs typeface="+mn-cs"/>
                </a:defRPr>
              </a:lvl5pPr>
              <a:lvl6pPr marL="11113" indent="0" algn="l" defTabSz="228594" rtl="0" eaLnBrk="1" latinLnBrk="0" hangingPunct="1">
                <a:lnSpc>
                  <a:spcPct val="90000"/>
                </a:lnSpc>
                <a:spcBef>
                  <a:spcPts val="0"/>
                </a:spcBef>
                <a:spcAft>
                  <a:spcPts val="1200"/>
                </a:spcAft>
                <a:buFont typeface="Graphik" panose="020B0503030202060203" pitchFamily="34" charset="0"/>
                <a:buNone/>
                <a:tabLst/>
                <a:defRPr sz="1200" kern="1200">
                  <a:solidFill>
                    <a:schemeClr val="tx1"/>
                  </a:solidFill>
                  <a:latin typeface="+mn-lt"/>
                  <a:ea typeface="+mn-ea"/>
                  <a:cs typeface="+mn-cs"/>
                </a:defRPr>
              </a:lvl6pPr>
              <a:lvl7pPr marL="0" indent="0" algn="l" defTabSz="22859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mn-lt"/>
                  <a:ea typeface="+mn-ea"/>
                  <a:cs typeface="+mn-cs"/>
                </a:defRPr>
              </a:lvl7pPr>
              <a:lvl8pPr marL="0" indent="0" algn="l" defTabSz="22859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mn-lt"/>
                  <a:ea typeface="+mn-ea"/>
                  <a:cs typeface="+mn-cs"/>
                </a:defRPr>
              </a:lvl8pPr>
              <a:lvl9pPr marL="0" indent="0" algn="l" defTabSz="22859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mn-lt"/>
                  <a:ea typeface="+mn-ea"/>
                  <a:cs typeface="+mn-cs"/>
                </a:defRPr>
              </a:lvl9pPr>
            </a:lstStyle>
            <a:p>
              <a:r>
                <a:rPr lang="pt-BR" noProof="1"/>
                <a:t>Formalizou o método de projeção fraca, estabelecendo a base conceitual da formulação fraca usada no FEM e no VEM.</a:t>
              </a:r>
            </a:p>
          </p:txBody>
        </p:sp>
        <p:sp>
          <p:nvSpPr>
            <p:cNvPr id="8" name="Text Placeholder 28">
              <a:extLst>
                <a:ext uri="{FF2B5EF4-FFF2-40B4-BE49-F238E27FC236}">
                  <a16:creationId xmlns:a16="http://schemas.microsoft.com/office/drawing/2014/main" id="{60912DE4-87C2-83D7-D046-0F336D92D3FF}"/>
                </a:ext>
              </a:extLst>
            </p:cNvPr>
            <p:cNvSpPr txBox="1">
              <a:spLocks/>
            </p:cNvSpPr>
            <p:nvPr/>
          </p:nvSpPr>
          <p:spPr>
            <a:xfrm>
              <a:off x="4743153" y="4540746"/>
              <a:ext cx="4314790" cy="734935"/>
            </a:xfrm>
            <a:prstGeom prst="rect">
              <a:avLst/>
            </a:prstGeom>
            <a:ln>
              <a:noFill/>
            </a:ln>
          </p:spPr>
          <p:txBody>
            <a:bodyPr vert="horz" lIns="0" tIns="0" rIns="0" bIns="0" rtlCol="0">
              <a:noAutofit/>
            </a:bodyPr>
            <a:lstStyle>
              <a:lvl1pPr marL="0" indent="0" algn="l" defTabSz="228594" rtl="0" eaLnBrk="1" latinLnBrk="0" hangingPunct="1">
                <a:lnSpc>
                  <a:spcPct val="100000"/>
                </a:lnSpc>
                <a:spcBef>
                  <a:spcPts val="0"/>
                </a:spcBef>
                <a:spcAft>
                  <a:spcPts val="1200"/>
                </a:spcAft>
                <a:buFont typeface="Arial" panose="020B0604020202020204" pitchFamily="34" charset="0"/>
                <a:buNone/>
                <a:defRPr lang="en-US" sz="1200" b="0" kern="1200" dirty="0" smtClean="0">
                  <a:solidFill>
                    <a:schemeClr val="tx1"/>
                  </a:solidFill>
                  <a:latin typeface="+mn-lt"/>
                  <a:ea typeface="+mn-ea"/>
                  <a:cs typeface="+mn-cs"/>
                </a:defRPr>
              </a:lvl1pPr>
              <a:lvl2pPr marL="228594" indent="-228594" algn="l" defTabSz="228594" rtl="0" eaLnBrk="1" latinLnBrk="0" hangingPunct="1">
                <a:lnSpc>
                  <a:spcPct val="100000"/>
                </a:lnSpc>
                <a:spcBef>
                  <a:spcPts val="0"/>
                </a:spcBef>
                <a:spcAft>
                  <a:spcPts val="1200"/>
                </a:spcAft>
                <a:buClrTx/>
                <a:buFont typeface="Arial" panose="020B0604020202020204" pitchFamily="34" charset="0"/>
                <a:buChar char="•"/>
                <a:defRPr lang="en-US" sz="1400" b="0" kern="1200" dirty="0" smtClean="0">
                  <a:solidFill>
                    <a:schemeClr val="tx1"/>
                  </a:solidFill>
                  <a:latin typeface="+mn-lt"/>
                  <a:ea typeface="+mn-ea"/>
                  <a:cs typeface="+mn-cs"/>
                </a:defRPr>
              </a:lvl2pPr>
              <a:lvl3pPr marL="457189" indent="-228594" algn="l" defTabSz="228594" rtl="0" eaLnBrk="1" latinLnBrk="0" hangingPunct="1">
                <a:lnSpc>
                  <a:spcPct val="100000"/>
                </a:lnSpc>
                <a:spcBef>
                  <a:spcPts val="0"/>
                </a:spcBef>
                <a:spcAft>
                  <a:spcPts val="1200"/>
                </a:spcAft>
                <a:buFont typeface="System Font"/>
                <a:buChar char="–"/>
                <a:defRPr sz="1200" kern="1200">
                  <a:solidFill>
                    <a:schemeClr val="tx1"/>
                  </a:solidFill>
                  <a:latin typeface="+mn-lt"/>
                  <a:ea typeface="+mn-ea"/>
                  <a:cs typeface="+mn-cs"/>
                </a:defRPr>
              </a:lvl3pPr>
              <a:lvl4pPr marL="685783" indent="-228594" algn="l" defTabSz="228594" rtl="0" eaLnBrk="1" latinLnBrk="0" hangingPunct="1">
                <a:lnSpc>
                  <a:spcPct val="100000"/>
                </a:lnSpc>
                <a:spcBef>
                  <a:spcPts val="0"/>
                </a:spcBef>
                <a:spcAft>
                  <a:spcPts val="1200"/>
                </a:spcAft>
                <a:buFont typeface="Arial" panose="020B0604020202020204" pitchFamily="34" charset="0"/>
                <a:buChar char="•"/>
                <a:defRPr sz="1100" kern="1200">
                  <a:solidFill>
                    <a:schemeClr val="tx1"/>
                  </a:solidFill>
                  <a:latin typeface="+mn-lt"/>
                  <a:ea typeface="+mn-ea"/>
                  <a:cs typeface="+mn-cs"/>
                </a:defRPr>
              </a:lvl4pPr>
              <a:lvl5pPr marL="914377" indent="-228594" algn="l" defTabSz="228594" rtl="0" eaLnBrk="1" latinLnBrk="0" hangingPunct="1">
                <a:lnSpc>
                  <a:spcPct val="100000"/>
                </a:lnSpc>
                <a:spcBef>
                  <a:spcPts val="0"/>
                </a:spcBef>
                <a:spcAft>
                  <a:spcPts val="1200"/>
                </a:spcAft>
                <a:buFont typeface="System Font"/>
                <a:buChar char="–"/>
                <a:defRPr sz="1100" kern="1200">
                  <a:solidFill>
                    <a:schemeClr val="tx1"/>
                  </a:solidFill>
                  <a:latin typeface="+mn-lt"/>
                  <a:ea typeface="+mn-ea"/>
                  <a:cs typeface="+mn-cs"/>
                </a:defRPr>
              </a:lvl5pPr>
              <a:lvl6pPr marL="11113" indent="0" algn="l" defTabSz="228594" rtl="0" eaLnBrk="1" latinLnBrk="0" hangingPunct="1">
                <a:lnSpc>
                  <a:spcPct val="90000"/>
                </a:lnSpc>
                <a:spcBef>
                  <a:spcPts val="0"/>
                </a:spcBef>
                <a:spcAft>
                  <a:spcPts val="1200"/>
                </a:spcAft>
                <a:buFont typeface="Graphik" panose="020B0503030202060203" pitchFamily="34" charset="0"/>
                <a:buNone/>
                <a:tabLst/>
                <a:defRPr sz="1200" kern="1200">
                  <a:solidFill>
                    <a:schemeClr val="tx1"/>
                  </a:solidFill>
                  <a:latin typeface="+mn-lt"/>
                  <a:ea typeface="+mn-ea"/>
                  <a:cs typeface="+mn-cs"/>
                </a:defRPr>
              </a:lvl6pPr>
              <a:lvl7pPr marL="0" indent="0" algn="l" defTabSz="22859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mn-lt"/>
                  <a:ea typeface="+mn-ea"/>
                  <a:cs typeface="+mn-cs"/>
                </a:defRPr>
              </a:lvl7pPr>
              <a:lvl8pPr marL="0" indent="0" algn="l" defTabSz="22859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mn-lt"/>
                  <a:ea typeface="+mn-ea"/>
                  <a:cs typeface="+mn-cs"/>
                </a:defRPr>
              </a:lvl8pPr>
              <a:lvl9pPr marL="0" indent="0" algn="l" defTabSz="22859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mn-lt"/>
                  <a:ea typeface="+mn-ea"/>
                  <a:cs typeface="+mn-cs"/>
                </a:defRPr>
              </a:lvl9pPr>
            </a:lstStyle>
            <a:p>
              <a:r>
                <a:rPr lang="pt-BR" noProof="1"/>
                <a:t>Primeira discretização prática do domínio em elementos triangulares para resolver problemas de elasticidade via métodos variacionais.</a:t>
              </a:r>
            </a:p>
          </p:txBody>
        </p:sp>
        <p:sp>
          <p:nvSpPr>
            <p:cNvPr id="9" name="Text Placeholder 31">
              <a:extLst>
                <a:ext uri="{FF2B5EF4-FFF2-40B4-BE49-F238E27FC236}">
                  <a16:creationId xmlns:a16="http://schemas.microsoft.com/office/drawing/2014/main" id="{B5177493-A36F-FB27-459A-B2A4A773BD9F}"/>
                </a:ext>
              </a:extLst>
            </p:cNvPr>
            <p:cNvSpPr txBox="1">
              <a:spLocks/>
            </p:cNvSpPr>
            <p:nvPr/>
          </p:nvSpPr>
          <p:spPr>
            <a:xfrm>
              <a:off x="4743153" y="5553996"/>
              <a:ext cx="4314790" cy="734935"/>
            </a:xfrm>
            <a:prstGeom prst="rect">
              <a:avLst/>
            </a:prstGeom>
            <a:ln>
              <a:noFill/>
            </a:ln>
          </p:spPr>
          <p:txBody>
            <a:bodyPr vert="horz" lIns="0" tIns="0" rIns="0" bIns="0" rtlCol="0">
              <a:noAutofit/>
            </a:bodyPr>
            <a:lstStyle>
              <a:lvl1pPr marL="0" indent="0" algn="l" defTabSz="228594" rtl="0" eaLnBrk="1" latinLnBrk="0" hangingPunct="1">
                <a:lnSpc>
                  <a:spcPct val="100000"/>
                </a:lnSpc>
                <a:spcBef>
                  <a:spcPts val="0"/>
                </a:spcBef>
                <a:spcAft>
                  <a:spcPts val="1200"/>
                </a:spcAft>
                <a:buFont typeface="Arial" panose="020B0604020202020204" pitchFamily="34" charset="0"/>
                <a:buNone/>
                <a:defRPr lang="en-US" sz="1200" b="0" kern="1200" dirty="0" smtClean="0">
                  <a:solidFill>
                    <a:schemeClr val="tx1"/>
                  </a:solidFill>
                  <a:latin typeface="+mn-lt"/>
                  <a:ea typeface="+mn-ea"/>
                  <a:cs typeface="+mn-cs"/>
                </a:defRPr>
              </a:lvl1pPr>
              <a:lvl2pPr marL="228594" indent="-228594" algn="l" defTabSz="228594" rtl="0" eaLnBrk="1" latinLnBrk="0" hangingPunct="1">
                <a:lnSpc>
                  <a:spcPct val="100000"/>
                </a:lnSpc>
                <a:spcBef>
                  <a:spcPts val="0"/>
                </a:spcBef>
                <a:spcAft>
                  <a:spcPts val="1200"/>
                </a:spcAft>
                <a:buClrTx/>
                <a:buFont typeface="Arial" panose="020B0604020202020204" pitchFamily="34" charset="0"/>
                <a:buChar char="•"/>
                <a:defRPr lang="en-US" sz="1400" b="0" kern="1200" dirty="0" smtClean="0">
                  <a:solidFill>
                    <a:schemeClr val="tx1"/>
                  </a:solidFill>
                  <a:latin typeface="+mn-lt"/>
                  <a:ea typeface="+mn-ea"/>
                  <a:cs typeface="+mn-cs"/>
                </a:defRPr>
              </a:lvl2pPr>
              <a:lvl3pPr marL="457189" indent="-228594" algn="l" defTabSz="228594" rtl="0" eaLnBrk="1" latinLnBrk="0" hangingPunct="1">
                <a:lnSpc>
                  <a:spcPct val="100000"/>
                </a:lnSpc>
                <a:spcBef>
                  <a:spcPts val="0"/>
                </a:spcBef>
                <a:spcAft>
                  <a:spcPts val="1200"/>
                </a:spcAft>
                <a:buFont typeface="System Font"/>
                <a:buChar char="–"/>
                <a:defRPr sz="1200" kern="1200">
                  <a:solidFill>
                    <a:schemeClr val="tx1"/>
                  </a:solidFill>
                  <a:latin typeface="+mn-lt"/>
                  <a:ea typeface="+mn-ea"/>
                  <a:cs typeface="+mn-cs"/>
                </a:defRPr>
              </a:lvl3pPr>
              <a:lvl4pPr marL="685783" indent="-228594" algn="l" defTabSz="228594" rtl="0" eaLnBrk="1" latinLnBrk="0" hangingPunct="1">
                <a:lnSpc>
                  <a:spcPct val="100000"/>
                </a:lnSpc>
                <a:spcBef>
                  <a:spcPts val="0"/>
                </a:spcBef>
                <a:spcAft>
                  <a:spcPts val="1200"/>
                </a:spcAft>
                <a:buFont typeface="Arial" panose="020B0604020202020204" pitchFamily="34" charset="0"/>
                <a:buChar char="•"/>
                <a:defRPr sz="1100" kern="1200">
                  <a:solidFill>
                    <a:schemeClr val="tx1"/>
                  </a:solidFill>
                  <a:latin typeface="+mn-lt"/>
                  <a:ea typeface="+mn-ea"/>
                  <a:cs typeface="+mn-cs"/>
                </a:defRPr>
              </a:lvl4pPr>
              <a:lvl5pPr marL="914377" indent="-228594" algn="l" defTabSz="228594" rtl="0" eaLnBrk="1" latinLnBrk="0" hangingPunct="1">
                <a:lnSpc>
                  <a:spcPct val="100000"/>
                </a:lnSpc>
                <a:spcBef>
                  <a:spcPts val="0"/>
                </a:spcBef>
                <a:spcAft>
                  <a:spcPts val="1200"/>
                </a:spcAft>
                <a:buFont typeface="System Font"/>
                <a:buChar char="–"/>
                <a:defRPr sz="1100" kern="1200">
                  <a:solidFill>
                    <a:schemeClr val="tx1"/>
                  </a:solidFill>
                  <a:latin typeface="+mn-lt"/>
                  <a:ea typeface="+mn-ea"/>
                  <a:cs typeface="+mn-cs"/>
                </a:defRPr>
              </a:lvl5pPr>
              <a:lvl6pPr marL="11113" indent="0" algn="l" defTabSz="228594" rtl="0" eaLnBrk="1" latinLnBrk="0" hangingPunct="1">
                <a:lnSpc>
                  <a:spcPct val="90000"/>
                </a:lnSpc>
                <a:spcBef>
                  <a:spcPts val="0"/>
                </a:spcBef>
                <a:spcAft>
                  <a:spcPts val="1200"/>
                </a:spcAft>
                <a:buFont typeface="Graphik" panose="020B0503030202060203" pitchFamily="34" charset="0"/>
                <a:buNone/>
                <a:tabLst/>
                <a:defRPr sz="1200" kern="1200">
                  <a:solidFill>
                    <a:schemeClr val="tx1"/>
                  </a:solidFill>
                  <a:latin typeface="+mn-lt"/>
                  <a:ea typeface="+mn-ea"/>
                  <a:cs typeface="+mn-cs"/>
                </a:defRPr>
              </a:lvl6pPr>
              <a:lvl7pPr marL="0" indent="0" algn="l" defTabSz="22859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mn-lt"/>
                  <a:ea typeface="+mn-ea"/>
                  <a:cs typeface="+mn-cs"/>
                </a:defRPr>
              </a:lvl7pPr>
              <a:lvl8pPr marL="0" indent="0" algn="l" defTabSz="22859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mn-lt"/>
                  <a:ea typeface="+mn-ea"/>
                  <a:cs typeface="+mn-cs"/>
                </a:defRPr>
              </a:lvl8pPr>
              <a:lvl9pPr marL="0" indent="0" algn="l" defTabSz="22859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mn-lt"/>
                  <a:ea typeface="+mn-ea"/>
                  <a:cs typeface="+mn-cs"/>
                </a:defRPr>
              </a:lvl9pPr>
            </a:lstStyle>
            <a:p>
              <a:r>
                <a:rPr lang="pt-BR" noProof="1"/>
                <a:t>Primeira formulação moderna com matriz de rigidez, aplicável a estruturas reais; marco que impulsiona o FEM na engenharia.</a:t>
              </a:r>
            </a:p>
          </p:txBody>
        </p:sp>
      </p:grpSp>
      <p:grpSp>
        <p:nvGrpSpPr>
          <p:cNvPr id="64" name="Group 63">
            <a:extLst>
              <a:ext uri="{FF2B5EF4-FFF2-40B4-BE49-F238E27FC236}">
                <a16:creationId xmlns:a16="http://schemas.microsoft.com/office/drawing/2014/main" id="{DD77AF8A-DC16-158B-B6E4-235554DB8E8F}"/>
              </a:ext>
            </a:extLst>
          </p:cNvPr>
          <p:cNvGrpSpPr/>
          <p:nvPr/>
        </p:nvGrpSpPr>
        <p:grpSpPr>
          <a:xfrm>
            <a:off x="9659469" y="2525284"/>
            <a:ext cx="1994217" cy="3761072"/>
            <a:chOff x="9659469" y="2525284"/>
            <a:chExt cx="1994217" cy="3761072"/>
          </a:xfrm>
        </p:grpSpPr>
        <p:sp>
          <p:nvSpPr>
            <p:cNvPr id="19" name="Text Placeholder 23">
              <a:extLst>
                <a:ext uri="{FF2B5EF4-FFF2-40B4-BE49-F238E27FC236}">
                  <a16:creationId xmlns:a16="http://schemas.microsoft.com/office/drawing/2014/main" id="{DD38C6EA-F080-9CC1-6F19-D7BA98C15BAE}"/>
                </a:ext>
              </a:extLst>
            </p:cNvPr>
            <p:cNvSpPr txBox="1">
              <a:spLocks/>
            </p:cNvSpPr>
            <p:nvPr/>
          </p:nvSpPr>
          <p:spPr>
            <a:xfrm>
              <a:off x="9659469" y="2525284"/>
              <a:ext cx="1994217" cy="732360"/>
            </a:xfrm>
            <a:prstGeom prst="rect">
              <a:avLst/>
            </a:prstGeom>
            <a:ln>
              <a:noFill/>
            </a:ln>
          </p:spPr>
          <p:txBody>
            <a:bodyPr vert="horz" lIns="0" tIns="0" rIns="0" bIns="0" rtlCol="0" anchor="t">
              <a:noAutofit/>
            </a:bodyPr>
            <a:lstStyle>
              <a:lvl1pPr marL="0" indent="0" algn="l" defTabSz="228594" rtl="0" eaLnBrk="1" latinLnBrk="0" hangingPunct="1">
                <a:lnSpc>
                  <a:spcPct val="90000"/>
                </a:lnSpc>
                <a:spcBef>
                  <a:spcPts val="0"/>
                </a:spcBef>
                <a:spcAft>
                  <a:spcPts val="0"/>
                </a:spcAft>
                <a:buFont typeface="Arial" panose="020B0604020202020204" pitchFamily="34" charset="0"/>
                <a:buNone/>
                <a:defRPr sz="1600" b="0" i="0" kern="1200">
                  <a:solidFill>
                    <a:schemeClr val="bg2"/>
                  </a:solidFill>
                  <a:latin typeface="+mn-lt"/>
                  <a:ea typeface="+mn-ea"/>
                  <a:cs typeface="+mn-cs"/>
                </a:defRPr>
              </a:lvl1pPr>
              <a:lvl2pPr marL="457189" indent="0" algn="l" defTabSz="228594" rtl="0" eaLnBrk="1" latinLnBrk="0" hangingPunct="1">
                <a:lnSpc>
                  <a:spcPct val="100000"/>
                </a:lnSpc>
                <a:spcBef>
                  <a:spcPts val="0"/>
                </a:spcBef>
                <a:spcAft>
                  <a:spcPts val="1200"/>
                </a:spcAft>
                <a:buClrTx/>
                <a:buFont typeface="Arial" panose="020B0604020202020204" pitchFamily="34" charset="0"/>
                <a:buNone/>
                <a:defRPr sz="2000" b="1" kern="1200">
                  <a:solidFill>
                    <a:schemeClr val="tx1"/>
                  </a:solidFill>
                  <a:latin typeface="+mn-lt"/>
                  <a:ea typeface="+mn-ea"/>
                  <a:cs typeface="+mn-cs"/>
                </a:defRPr>
              </a:lvl2pPr>
              <a:lvl3pPr marL="914377" indent="0" algn="l" defTabSz="228594" rtl="0" eaLnBrk="1" latinLnBrk="0" hangingPunct="1">
                <a:lnSpc>
                  <a:spcPct val="100000"/>
                </a:lnSpc>
                <a:spcBef>
                  <a:spcPts val="0"/>
                </a:spcBef>
                <a:spcAft>
                  <a:spcPts val="1200"/>
                </a:spcAft>
                <a:buFont typeface="System Font"/>
                <a:buNone/>
                <a:defRPr sz="1800" b="1" kern="1200">
                  <a:solidFill>
                    <a:schemeClr val="tx1"/>
                  </a:solidFill>
                  <a:latin typeface="+mn-lt"/>
                  <a:ea typeface="+mn-ea"/>
                  <a:cs typeface="+mn-cs"/>
                </a:defRPr>
              </a:lvl3pPr>
              <a:lvl4pPr marL="1371566" indent="0" algn="l" defTabSz="228594" rtl="0" eaLnBrk="1" latinLnBrk="0" hangingPunct="1">
                <a:lnSpc>
                  <a:spcPct val="10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4pPr>
              <a:lvl5pPr marL="1828754" indent="0" algn="l" defTabSz="228594" rtl="0" eaLnBrk="1" latinLnBrk="0" hangingPunct="1">
                <a:lnSpc>
                  <a:spcPct val="100000"/>
                </a:lnSpc>
                <a:spcBef>
                  <a:spcPts val="0"/>
                </a:spcBef>
                <a:spcAft>
                  <a:spcPts val="1200"/>
                </a:spcAft>
                <a:buFont typeface="System Font"/>
                <a:buNone/>
                <a:defRPr sz="1600" b="1" kern="1200">
                  <a:solidFill>
                    <a:schemeClr val="tx1"/>
                  </a:solidFill>
                  <a:latin typeface="+mn-lt"/>
                  <a:ea typeface="+mn-ea"/>
                  <a:cs typeface="+mn-cs"/>
                </a:defRPr>
              </a:lvl5pPr>
              <a:lvl6pPr marL="2285943" indent="0" algn="l" defTabSz="228594" rtl="0" eaLnBrk="1" latinLnBrk="0" hangingPunct="1">
                <a:lnSpc>
                  <a:spcPct val="90000"/>
                </a:lnSpc>
                <a:spcBef>
                  <a:spcPts val="0"/>
                </a:spcBef>
                <a:spcAft>
                  <a:spcPts val="1200"/>
                </a:spcAft>
                <a:buFont typeface="Graphik" panose="020B0503030202060203" pitchFamily="34" charset="0"/>
                <a:buNone/>
                <a:tabLst/>
                <a:defRPr sz="1600" b="1" kern="1200">
                  <a:solidFill>
                    <a:schemeClr val="tx1"/>
                  </a:solidFill>
                  <a:latin typeface="+mn-lt"/>
                  <a:ea typeface="+mn-ea"/>
                  <a:cs typeface="+mn-cs"/>
                </a:defRPr>
              </a:lvl6pPr>
              <a:lvl7pPr marL="2743131"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7pPr>
              <a:lvl8pPr marL="3200320"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8pPr>
              <a:lvl9pPr marL="3657509"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2"/>
                  </a:solidFill>
                  <a:latin typeface="+mn-lt"/>
                  <a:ea typeface="+mn-ea"/>
                  <a:cs typeface="+mn-cs"/>
                </a:defRPr>
              </a:lvl9pPr>
            </a:lstStyle>
            <a:p>
              <a:r>
                <a:rPr lang="pt-BR" noProof="1"/>
                <a:t>Primeira formulação variacional aproximada</a:t>
              </a:r>
            </a:p>
          </p:txBody>
        </p:sp>
        <p:sp>
          <p:nvSpPr>
            <p:cNvPr id="20" name="Text Placeholder 26">
              <a:extLst>
                <a:ext uri="{FF2B5EF4-FFF2-40B4-BE49-F238E27FC236}">
                  <a16:creationId xmlns:a16="http://schemas.microsoft.com/office/drawing/2014/main" id="{1C9BD2E0-E057-1DA5-7CE0-5DCED37D8803}"/>
                </a:ext>
              </a:extLst>
            </p:cNvPr>
            <p:cNvSpPr txBox="1">
              <a:spLocks/>
            </p:cNvSpPr>
            <p:nvPr/>
          </p:nvSpPr>
          <p:spPr>
            <a:xfrm>
              <a:off x="9659469" y="3538534"/>
              <a:ext cx="1994217" cy="732360"/>
            </a:xfrm>
            <a:prstGeom prst="rect">
              <a:avLst/>
            </a:prstGeom>
            <a:ln>
              <a:noFill/>
            </a:ln>
          </p:spPr>
          <p:txBody>
            <a:bodyPr vert="horz" lIns="0" tIns="0" rIns="0" bIns="0" rtlCol="0" anchor="t">
              <a:noAutofit/>
            </a:bodyPr>
            <a:lstStyle>
              <a:lvl1pPr marL="0" indent="0" algn="l" defTabSz="228594" rtl="0" eaLnBrk="1" latinLnBrk="0" hangingPunct="1">
                <a:lnSpc>
                  <a:spcPct val="90000"/>
                </a:lnSpc>
                <a:spcBef>
                  <a:spcPts val="0"/>
                </a:spcBef>
                <a:spcAft>
                  <a:spcPts val="0"/>
                </a:spcAft>
                <a:buFont typeface="Arial" panose="020B0604020202020204" pitchFamily="34" charset="0"/>
                <a:buNone/>
                <a:defRPr sz="1600" b="0" i="0" kern="1200">
                  <a:solidFill>
                    <a:schemeClr val="bg2"/>
                  </a:solidFill>
                  <a:latin typeface="+mn-lt"/>
                  <a:ea typeface="+mn-ea"/>
                  <a:cs typeface="+mn-cs"/>
                </a:defRPr>
              </a:lvl1pPr>
              <a:lvl2pPr marL="457189" indent="0" algn="l" defTabSz="228594" rtl="0" eaLnBrk="1" latinLnBrk="0" hangingPunct="1">
                <a:lnSpc>
                  <a:spcPct val="100000"/>
                </a:lnSpc>
                <a:spcBef>
                  <a:spcPts val="0"/>
                </a:spcBef>
                <a:spcAft>
                  <a:spcPts val="1200"/>
                </a:spcAft>
                <a:buClrTx/>
                <a:buFont typeface="Arial" panose="020B0604020202020204" pitchFamily="34" charset="0"/>
                <a:buNone/>
                <a:defRPr sz="2000" b="1" kern="1200">
                  <a:solidFill>
                    <a:schemeClr val="tx1"/>
                  </a:solidFill>
                  <a:latin typeface="+mn-lt"/>
                  <a:ea typeface="+mn-ea"/>
                  <a:cs typeface="+mn-cs"/>
                </a:defRPr>
              </a:lvl2pPr>
              <a:lvl3pPr marL="914377" indent="0" algn="l" defTabSz="228594" rtl="0" eaLnBrk="1" latinLnBrk="0" hangingPunct="1">
                <a:lnSpc>
                  <a:spcPct val="100000"/>
                </a:lnSpc>
                <a:spcBef>
                  <a:spcPts val="0"/>
                </a:spcBef>
                <a:spcAft>
                  <a:spcPts val="1200"/>
                </a:spcAft>
                <a:buFont typeface="System Font"/>
                <a:buNone/>
                <a:defRPr sz="1800" b="1" kern="1200">
                  <a:solidFill>
                    <a:schemeClr val="tx1"/>
                  </a:solidFill>
                  <a:latin typeface="+mn-lt"/>
                  <a:ea typeface="+mn-ea"/>
                  <a:cs typeface="+mn-cs"/>
                </a:defRPr>
              </a:lvl3pPr>
              <a:lvl4pPr marL="1371566" indent="0" algn="l" defTabSz="228594" rtl="0" eaLnBrk="1" latinLnBrk="0" hangingPunct="1">
                <a:lnSpc>
                  <a:spcPct val="10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4pPr>
              <a:lvl5pPr marL="1828754" indent="0" algn="l" defTabSz="228594" rtl="0" eaLnBrk="1" latinLnBrk="0" hangingPunct="1">
                <a:lnSpc>
                  <a:spcPct val="100000"/>
                </a:lnSpc>
                <a:spcBef>
                  <a:spcPts val="0"/>
                </a:spcBef>
                <a:spcAft>
                  <a:spcPts val="1200"/>
                </a:spcAft>
                <a:buFont typeface="System Font"/>
                <a:buNone/>
                <a:defRPr sz="1600" b="1" kern="1200">
                  <a:solidFill>
                    <a:schemeClr val="tx1"/>
                  </a:solidFill>
                  <a:latin typeface="+mn-lt"/>
                  <a:ea typeface="+mn-ea"/>
                  <a:cs typeface="+mn-cs"/>
                </a:defRPr>
              </a:lvl5pPr>
              <a:lvl6pPr marL="2285943" indent="0" algn="l" defTabSz="228594" rtl="0" eaLnBrk="1" latinLnBrk="0" hangingPunct="1">
                <a:lnSpc>
                  <a:spcPct val="90000"/>
                </a:lnSpc>
                <a:spcBef>
                  <a:spcPts val="0"/>
                </a:spcBef>
                <a:spcAft>
                  <a:spcPts val="1200"/>
                </a:spcAft>
                <a:buFont typeface="Graphik" panose="020B0503030202060203" pitchFamily="34" charset="0"/>
                <a:buNone/>
                <a:tabLst/>
                <a:defRPr sz="1600" b="1" kern="1200">
                  <a:solidFill>
                    <a:schemeClr val="tx1"/>
                  </a:solidFill>
                  <a:latin typeface="+mn-lt"/>
                  <a:ea typeface="+mn-ea"/>
                  <a:cs typeface="+mn-cs"/>
                </a:defRPr>
              </a:lvl6pPr>
              <a:lvl7pPr marL="2743131"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7pPr>
              <a:lvl8pPr marL="3200320"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8pPr>
              <a:lvl9pPr marL="3657509"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2"/>
                  </a:solidFill>
                  <a:latin typeface="+mn-lt"/>
                  <a:ea typeface="+mn-ea"/>
                  <a:cs typeface="+mn-cs"/>
                </a:defRPr>
              </a:lvl9pPr>
            </a:lstStyle>
            <a:p>
              <a:r>
                <a:rPr lang="pt-BR" noProof="1"/>
                <a:t>Origem da formulação fraca</a:t>
              </a:r>
            </a:p>
          </p:txBody>
        </p:sp>
        <p:sp>
          <p:nvSpPr>
            <p:cNvPr id="34" name="Text Placeholder 29">
              <a:extLst>
                <a:ext uri="{FF2B5EF4-FFF2-40B4-BE49-F238E27FC236}">
                  <a16:creationId xmlns:a16="http://schemas.microsoft.com/office/drawing/2014/main" id="{B835E702-77DA-656E-A462-95258D6243AD}"/>
                </a:ext>
              </a:extLst>
            </p:cNvPr>
            <p:cNvSpPr txBox="1">
              <a:spLocks/>
            </p:cNvSpPr>
            <p:nvPr/>
          </p:nvSpPr>
          <p:spPr>
            <a:xfrm>
              <a:off x="9659469" y="4540746"/>
              <a:ext cx="1994217" cy="732360"/>
            </a:xfrm>
            <a:prstGeom prst="rect">
              <a:avLst/>
            </a:prstGeom>
            <a:ln>
              <a:noFill/>
            </a:ln>
          </p:spPr>
          <p:txBody>
            <a:bodyPr vert="horz" lIns="0" tIns="0" rIns="0" bIns="0" rtlCol="0" anchor="t">
              <a:noAutofit/>
            </a:bodyPr>
            <a:lstStyle>
              <a:lvl1pPr marL="0" indent="0" algn="l" defTabSz="228594" rtl="0" eaLnBrk="1" latinLnBrk="0" hangingPunct="1">
                <a:lnSpc>
                  <a:spcPct val="90000"/>
                </a:lnSpc>
                <a:spcBef>
                  <a:spcPts val="0"/>
                </a:spcBef>
                <a:spcAft>
                  <a:spcPts val="0"/>
                </a:spcAft>
                <a:buFont typeface="Arial" panose="020B0604020202020204" pitchFamily="34" charset="0"/>
                <a:buNone/>
                <a:defRPr sz="1600" b="0" i="0" kern="1200">
                  <a:solidFill>
                    <a:schemeClr val="bg2"/>
                  </a:solidFill>
                  <a:latin typeface="+mn-lt"/>
                  <a:ea typeface="+mn-ea"/>
                  <a:cs typeface="+mn-cs"/>
                </a:defRPr>
              </a:lvl1pPr>
              <a:lvl2pPr marL="457189" indent="0" algn="l" defTabSz="228594" rtl="0" eaLnBrk="1" latinLnBrk="0" hangingPunct="1">
                <a:lnSpc>
                  <a:spcPct val="100000"/>
                </a:lnSpc>
                <a:spcBef>
                  <a:spcPts val="0"/>
                </a:spcBef>
                <a:spcAft>
                  <a:spcPts val="1200"/>
                </a:spcAft>
                <a:buClrTx/>
                <a:buFont typeface="Arial" panose="020B0604020202020204" pitchFamily="34" charset="0"/>
                <a:buNone/>
                <a:defRPr sz="2000" b="1" kern="1200">
                  <a:solidFill>
                    <a:schemeClr val="tx1"/>
                  </a:solidFill>
                  <a:latin typeface="+mn-lt"/>
                  <a:ea typeface="+mn-ea"/>
                  <a:cs typeface="+mn-cs"/>
                </a:defRPr>
              </a:lvl2pPr>
              <a:lvl3pPr marL="914377" indent="0" algn="l" defTabSz="228594" rtl="0" eaLnBrk="1" latinLnBrk="0" hangingPunct="1">
                <a:lnSpc>
                  <a:spcPct val="100000"/>
                </a:lnSpc>
                <a:spcBef>
                  <a:spcPts val="0"/>
                </a:spcBef>
                <a:spcAft>
                  <a:spcPts val="1200"/>
                </a:spcAft>
                <a:buFont typeface="System Font"/>
                <a:buNone/>
                <a:defRPr sz="1800" b="1" kern="1200">
                  <a:solidFill>
                    <a:schemeClr val="tx1"/>
                  </a:solidFill>
                  <a:latin typeface="+mn-lt"/>
                  <a:ea typeface="+mn-ea"/>
                  <a:cs typeface="+mn-cs"/>
                </a:defRPr>
              </a:lvl3pPr>
              <a:lvl4pPr marL="1371566" indent="0" algn="l" defTabSz="228594" rtl="0" eaLnBrk="1" latinLnBrk="0" hangingPunct="1">
                <a:lnSpc>
                  <a:spcPct val="10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4pPr>
              <a:lvl5pPr marL="1828754" indent="0" algn="l" defTabSz="228594" rtl="0" eaLnBrk="1" latinLnBrk="0" hangingPunct="1">
                <a:lnSpc>
                  <a:spcPct val="100000"/>
                </a:lnSpc>
                <a:spcBef>
                  <a:spcPts val="0"/>
                </a:spcBef>
                <a:spcAft>
                  <a:spcPts val="1200"/>
                </a:spcAft>
                <a:buFont typeface="System Font"/>
                <a:buNone/>
                <a:defRPr sz="1600" b="1" kern="1200">
                  <a:solidFill>
                    <a:schemeClr val="tx1"/>
                  </a:solidFill>
                  <a:latin typeface="+mn-lt"/>
                  <a:ea typeface="+mn-ea"/>
                  <a:cs typeface="+mn-cs"/>
                </a:defRPr>
              </a:lvl5pPr>
              <a:lvl6pPr marL="2285943" indent="0" algn="l" defTabSz="228594" rtl="0" eaLnBrk="1" latinLnBrk="0" hangingPunct="1">
                <a:lnSpc>
                  <a:spcPct val="90000"/>
                </a:lnSpc>
                <a:spcBef>
                  <a:spcPts val="0"/>
                </a:spcBef>
                <a:spcAft>
                  <a:spcPts val="1200"/>
                </a:spcAft>
                <a:buFont typeface="Graphik" panose="020B0503030202060203" pitchFamily="34" charset="0"/>
                <a:buNone/>
                <a:tabLst/>
                <a:defRPr sz="1600" b="1" kern="1200">
                  <a:solidFill>
                    <a:schemeClr val="tx1"/>
                  </a:solidFill>
                  <a:latin typeface="+mn-lt"/>
                  <a:ea typeface="+mn-ea"/>
                  <a:cs typeface="+mn-cs"/>
                </a:defRPr>
              </a:lvl6pPr>
              <a:lvl7pPr marL="2743131"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7pPr>
              <a:lvl8pPr marL="3200320"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8pPr>
              <a:lvl9pPr marL="3657509"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2"/>
                  </a:solidFill>
                  <a:latin typeface="+mn-lt"/>
                  <a:ea typeface="+mn-ea"/>
                  <a:cs typeface="+mn-cs"/>
                </a:defRPr>
              </a:lvl9pPr>
            </a:lstStyle>
            <a:p>
              <a:r>
                <a:rPr lang="pt-BR" noProof="1"/>
                <a:t>Proto-FEM</a:t>
              </a:r>
            </a:p>
          </p:txBody>
        </p:sp>
        <p:sp>
          <p:nvSpPr>
            <p:cNvPr id="35" name="Text Placeholder 32">
              <a:extLst>
                <a:ext uri="{FF2B5EF4-FFF2-40B4-BE49-F238E27FC236}">
                  <a16:creationId xmlns:a16="http://schemas.microsoft.com/office/drawing/2014/main" id="{F8B1B7B5-A721-4B1C-9A30-18DC79EAAAA5}"/>
                </a:ext>
              </a:extLst>
            </p:cNvPr>
            <p:cNvSpPr txBox="1">
              <a:spLocks/>
            </p:cNvSpPr>
            <p:nvPr/>
          </p:nvSpPr>
          <p:spPr>
            <a:xfrm>
              <a:off x="9659469" y="5553996"/>
              <a:ext cx="1994217" cy="732360"/>
            </a:xfrm>
            <a:prstGeom prst="rect">
              <a:avLst/>
            </a:prstGeom>
            <a:ln>
              <a:noFill/>
            </a:ln>
          </p:spPr>
          <p:txBody>
            <a:bodyPr vert="horz" lIns="0" tIns="0" rIns="0" bIns="0" rtlCol="0" anchor="t">
              <a:noAutofit/>
            </a:bodyPr>
            <a:lstStyle>
              <a:lvl1pPr marL="0" indent="0" algn="l" defTabSz="228594" rtl="0" eaLnBrk="1" latinLnBrk="0" hangingPunct="1">
                <a:lnSpc>
                  <a:spcPct val="90000"/>
                </a:lnSpc>
                <a:spcBef>
                  <a:spcPts val="0"/>
                </a:spcBef>
                <a:spcAft>
                  <a:spcPts val="0"/>
                </a:spcAft>
                <a:buFont typeface="Arial" panose="020B0604020202020204" pitchFamily="34" charset="0"/>
                <a:buNone/>
                <a:defRPr sz="1600" b="0" i="0" kern="1200">
                  <a:solidFill>
                    <a:schemeClr val="bg2"/>
                  </a:solidFill>
                  <a:latin typeface="+mn-lt"/>
                  <a:ea typeface="+mn-ea"/>
                  <a:cs typeface="+mn-cs"/>
                </a:defRPr>
              </a:lvl1pPr>
              <a:lvl2pPr marL="457189" indent="0" algn="l" defTabSz="228594" rtl="0" eaLnBrk="1" latinLnBrk="0" hangingPunct="1">
                <a:lnSpc>
                  <a:spcPct val="100000"/>
                </a:lnSpc>
                <a:spcBef>
                  <a:spcPts val="0"/>
                </a:spcBef>
                <a:spcAft>
                  <a:spcPts val="1200"/>
                </a:spcAft>
                <a:buClrTx/>
                <a:buFont typeface="Arial" panose="020B0604020202020204" pitchFamily="34" charset="0"/>
                <a:buNone/>
                <a:defRPr sz="2000" b="1" kern="1200">
                  <a:solidFill>
                    <a:schemeClr val="tx1"/>
                  </a:solidFill>
                  <a:latin typeface="+mn-lt"/>
                  <a:ea typeface="+mn-ea"/>
                  <a:cs typeface="+mn-cs"/>
                </a:defRPr>
              </a:lvl2pPr>
              <a:lvl3pPr marL="914377" indent="0" algn="l" defTabSz="228594" rtl="0" eaLnBrk="1" latinLnBrk="0" hangingPunct="1">
                <a:lnSpc>
                  <a:spcPct val="100000"/>
                </a:lnSpc>
                <a:spcBef>
                  <a:spcPts val="0"/>
                </a:spcBef>
                <a:spcAft>
                  <a:spcPts val="1200"/>
                </a:spcAft>
                <a:buFont typeface="System Font"/>
                <a:buNone/>
                <a:defRPr sz="1800" b="1" kern="1200">
                  <a:solidFill>
                    <a:schemeClr val="tx1"/>
                  </a:solidFill>
                  <a:latin typeface="+mn-lt"/>
                  <a:ea typeface="+mn-ea"/>
                  <a:cs typeface="+mn-cs"/>
                </a:defRPr>
              </a:lvl3pPr>
              <a:lvl4pPr marL="1371566" indent="0" algn="l" defTabSz="228594" rtl="0" eaLnBrk="1" latinLnBrk="0" hangingPunct="1">
                <a:lnSpc>
                  <a:spcPct val="10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4pPr>
              <a:lvl5pPr marL="1828754" indent="0" algn="l" defTabSz="228594" rtl="0" eaLnBrk="1" latinLnBrk="0" hangingPunct="1">
                <a:lnSpc>
                  <a:spcPct val="100000"/>
                </a:lnSpc>
                <a:spcBef>
                  <a:spcPts val="0"/>
                </a:spcBef>
                <a:spcAft>
                  <a:spcPts val="1200"/>
                </a:spcAft>
                <a:buFont typeface="System Font"/>
                <a:buNone/>
                <a:defRPr sz="1600" b="1" kern="1200">
                  <a:solidFill>
                    <a:schemeClr val="tx1"/>
                  </a:solidFill>
                  <a:latin typeface="+mn-lt"/>
                  <a:ea typeface="+mn-ea"/>
                  <a:cs typeface="+mn-cs"/>
                </a:defRPr>
              </a:lvl5pPr>
              <a:lvl6pPr marL="2285943" indent="0" algn="l" defTabSz="228594" rtl="0" eaLnBrk="1" latinLnBrk="0" hangingPunct="1">
                <a:lnSpc>
                  <a:spcPct val="90000"/>
                </a:lnSpc>
                <a:spcBef>
                  <a:spcPts val="0"/>
                </a:spcBef>
                <a:spcAft>
                  <a:spcPts val="1200"/>
                </a:spcAft>
                <a:buFont typeface="Graphik" panose="020B0503030202060203" pitchFamily="34" charset="0"/>
                <a:buNone/>
                <a:tabLst/>
                <a:defRPr sz="1600" b="1" kern="1200">
                  <a:solidFill>
                    <a:schemeClr val="tx1"/>
                  </a:solidFill>
                  <a:latin typeface="+mn-lt"/>
                  <a:ea typeface="+mn-ea"/>
                  <a:cs typeface="+mn-cs"/>
                </a:defRPr>
              </a:lvl6pPr>
              <a:lvl7pPr marL="2743131"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7pPr>
              <a:lvl8pPr marL="3200320"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8pPr>
              <a:lvl9pPr marL="3657509"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2"/>
                  </a:solidFill>
                  <a:latin typeface="+mn-lt"/>
                  <a:ea typeface="+mn-ea"/>
                  <a:cs typeface="+mn-cs"/>
                </a:defRPr>
              </a:lvl9pPr>
            </a:lstStyle>
            <a:p>
              <a:r>
                <a:rPr lang="pt-BR" noProof="1"/>
                <a:t>Nascimento do FEM moderno</a:t>
              </a:r>
            </a:p>
          </p:txBody>
        </p:sp>
      </p:grpSp>
      <p:grpSp>
        <p:nvGrpSpPr>
          <p:cNvPr id="62" name="Group 61">
            <a:extLst>
              <a:ext uri="{FF2B5EF4-FFF2-40B4-BE49-F238E27FC236}">
                <a16:creationId xmlns:a16="http://schemas.microsoft.com/office/drawing/2014/main" id="{1AC96ACA-A956-8D0D-B396-7E9DCA5F4142}"/>
              </a:ext>
            </a:extLst>
          </p:cNvPr>
          <p:cNvGrpSpPr/>
          <p:nvPr/>
        </p:nvGrpSpPr>
        <p:grpSpPr>
          <a:xfrm>
            <a:off x="563410" y="2525284"/>
            <a:ext cx="3978110" cy="3761072"/>
            <a:chOff x="563410" y="2525284"/>
            <a:chExt cx="3978110" cy="3761072"/>
          </a:xfrm>
        </p:grpSpPr>
        <p:sp>
          <p:nvSpPr>
            <p:cNvPr id="49" name="Text Placeholder 20">
              <a:extLst>
                <a:ext uri="{FF2B5EF4-FFF2-40B4-BE49-F238E27FC236}">
                  <a16:creationId xmlns:a16="http://schemas.microsoft.com/office/drawing/2014/main" id="{9C2CE27E-B143-77A8-4071-952B5E71545C}"/>
                </a:ext>
              </a:extLst>
            </p:cNvPr>
            <p:cNvSpPr txBox="1">
              <a:spLocks/>
            </p:cNvSpPr>
            <p:nvPr/>
          </p:nvSpPr>
          <p:spPr>
            <a:xfrm>
              <a:off x="563410" y="2525284"/>
              <a:ext cx="3744430" cy="732360"/>
            </a:xfrm>
            <a:prstGeom prst="rect">
              <a:avLst/>
            </a:prstGeom>
            <a:ln>
              <a:noFill/>
            </a:ln>
          </p:spPr>
          <p:txBody>
            <a:bodyPr vert="horz" lIns="0" tIns="0" rIns="0" bIns="0" rtlCol="0" anchor="t">
              <a:noAutofit/>
            </a:bodyPr>
            <a:lstStyle>
              <a:lvl1pPr marL="0" indent="0" algn="l" defTabSz="228594" rtl="0" eaLnBrk="1" latinLnBrk="0" hangingPunct="1">
                <a:lnSpc>
                  <a:spcPct val="90000"/>
                </a:lnSpc>
                <a:spcBef>
                  <a:spcPts val="0"/>
                </a:spcBef>
                <a:spcAft>
                  <a:spcPts val="0"/>
                </a:spcAft>
                <a:buFont typeface="Arial" panose="020B0604020202020204" pitchFamily="34" charset="0"/>
                <a:buNone/>
                <a:defRPr sz="1600" b="0" i="0" kern="1200">
                  <a:solidFill>
                    <a:schemeClr val="tx1"/>
                  </a:solidFill>
                  <a:latin typeface="Graphik Semibold" panose="020B0703030202060203" pitchFamily="34" charset="0"/>
                  <a:ea typeface="+mn-ea"/>
                  <a:cs typeface="+mn-cs"/>
                </a:defRPr>
              </a:lvl1pPr>
              <a:lvl2pPr marL="457189" indent="0" algn="l" defTabSz="228594" rtl="0" eaLnBrk="1" latinLnBrk="0" hangingPunct="1">
                <a:lnSpc>
                  <a:spcPct val="100000"/>
                </a:lnSpc>
                <a:spcBef>
                  <a:spcPts val="0"/>
                </a:spcBef>
                <a:spcAft>
                  <a:spcPts val="1200"/>
                </a:spcAft>
                <a:buClrTx/>
                <a:buFont typeface="Arial" panose="020B0604020202020204" pitchFamily="34" charset="0"/>
                <a:buNone/>
                <a:defRPr sz="2000" b="1" kern="1200">
                  <a:solidFill>
                    <a:schemeClr val="tx1"/>
                  </a:solidFill>
                  <a:latin typeface="+mn-lt"/>
                  <a:ea typeface="+mn-ea"/>
                  <a:cs typeface="+mn-cs"/>
                </a:defRPr>
              </a:lvl2pPr>
              <a:lvl3pPr marL="914377" indent="0" algn="l" defTabSz="228594" rtl="0" eaLnBrk="1" latinLnBrk="0" hangingPunct="1">
                <a:lnSpc>
                  <a:spcPct val="100000"/>
                </a:lnSpc>
                <a:spcBef>
                  <a:spcPts val="0"/>
                </a:spcBef>
                <a:spcAft>
                  <a:spcPts val="1200"/>
                </a:spcAft>
                <a:buFont typeface="System Font"/>
                <a:buNone/>
                <a:defRPr sz="1800" b="1" kern="1200">
                  <a:solidFill>
                    <a:schemeClr val="tx1"/>
                  </a:solidFill>
                  <a:latin typeface="+mn-lt"/>
                  <a:ea typeface="+mn-ea"/>
                  <a:cs typeface="+mn-cs"/>
                </a:defRPr>
              </a:lvl3pPr>
              <a:lvl4pPr marL="1371566" indent="0" algn="l" defTabSz="228594" rtl="0" eaLnBrk="1" latinLnBrk="0" hangingPunct="1">
                <a:lnSpc>
                  <a:spcPct val="10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4pPr>
              <a:lvl5pPr marL="1828754" indent="0" algn="l" defTabSz="228594" rtl="0" eaLnBrk="1" latinLnBrk="0" hangingPunct="1">
                <a:lnSpc>
                  <a:spcPct val="100000"/>
                </a:lnSpc>
                <a:spcBef>
                  <a:spcPts val="0"/>
                </a:spcBef>
                <a:spcAft>
                  <a:spcPts val="1200"/>
                </a:spcAft>
                <a:buFont typeface="System Font"/>
                <a:buNone/>
                <a:defRPr sz="1600" b="1" kern="1200">
                  <a:solidFill>
                    <a:schemeClr val="tx1"/>
                  </a:solidFill>
                  <a:latin typeface="+mn-lt"/>
                  <a:ea typeface="+mn-ea"/>
                  <a:cs typeface="+mn-cs"/>
                </a:defRPr>
              </a:lvl5pPr>
              <a:lvl6pPr marL="2285943" indent="0" algn="l" defTabSz="228594" rtl="0" eaLnBrk="1" latinLnBrk="0" hangingPunct="1">
                <a:lnSpc>
                  <a:spcPct val="90000"/>
                </a:lnSpc>
                <a:spcBef>
                  <a:spcPts val="0"/>
                </a:spcBef>
                <a:spcAft>
                  <a:spcPts val="1200"/>
                </a:spcAft>
                <a:buFont typeface="Graphik" panose="020B0503030202060203" pitchFamily="34" charset="0"/>
                <a:buNone/>
                <a:tabLst/>
                <a:defRPr sz="1600" b="1" kern="1200">
                  <a:solidFill>
                    <a:schemeClr val="tx1"/>
                  </a:solidFill>
                  <a:latin typeface="+mn-lt"/>
                  <a:ea typeface="+mn-ea"/>
                  <a:cs typeface="+mn-cs"/>
                </a:defRPr>
              </a:lvl6pPr>
              <a:lvl7pPr marL="2743131"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7pPr>
              <a:lvl8pPr marL="3200320"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8pPr>
              <a:lvl9pPr marL="3657509"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2"/>
                  </a:solidFill>
                  <a:latin typeface="+mn-lt"/>
                  <a:ea typeface="+mn-ea"/>
                  <a:cs typeface="+mn-cs"/>
                </a:defRPr>
              </a:lvl9pPr>
            </a:lstStyle>
            <a:p>
              <a:r>
                <a:rPr lang="pt-BR" noProof="1"/>
                <a:t>Ritz (1908)</a:t>
              </a:r>
            </a:p>
            <a:p>
              <a:r>
                <a:rPr lang="pt-BR" sz="1100" noProof="1">
                  <a:latin typeface="Graphik" panose="020B0503030202060203" pitchFamily="34" charset="0"/>
                </a:rPr>
                <a:t>Autor: Walter Ritz</a:t>
              </a:r>
            </a:p>
            <a:p>
              <a:r>
                <a:rPr lang="pt-BR" sz="1100" noProof="1">
                  <a:latin typeface="Graphik" panose="020B0503030202060203" pitchFamily="34" charset="0"/>
                </a:rPr>
                <a:t>Artigo: “</a:t>
              </a:r>
              <a:r>
                <a:rPr lang="de-DE" sz="1100" noProof="1">
                  <a:latin typeface="Graphik" panose="020B0503030202060203" pitchFamily="34" charset="0"/>
                </a:rPr>
                <a:t>Über eine neue Methode zur Lösung gewisser Variationsprobleme“</a:t>
              </a:r>
              <a:endParaRPr lang="pt-BR" sz="1100" noProof="1">
                <a:latin typeface="Graphik" panose="020B0503030202060203" pitchFamily="34" charset="0"/>
              </a:endParaRPr>
            </a:p>
          </p:txBody>
        </p:sp>
        <p:sp>
          <p:nvSpPr>
            <p:cNvPr id="50" name="Text Placeholder 24">
              <a:extLst>
                <a:ext uri="{FF2B5EF4-FFF2-40B4-BE49-F238E27FC236}">
                  <a16:creationId xmlns:a16="http://schemas.microsoft.com/office/drawing/2014/main" id="{B6AA6282-79BC-B146-3BAC-77606A98D823}"/>
                </a:ext>
              </a:extLst>
            </p:cNvPr>
            <p:cNvSpPr txBox="1">
              <a:spLocks/>
            </p:cNvSpPr>
            <p:nvPr/>
          </p:nvSpPr>
          <p:spPr>
            <a:xfrm>
              <a:off x="563410" y="3538534"/>
              <a:ext cx="3744430" cy="732360"/>
            </a:xfrm>
            <a:prstGeom prst="rect">
              <a:avLst/>
            </a:prstGeom>
            <a:ln>
              <a:noFill/>
            </a:ln>
          </p:spPr>
          <p:txBody>
            <a:bodyPr vert="horz" lIns="0" tIns="0" rIns="0" bIns="0" rtlCol="0" anchor="t">
              <a:noAutofit/>
            </a:bodyPr>
            <a:lstStyle>
              <a:lvl1pPr marL="0" indent="0" algn="l" defTabSz="228594" rtl="0" eaLnBrk="1" latinLnBrk="0" hangingPunct="1">
                <a:lnSpc>
                  <a:spcPct val="90000"/>
                </a:lnSpc>
                <a:spcBef>
                  <a:spcPts val="0"/>
                </a:spcBef>
                <a:spcAft>
                  <a:spcPts val="0"/>
                </a:spcAft>
                <a:buFont typeface="Arial" panose="020B0604020202020204" pitchFamily="34" charset="0"/>
                <a:buNone/>
                <a:defRPr sz="1600" b="0" i="0" kern="1200">
                  <a:solidFill>
                    <a:schemeClr val="tx1"/>
                  </a:solidFill>
                  <a:latin typeface="Graphik Semibold" panose="020B0703030202060203" pitchFamily="34" charset="0"/>
                  <a:ea typeface="+mn-ea"/>
                  <a:cs typeface="+mn-cs"/>
                </a:defRPr>
              </a:lvl1pPr>
              <a:lvl2pPr marL="457189" indent="0" algn="l" defTabSz="228594" rtl="0" eaLnBrk="1" latinLnBrk="0" hangingPunct="1">
                <a:lnSpc>
                  <a:spcPct val="100000"/>
                </a:lnSpc>
                <a:spcBef>
                  <a:spcPts val="0"/>
                </a:spcBef>
                <a:spcAft>
                  <a:spcPts val="1200"/>
                </a:spcAft>
                <a:buClrTx/>
                <a:buFont typeface="Arial" panose="020B0604020202020204" pitchFamily="34" charset="0"/>
                <a:buNone/>
                <a:defRPr sz="2000" b="1" kern="1200">
                  <a:solidFill>
                    <a:schemeClr val="tx1"/>
                  </a:solidFill>
                  <a:latin typeface="+mn-lt"/>
                  <a:ea typeface="+mn-ea"/>
                  <a:cs typeface="+mn-cs"/>
                </a:defRPr>
              </a:lvl2pPr>
              <a:lvl3pPr marL="914377" indent="0" algn="l" defTabSz="228594" rtl="0" eaLnBrk="1" latinLnBrk="0" hangingPunct="1">
                <a:lnSpc>
                  <a:spcPct val="100000"/>
                </a:lnSpc>
                <a:spcBef>
                  <a:spcPts val="0"/>
                </a:spcBef>
                <a:spcAft>
                  <a:spcPts val="1200"/>
                </a:spcAft>
                <a:buFont typeface="System Font"/>
                <a:buNone/>
                <a:defRPr sz="1800" b="1" kern="1200">
                  <a:solidFill>
                    <a:schemeClr val="tx1"/>
                  </a:solidFill>
                  <a:latin typeface="+mn-lt"/>
                  <a:ea typeface="+mn-ea"/>
                  <a:cs typeface="+mn-cs"/>
                </a:defRPr>
              </a:lvl3pPr>
              <a:lvl4pPr marL="1371566" indent="0" algn="l" defTabSz="228594" rtl="0" eaLnBrk="1" latinLnBrk="0" hangingPunct="1">
                <a:lnSpc>
                  <a:spcPct val="10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4pPr>
              <a:lvl5pPr marL="1828754" indent="0" algn="l" defTabSz="228594" rtl="0" eaLnBrk="1" latinLnBrk="0" hangingPunct="1">
                <a:lnSpc>
                  <a:spcPct val="100000"/>
                </a:lnSpc>
                <a:spcBef>
                  <a:spcPts val="0"/>
                </a:spcBef>
                <a:spcAft>
                  <a:spcPts val="1200"/>
                </a:spcAft>
                <a:buFont typeface="System Font"/>
                <a:buNone/>
                <a:defRPr sz="1600" b="1" kern="1200">
                  <a:solidFill>
                    <a:schemeClr val="tx1"/>
                  </a:solidFill>
                  <a:latin typeface="+mn-lt"/>
                  <a:ea typeface="+mn-ea"/>
                  <a:cs typeface="+mn-cs"/>
                </a:defRPr>
              </a:lvl5pPr>
              <a:lvl6pPr marL="2285943" indent="0" algn="l" defTabSz="228594" rtl="0" eaLnBrk="1" latinLnBrk="0" hangingPunct="1">
                <a:lnSpc>
                  <a:spcPct val="90000"/>
                </a:lnSpc>
                <a:spcBef>
                  <a:spcPts val="0"/>
                </a:spcBef>
                <a:spcAft>
                  <a:spcPts val="1200"/>
                </a:spcAft>
                <a:buFont typeface="Graphik" panose="020B0503030202060203" pitchFamily="34" charset="0"/>
                <a:buNone/>
                <a:tabLst/>
                <a:defRPr sz="1600" b="1" kern="1200">
                  <a:solidFill>
                    <a:schemeClr val="tx1"/>
                  </a:solidFill>
                  <a:latin typeface="+mn-lt"/>
                  <a:ea typeface="+mn-ea"/>
                  <a:cs typeface="+mn-cs"/>
                </a:defRPr>
              </a:lvl6pPr>
              <a:lvl7pPr marL="2743131"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7pPr>
              <a:lvl8pPr marL="3200320"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8pPr>
              <a:lvl9pPr marL="3657509"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2"/>
                  </a:solidFill>
                  <a:latin typeface="+mn-lt"/>
                  <a:ea typeface="+mn-ea"/>
                  <a:cs typeface="+mn-cs"/>
                </a:defRPr>
              </a:lvl9pPr>
            </a:lstStyle>
            <a:p>
              <a:r>
                <a:rPr lang="pt-BR" noProof="1"/>
                <a:t>Galerkin (1915)</a:t>
              </a:r>
            </a:p>
            <a:p>
              <a:r>
                <a:rPr lang="pt-BR" sz="1100" noProof="1">
                  <a:latin typeface="Graphik" panose="020B0503030202060203" pitchFamily="34" charset="0"/>
                </a:rPr>
                <a:t>Autores: Boris Galerkin</a:t>
              </a:r>
            </a:p>
            <a:p>
              <a:r>
                <a:rPr lang="pt-BR" sz="1100" noProof="1">
                  <a:latin typeface="Graphik" panose="020B0503030202060203" pitchFamily="34" charset="0"/>
                </a:rPr>
                <a:t>Artigo: “Series Solution of Some Problems in Elastic Stability using the Method of Weighted Residuals”</a:t>
              </a:r>
            </a:p>
          </p:txBody>
        </p:sp>
        <p:sp>
          <p:nvSpPr>
            <p:cNvPr id="51" name="Text Placeholder 27">
              <a:extLst>
                <a:ext uri="{FF2B5EF4-FFF2-40B4-BE49-F238E27FC236}">
                  <a16:creationId xmlns:a16="http://schemas.microsoft.com/office/drawing/2014/main" id="{347E48ED-FD9F-6301-D91B-E2C70AA23856}"/>
                </a:ext>
              </a:extLst>
            </p:cNvPr>
            <p:cNvSpPr txBox="1">
              <a:spLocks/>
            </p:cNvSpPr>
            <p:nvPr/>
          </p:nvSpPr>
          <p:spPr>
            <a:xfrm>
              <a:off x="563410" y="4540746"/>
              <a:ext cx="3744430" cy="732360"/>
            </a:xfrm>
            <a:prstGeom prst="rect">
              <a:avLst/>
            </a:prstGeom>
            <a:ln>
              <a:noFill/>
            </a:ln>
          </p:spPr>
          <p:txBody>
            <a:bodyPr vert="horz" lIns="0" tIns="0" rIns="0" bIns="0" rtlCol="0" anchor="t">
              <a:noAutofit/>
            </a:bodyPr>
            <a:lstStyle>
              <a:lvl1pPr marL="0" indent="0" algn="l" defTabSz="228594" rtl="0" eaLnBrk="1" latinLnBrk="0" hangingPunct="1">
                <a:lnSpc>
                  <a:spcPct val="90000"/>
                </a:lnSpc>
                <a:spcBef>
                  <a:spcPts val="0"/>
                </a:spcBef>
                <a:spcAft>
                  <a:spcPts val="0"/>
                </a:spcAft>
                <a:buFont typeface="Arial" panose="020B0604020202020204" pitchFamily="34" charset="0"/>
                <a:buNone/>
                <a:defRPr sz="1600" b="0" i="0" kern="1200">
                  <a:solidFill>
                    <a:schemeClr val="tx1"/>
                  </a:solidFill>
                  <a:latin typeface="Graphik Semibold" panose="020B0703030202060203" pitchFamily="34" charset="0"/>
                  <a:ea typeface="+mn-ea"/>
                  <a:cs typeface="+mn-cs"/>
                </a:defRPr>
              </a:lvl1pPr>
              <a:lvl2pPr marL="457189" indent="0" algn="l" defTabSz="228594" rtl="0" eaLnBrk="1" latinLnBrk="0" hangingPunct="1">
                <a:lnSpc>
                  <a:spcPct val="100000"/>
                </a:lnSpc>
                <a:spcBef>
                  <a:spcPts val="0"/>
                </a:spcBef>
                <a:spcAft>
                  <a:spcPts val="1200"/>
                </a:spcAft>
                <a:buClrTx/>
                <a:buFont typeface="Arial" panose="020B0604020202020204" pitchFamily="34" charset="0"/>
                <a:buNone/>
                <a:defRPr sz="2000" b="1" kern="1200">
                  <a:solidFill>
                    <a:schemeClr val="tx1"/>
                  </a:solidFill>
                  <a:latin typeface="+mn-lt"/>
                  <a:ea typeface="+mn-ea"/>
                  <a:cs typeface="+mn-cs"/>
                </a:defRPr>
              </a:lvl2pPr>
              <a:lvl3pPr marL="914377" indent="0" algn="l" defTabSz="228594" rtl="0" eaLnBrk="1" latinLnBrk="0" hangingPunct="1">
                <a:lnSpc>
                  <a:spcPct val="100000"/>
                </a:lnSpc>
                <a:spcBef>
                  <a:spcPts val="0"/>
                </a:spcBef>
                <a:spcAft>
                  <a:spcPts val="1200"/>
                </a:spcAft>
                <a:buFont typeface="System Font"/>
                <a:buNone/>
                <a:defRPr sz="1800" b="1" kern="1200">
                  <a:solidFill>
                    <a:schemeClr val="tx1"/>
                  </a:solidFill>
                  <a:latin typeface="+mn-lt"/>
                  <a:ea typeface="+mn-ea"/>
                  <a:cs typeface="+mn-cs"/>
                </a:defRPr>
              </a:lvl3pPr>
              <a:lvl4pPr marL="1371566" indent="0" algn="l" defTabSz="228594" rtl="0" eaLnBrk="1" latinLnBrk="0" hangingPunct="1">
                <a:lnSpc>
                  <a:spcPct val="10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4pPr>
              <a:lvl5pPr marL="1828754" indent="0" algn="l" defTabSz="228594" rtl="0" eaLnBrk="1" latinLnBrk="0" hangingPunct="1">
                <a:lnSpc>
                  <a:spcPct val="100000"/>
                </a:lnSpc>
                <a:spcBef>
                  <a:spcPts val="0"/>
                </a:spcBef>
                <a:spcAft>
                  <a:spcPts val="1200"/>
                </a:spcAft>
                <a:buFont typeface="System Font"/>
                <a:buNone/>
                <a:defRPr sz="1600" b="1" kern="1200">
                  <a:solidFill>
                    <a:schemeClr val="tx1"/>
                  </a:solidFill>
                  <a:latin typeface="+mn-lt"/>
                  <a:ea typeface="+mn-ea"/>
                  <a:cs typeface="+mn-cs"/>
                </a:defRPr>
              </a:lvl5pPr>
              <a:lvl6pPr marL="2285943" indent="0" algn="l" defTabSz="228594" rtl="0" eaLnBrk="1" latinLnBrk="0" hangingPunct="1">
                <a:lnSpc>
                  <a:spcPct val="90000"/>
                </a:lnSpc>
                <a:spcBef>
                  <a:spcPts val="0"/>
                </a:spcBef>
                <a:spcAft>
                  <a:spcPts val="1200"/>
                </a:spcAft>
                <a:buFont typeface="Graphik" panose="020B0503030202060203" pitchFamily="34" charset="0"/>
                <a:buNone/>
                <a:tabLst/>
                <a:defRPr sz="1600" b="1" kern="1200">
                  <a:solidFill>
                    <a:schemeClr val="tx1"/>
                  </a:solidFill>
                  <a:latin typeface="+mn-lt"/>
                  <a:ea typeface="+mn-ea"/>
                  <a:cs typeface="+mn-cs"/>
                </a:defRPr>
              </a:lvl6pPr>
              <a:lvl7pPr marL="2743131"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7pPr>
              <a:lvl8pPr marL="3200320"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8pPr>
              <a:lvl9pPr marL="3657509"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2"/>
                  </a:solidFill>
                  <a:latin typeface="+mn-lt"/>
                  <a:ea typeface="+mn-ea"/>
                  <a:cs typeface="+mn-cs"/>
                </a:defRPr>
              </a:lvl9pPr>
            </a:lstStyle>
            <a:p>
              <a:r>
                <a:rPr lang="pt-BR" noProof="1"/>
                <a:t>Courant (1946)</a:t>
              </a:r>
            </a:p>
            <a:p>
              <a:r>
                <a:rPr lang="pt-BR" sz="1100" noProof="1">
                  <a:latin typeface="Graphik" panose="020B0503030202060203" pitchFamily="34" charset="0"/>
                </a:rPr>
                <a:t>Autores: Richard Courant</a:t>
              </a:r>
            </a:p>
            <a:p>
              <a:r>
                <a:rPr lang="pt-BR" sz="1100" noProof="1">
                  <a:latin typeface="Graphik" panose="020B0503030202060203" pitchFamily="34" charset="0"/>
                </a:rPr>
                <a:t>Artigo: “Variational Methods for the Solution of Problems of Equilibrium and Vibrations”</a:t>
              </a:r>
            </a:p>
          </p:txBody>
        </p:sp>
        <p:sp>
          <p:nvSpPr>
            <p:cNvPr id="52" name="Text Placeholder 30">
              <a:extLst>
                <a:ext uri="{FF2B5EF4-FFF2-40B4-BE49-F238E27FC236}">
                  <a16:creationId xmlns:a16="http://schemas.microsoft.com/office/drawing/2014/main" id="{78CCFB2A-71CC-2544-A77D-9C5DF960A5C5}"/>
                </a:ext>
              </a:extLst>
            </p:cNvPr>
            <p:cNvSpPr txBox="1">
              <a:spLocks/>
            </p:cNvSpPr>
            <p:nvPr/>
          </p:nvSpPr>
          <p:spPr>
            <a:xfrm>
              <a:off x="563410" y="5553996"/>
              <a:ext cx="3978110" cy="732360"/>
            </a:xfrm>
            <a:prstGeom prst="rect">
              <a:avLst/>
            </a:prstGeom>
            <a:ln>
              <a:noFill/>
            </a:ln>
          </p:spPr>
          <p:txBody>
            <a:bodyPr vert="horz" lIns="0" tIns="0" rIns="0" bIns="0" rtlCol="0" anchor="t">
              <a:noAutofit/>
            </a:bodyPr>
            <a:lstStyle>
              <a:lvl1pPr marL="0" indent="0" algn="l" defTabSz="228594" rtl="0" eaLnBrk="1" latinLnBrk="0" hangingPunct="1">
                <a:lnSpc>
                  <a:spcPct val="90000"/>
                </a:lnSpc>
                <a:spcBef>
                  <a:spcPts val="0"/>
                </a:spcBef>
                <a:spcAft>
                  <a:spcPts val="0"/>
                </a:spcAft>
                <a:buFont typeface="Arial" panose="020B0604020202020204" pitchFamily="34" charset="0"/>
                <a:buNone/>
                <a:defRPr sz="1600" b="0" i="0" kern="1200">
                  <a:solidFill>
                    <a:schemeClr val="tx1"/>
                  </a:solidFill>
                  <a:latin typeface="Graphik Semibold" panose="020B0703030202060203" pitchFamily="34" charset="0"/>
                  <a:ea typeface="+mn-ea"/>
                  <a:cs typeface="+mn-cs"/>
                </a:defRPr>
              </a:lvl1pPr>
              <a:lvl2pPr marL="457189" indent="0" algn="l" defTabSz="228594" rtl="0" eaLnBrk="1" latinLnBrk="0" hangingPunct="1">
                <a:lnSpc>
                  <a:spcPct val="100000"/>
                </a:lnSpc>
                <a:spcBef>
                  <a:spcPts val="0"/>
                </a:spcBef>
                <a:spcAft>
                  <a:spcPts val="1200"/>
                </a:spcAft>
                <a:buClrTx/>
                <a:buFont typeface="Arial" panose="020B0604020202020204" pitchFamily="34" charset="0"/>
                <a:buNone/>
                <a:defRPr sz="2000" b="1" kern="1200">
                  <a:solidFill>
                    <a:schemeClr val="tx1"/>
                  </a:solidFill>
                  <a:latin typeface="+mn-lt"/>
                  <a:ea typeface="+mn-ea"/>
                  <a:cs typeface="+mn-cs"/>
                </a:defRPr>
              </a:lvl2pPr>
              <a:lvl3pPr marL="914377" indent="0" algn="l" defTabSz="228594" rtl="0" eaLnBrk="1" latinLnBrk="0" hangingPunct="1">
                <a:lnSpc>
                  <a:spcPct val="100000"/>
                </a:lnSpc>
                <a:spcBef>
                  <a:spcPts val="0"/>
                </a:spcBef>
                <a:spcAft>
                  <a:spcPts val="1200"/>
                </a:spcAft>
                <a:buFont typeface="System Font"/>
                <a:buNone/>
                <a:defRPr sz="1800" b="1" kern="1200">
                  <a:solidFill>
                    <a:schemeClr val="tx1"/>
                  </a:solidFill>
                  <a:latin typeface="+mn-lt"/>
                  <a:ea typeface="+mn-ea"/>
                  <a:cs typeface="+mn-cs"/>
                </a:defRPr>
              </a:lvl3pPr>
              <a:lvl4pPr marL="1371566" indent="0" algn="l" defTabSz="228594" rtl="0" eaLnBrk="1" latinLnBrk="0" hangingPunct="1">
                <a:lnSpc>
                  <a:spcPct val="10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4pPr>
              <a:lvl5pPr marL="1828754" indent="0" algn="l" defTabSz="228594" rtl="0" eaLnBrk="1" latinLnBrk="0" hangingPunct="1">
                <a:lnSpc>
                  <a:spcPct val="100000"/>
                </a:lnSpc>
                <a:spcBef>
                  <a:spcPts val="0"/>
                </a:spcBef>
                <a:spcAft>
                  <a:spcPts val="1200"/>
                </a:spcAft>
                <a:buFont typeface="System Font"/>
                <a:buNone/>
                <a:defRPr sz="1600" b="1" kern="1200">
                  <a:solidFill>
                    <a:schemeClr val="tx1"/>
                  </a:solidFill>
                  <a:latin typeface="+mn-lt"/>
                  <a:ea typeface="+mn-ea"/>
                  <a:cs typeface="+mn-cs"/>
                </a:defRPr>
              </a:lvl5pPr>
              <a:lvl6pPr marL="2285943" indent="0" algn="l" defTabSz="228594" rtl="0" eaLnBrk="1" latinLnBrk="0" hangingPunct="1">
                <a:lnSpc>
                  <a:spcPct val="90000"/>
                </a:lnSpc>
                <a:spcBef>
                  <a:spcPts val="0"/>
                </a:spcBef>
                <a:spcAft>
                  <a:spcPts val="1200"/>
                </a:spcAft>
                <a:buFont typeface="Graphik" panose="020B0503030202060203" pitchFamily="34" charset="0"/>
                <a:buNone/>
                <a:tabLst/>
                <a:defRPr sz="1600" b="1" kern="1200">
                  <a:solidFill>
                    <a:schemeClr val="tx1"/>
                  </a:solidFill>
                  <a:latin typeface="+mn-lt"/>
                  <a:ea typeface="+mn-ea"/>
                  <a:cs typeface="+mn-cs"/>
                </a:defRPr>
              </a:lvl6pPr>
              <a:lvl7pPr marL="2743131"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7pPr>
              <a:lvl8pPr marL="3200320"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8pPr>
              <a:lvl9pPr marL="3657509" indent="0" algn="l" defTabSz="228594" rtl="0" eaLnBrk="1" latinLnBrk="0" hangingPunct="1">
                <a:lnSpc>
                  <a:spcPct val="90000"/>
                </a:lnSpc>
                <a:spcBef>
                  <a:spcPts val="0"/>
                </a:spcBef>
                <a:spcAft>
                  <a:spcPts val="1200"/>
                </a:spcAft>
                <a:buFont typeface="Arial" panose="020B0604020202020204" pitchFamily="34" charset="0"/>
                <a:buNone/>
                <a:defRPr sz="1600" b="1" kern="1200">
                  <a:solidFill>
                    <a:schemeClr val="tx2"/>
                  </a:solidFill>
                  <a:latin typeface="+mn-lt"/>
                  <a:ea typeface="+mn-ea"/>
                  <a:cs typeface="+mn-cs"/>
                </a:defRPr>
              </a:lvl9pPr>
            </a:lstStyle>
            <a:p>
              <a:r>
                <a:rPr lang="pt-BR" noProof="1"/>
                <a:t>Turner, Clough, Martin &amp; Topp (1956)</a:t>
              </a:r>
            </a:p>
            <a:p>
              <a:r>
                <a:rPr lang="pt-BR" sz="1100" noProof="1">
                  <a:latin typeface="Graphik" panose="020B0503030202060203" pitchFamily="34" charset="0"/>
                </a:rPr>
                <a:t>Autores: M. J. Turner, R. W. Clough, H.C. Martin &amp; L. J. Topp</a:t>
              </a:r>
            </a:p>
            <a:p>
              <a:r>
                <a:rPr lang="pt-BR" sz="1100" noProof="1">
                  <a:latin typeface="Graphik" panose="020B0503030202060203" pitchFamily="34" charset="0"/>
                </a:rPr>
                <a:t>Artigo: “Stiffness  and Deflection Analysis of Complex Structures”</a:t>
              </a:r>
            </a:p>
            <a:p>
              <a:endParaRPr lang="pt-BR" noProof="1"/>
            </a:p>
          </p:txBody>
        </p:sp>
      </p:grpSp>
    </p:spTree>
    <p:extLst>
      <p:ext uri="{BB962C8B-B14F-4D97-AF65-F5344CB8AC3E}">
        <p14:creationId xmlns:p14="http://schemas.microsoft.com/office/powerpoint/2010/main" val="1298822786"/>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AC580EE-D24D-ABD5-556D-0B64DE7A80DD}"/>
              </a:ext>
            </a:extLst>
          </p:cNvPr>
          <p:cNvGraphicFramePr>
            <a:graphicFrameLocks noChangeAspect="1"/>
          </p:cNvGraphicFramePr>
          <p:nvPr>
            <p:custDataLst>
              <p:tags r:id="rId1"/>
            </p:custDataLst>
            <p:extLst>
              <p:ext uri="{D42A27DB-BD31-4B8C-83A1-F6EECF244321}">
                <p14:modId xmlns:p14="http://schemas.microsoft.com/office/powerpoint/2010/main" val="3007985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5" name="think-cell data - do not delete" hidden="1">
                        <a:extLst>
                          <a:ext uri="{FF2B5EF4-FFF2-40B4-BE49-F238E27FC236}">
                            <a16:creationId xmlns:a16="http://schemas.microsoft.com/office/drawing/2014/main" id="{BAC580EE-D24D-ABD5-556D-0B64DE7A80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30B4296-9745-48A9-909B-7BED971230FC}"/>
              </a:ext>
            </a:extLst>
          </p:cNvPr>
          <p:cNvSpPr>
            <a:spLocks noGrp="1"/>
          </p:cNvSpPr>
          <p:nvPr>
            <p:ph type="title"/>
          </p:nvPr>
        </p:nvSpPr>
        <p:spPr/>
        <p:txBody>
          <a:bodyPr vert="horz"/>
          <a:lstStyle/>
          <a:p>
            <a:r>
              <a:rPr lang="pt-BR" noProof="1"/>
              <a:t>Prioritization matrix</a:t>
            </a:r>
          </a:p>
        </p:txBody>
      </p:sp>
      <p:grpSp>
        <p:nvGrpSpPr>
          <p:cNvPr id="2" name="Group 1" descr="Prioritization matrix example with 17 opportunities plotted. The X-axis represents effort (low to high), and the Y-axis represents value (low to high). Each opportunity is marked with a numbered purple circle.">
            <a:extLst>
              <a:ext uri="{FF2B5EF4-FFF2-40B4-BE49-F238E27FC236}">
                <a16:creationId xmlns:a16="http://schemas.microsoft.com/office/drawing/2014/main" id="{49E0E083-9413-42D2-B4AF-0A137BEFE35F}"/>
              </a:ext>
            </a:extLst>
          </p:cNvPr>
          <p:cNvGrpSpPr/>
          <p:nvPr/>
        </p:nvGrpSpPr>
        <p:grpSpPr>
          <a:xfrm>
            <a:off x="1981763" y="1630341"/>
            <a:ext cx="4844103" cy="4210931"/>
            <a:chOff x="1981762" y="1630339"/>
            <a:chExt cx="4844102" cy="4210930"/>
          </a:xfrm>
        </p:grpSpPr>
        <p:sp>
          <p:nvSpPr>
            <p:cNvPr id="6" name="Text Box 11">
              <a:extLst>
                <a:ext uri="{FF2B5EF4-FFF2-40B4-BE49-F238E27FC236}">
                  <a16:creationId xmlns:a16="http://schemas.microsoft.com/office/drawing/2014/main" id="{025735E3-E820-4E59-9353-A85041B7C7E3}"/>
                </a:ext>
              </a:extLst>
            </p:cNvPr>
            <p:cNvSpPr txBox="1">
              <a:spLocks noChangeArrowheads="1"/>
            </p:cNvSpPr>
            <p:nvPr/>
          </p:nvSpPr>
          <p:spPr bwMode="auto">
            <a:xfrm>
              <a:off x="1981762" y="1630339"/>
              <a:ext cx="1089903" cy="147733"/>
            </a:xfrm>
            <a:prstGeom prst="rect">
              <a:avLst/>
            </a:prstGeom>
            <a:noFill/>
            <a:ln w="12700">
              <a:noFill/>
              <a:miter lim="800000"/>
              <a:headEnd/>
              <a:tailEnd/>
            </a:ln>
          </p:spPr>
          <p:txBody>
            <a:bodyPr lIns="0" tIns="0" rIns="0" bIns="0">
              <a:spAutoFit/>
            </a:bodyPr>
            <a:lstStyle/>
            <a:p>
              <a:pPr eaLnBrk="0" fontAlgn="base" hangingPunct="0">
                <a:lnSpc>
                  <a:spcPct val="80000"/>
                </a:lnSpc>
                <a:spcBef>
                  <a:spcPct val="50000"/>
                </a:spcBef>
                <a:spcAft>
                  <a:spcPct val="0"/>
                </a:spcAft>
                <a:defRPr/>
              </a:pPr>
              <a:r>
                <a:rPr lang="pt-BR" sz="1200" b="1" kern="0" noProof="1">
                  <a:solidFill>
                    <a:srgbClr val="000000"/>
                  </a:solidFill>
                  <a:latin typeface="Graphik Semibold" panose="020B0703030202060203" pitchFamily="34" charset="0"/>
                </a:rPr>
                <a:t>Value</a:t>
              </a:r>
            </a:p>
          </p:txBody>
        </p:sp>
        <p:sp>
          <p:nvSpPr>
            <p:cNvPr id="7" name="Rectangle 7">
              <a:extLst>
                <a:ext uri="{FF2B5EF4-FFF2-40B4-BE49-F238E27FC236}">
                  <a16:creationId xmlns:a16="http://schemas.microsoft.com/office/drawing/2014/main" id="{C623B92B-E917-411C-997A-C2B3031E8327}"/>
                </a:ext>
                <a:ext uri="{C183D7F6-B498-43B3-948B-1728B52AA6E4}">
                  <adec:decorative xmlns:adec="http://schemas.microsoft.com/office/drawing/2017/decorative" val="1"/>
                </a:ext>
              </a:extLst>
            </p:cNvPr>
            <p:cNvSpPr>
              <a:spLocks noChangeArrowheads="1"/>
            </p:cNvSpPr>
            <p:nvPr/>
          </p:nvSpPr>
          <p:spPr bwMode="auto">
            <a:xfrm>
              <a:off x="2546464" y="1974643"/>
              <a:ext cx="3656764" cy="3330319"/>
            </a:xfrm>
            <a:prstGeom prst="rect">
              <a:avLst/>
            </a:prstGeom>
            <a:noFill/>
            <a:ln w="6350" cap="flat" cmpd="sng" algn="ctr">
              <a:solidFill>
                <a:srgbClr val="96968C">
                  <a:lumMod val="60000"/>
                  <a:lumOff val="40000"/>
                </a:srgbClr>
              </a:solidFill>
              <a:prstDash val="solid"/>
              <a:headEnd/>
              <a:tailEnd/>
            </a:ln>
            <a:effectLst/>
          </p:spPr>
          <p:txBody>
            <a:bodyPr wrap="none" lIns="0" tIns="0" rIns="0" bIns="0" anchor="ctr"/>
            <a:lstStyle/>
            <a:p>
              <a:pPr algn="ctr" eaLnBrk="0" fontAlgn="base" hangingPunct="0">
                <a:lnSpc>
                  <a:spcPct val="80000"/>
                </a:lnSpc>
                <a:spcBef>
                  <a:spcPct val="0"/>
                </a:spcBef>
                <a:spcAft>
                  <a:spcPct val="0"/>
                </a:spcAft>
                <a:defRPr/>
              </a:pPr>
              <a:endParaRPr lang="pt-BR" sz="2800" kern="0" noProof="1">
                <a:solidFill>
                  <a:srgbClr val="000000"/>
                </a:solidFill>
                <a:latin typeface="Graphik" panose="020B0503030202060203" pitchFamily="34" charset="77"/>
              </a:endParaRPr>
            </a:p>
          </p:txBody>
        </p:sp>
        <p:sp>
          <p:nvSpPr>
            <p:cNvPr id="8" name="Text Box 11">
              <a:extLst>
                <a:ext uri="{FF2B5EF4-FFF2-40B4-BE49-F238E27FC236}">
                  <a16:creationId xmlns:a16="http://schemas.microsoft.com/office/drawing/2014/main" id="{C6CCF3D8-22B0-475E-A4C5-6E3A255C9E5E}"/>
                </a:ext>
              </a:extLst>
            </p:cNvPr>
            <p:cNvSpPr txBox="1">
              <a:spLocks noChangeArrowheads="1"/>
            </p:cNvSpPr>
            <p:nvPr/>
          </p:nvSpPr>
          <p:spPr bwMode="auto">
            <a:xfrm>
              <a:off x="5735961" y="5693536"/>
              <a:ext cx="1089903" cy="147733"/>
            </a:xfrm>
            <a:prstGeom prst="rect">
              <a:avLst/>
            </a:prstGeom>
            <a:noFill/>
            <a:ln w="12700">
              <a:noFill/>
              <a:miter lim="800000"/>
              <a:headEnd/>
              <a:tailEnd/>
            </a:ln>
          </p:spPr>
          <p:txBody>
            <a:bodyPr lIns="0" tIns="0" rIns="0" bIns="0">
              <a:spAutoFit/>
            </a:bodyPr>
            <a:lstStyle/>
            <a:p>
              <a:pPr algn="ctr" eaLnBrk="0" fontAlgn="base" hangingPunct="0">
                <a:lnSpc>
                  <a:spcPct val="80000"/>
                </a:lnSpc>
                <a:spcBef>
                  <a:spcPct val="50000"/>
                </a:spcBef>
                <a:spcAft>
                  <a:spcPct val="0"/>
                </a:spcAft>
                <a:defRPr/>
              </a:pPr>
              <a:r>
                <a:rPr lang="pt-BR" sz="1200" b="1" kern="0" noProof="1">
                  <a:solidFill>
                    <a:srgbClr val="000000"/>
                  </a:solidFill>
                  <a:latin typeface="Graphik Semibold" panose="020B0703030202060203" pitchFamily="34" charset="0"/>
                </a:rPr>
                <a:t>Effort</a:t>
              </a:r>
            </a:p>
          </p:txBody>
        </p:sp>
        <p:sp>
          <p:nvSpPr>
            <p:cNvPr id="38" name="Line 28">
              <a:extLst>
                <a:ext uri="{FF2B5EF4-FFF2-40B4-BE49-F238E27FC236}">
                  <a16:creationId xmlns:a16="http://schemas.microsoft.com/office/drawing/2014/main" id="{54AF5CBB-B318-400E-A0A8-382E39316026}"/>
                </a:ext>
                <a:ext uri="{C183D7F6-B498-43B3-948B-1728B52AA6E4}">
                  <adec:decorative xmlns:adec="http://schemas.microsoft.com/office/drawing/2017/decorative" val="1"/>
                </a:ext>
              </a:extLst>
            </p:cNvPr>
            <p:cNvSpPr>
              <a:spLocks noChangeShapeType="1"/>
            </p:cNvSpPr>
            <p:nvPr/>
          </p:nvSpPr>
          <p:spPr bwMode="auto">
            <a:xfrm>
              <a:off x="2554785" y="5304961"/>
              <a:ext cx="3962897" cy="0"/>
            </a:xfrm>
            <a:prstGeom prst="line">
              <a:avLst/>
            </a:prstGeom>
            <a:noFill/>
            <a:ln w="6350">
              <a:solidFill>
                <a:srgbClr val="000000"/>
              </a:solidFill>
              <a:round/>
              <a:headEnd type="none" w="med" len="med"/>
              <a:tailEnd type="triangle" w="med" len="med"/>
            </a:ln>
          </p:spPr>
          <p:txBody>
            <a:bodyPr wrap="none" lIns="90000" tIns="46800" rIns="90000" bIns="46800" anchor="ctr"/>
            <a:lstStyle/>
            <a:p>
              <a:pPr>
                <a:defRPr/>
              </a:pPr>
              <a:endParaRPr lang="pt-BR" sz="2400" kern="0" noProof="1">
                <a:solidFill>
                  <a:sysClr val="windowText" lastClr="000000"/>
                </a:solidFill>
                <a:latin typeface="Graphik" panose="020B0503030202060203" pitchFamily="34" charset="77"/>
              </a:endParaRPr>
            </a:p>
          </p:txBody>
        </p:sp>
        <p:sp>
          <p:nvSpPr>
            <p:cNvPr id="10" name="Text Box 14">
              <a:extLst>
                <a:ext uri="{FF2B5EF4-FFF2-40B4-BE49-F238E27FC236}">
                  <a16:creationId xmlns:a16="http://schemas.microsoft.com/office/drawing/2014/main" id="{ABF2F071-E386-4EC5-AF22-D56F84681A60}"/>
                </a:ext>
              </a:extLst>
            </p:cNvPr>
            <p:cNvSpPr txBox="1">
              <a:spLocks noChangeArrowheads="1"/>
            </p:cNvSpPr>
            <p:nvPr/>
          </p:nvSpPr>
          <p:spPr bwMode="auto">
            <a:xfrm>
              <a:off x="2370849" y="5405505"/>
              <a:ext cx="890088" cy="123111"/>
            </a:xfrm>
            <a:prstGeom prst="rect">
              <a:avLst/>
            </a:prstGeom>
            <a:noFill/>
            <a:ln w="12700">
              <a:noFill/>
              <a:miter lim="800000"/>
              <a:headEnd/>
              <a:tailEnd/>
            </a:ln>
          </p:spPr>
          <p:txBody>
            <a:bodyPr lIns="0" tIns="0" rIns="0" bIns="0">
              <a:spAutoFit/>
            </a:bodyPr>
            <a:lstStyle/>
            <a:p>
              <a:pPr algn="ctr" eaLnBrk="0" fontAlgn="base" hangingPunct="0">
                <a:lnSpc>
                  <a:spcPct val="80000"/>
                </a:lnSpc>
                <a:spcBef>
                  <a:spcPct val="50000"/>
                </a:spcBef>
                <a:spcAft>
                  <a:spcPct val="0"/>
                </a:spcAft>
                <a:defRPr/>
              </a:pPr>
              <a:r>
                <a:rPr lang="pt-BR" sz="1000" kern="0" noProof="1">
                  <a:solidFill>
                    <a:srgbClr val="000000"/>
                  </a:solidFill>
                  <a:latin typeface="Graphik" panose="020B0503030202060203" pitchFamily="34" charset="77"/>
                </a:rPr>
                <a:t>Low</a:t>
              </a:r>
            </a:p>
          </p:txBody>
        </p:sp>
        <p:sp>
          <p:nvSpPr>
            <p:cNvPr id="11" name="Text Box 15">
              <a:extLst>
                <a:ext uri="{FF2B5EF4-FFF2-40B4-BE49-F238E27FC236}">
                  <a16:creationId xmlns:a16="http://schemas.microsoft.com/office/drawing/2014/main" id="{B0DD6764-933A-4167-B74D-CDD3669A79BD}"/>
                </a:ext>
              </a:extLst>
            </p:cNvPr>
            <p:cNvSpPr txBox="1">
              <a:spLocks noChangeArrowheads="1"/>
            </p:cNvSpPr>
            <p:nvPr/>
          </p:nvSpPr>
          <p:spPr bwMode="auto">
            <a:xfrm>
              <a:off x="4062336" y="5405505"/>
              <a:ext cx="762932" cy="123111"/>
            </a:xfrm>
            <a:prstGeom prst="rect">
              <a:avLst/>
            </a:prstGeom>
            <a:noFill/>
            <a:ln w="12700">
              <a:noFill/>
              <a:miter lim="800000"/>
              <a:headEnd/>
              <a:tailEnd/>
            </a:ln>
          </p:spPr>
          <p:txBody>
            <a:bodyPr lIns="0" tIns="0" rIns="0" bIns="0">
              <a:spAutoFit/>
            </a:bodyPr>
            <a:lstStyle/>
            <a:p>
              <a:pPr algn="ctr" eaLnBrk="0" fontAlgn="base" hangingPunct="0">
                <a:lnSpc>
                  <a:spcPct val="80000"/>
                </a:lnSpc>
                <a:spcBef>
                  <a:spcPct val="50000"/>
                </a:spcBef>
                <a:spcAft>
                  <a:spcPct val="0"/>
                </a:spcAft>
                <a:defRPr/>
              </a:pPr>
              <a:r>
                <a:rPr lang="pt-BR" sz="1000" kern="0" noProof="1">
                  <a:solidFill>
                    <a:srgbClr val="000000"/>
                  </a:solidFill>
                  <a:latin typeface="Graphik" panose="020B0503030202060203" pitchFamily="34" charset="77"/>
                </a:rPr>
                <a:t>Med</a:t>
              </a:r>
            </a:p>
          </p:txBody>
        </p:sp>
        <p:sp>
          <p:nvSpPr>
            <p:cNvPr id="9" name="Text Box 13">
              <a:extLst>
                <a:ext uri="{FF2B5EF4-FFF2-40B4-BE49-F238E27FC236}">
                  <a16:creationId xmlns:a16="http://schemas.microsoft.com/office/drawing/2014/main" id="{AF68CEC8-71DE-445B-8831-BCDC6106B313}"/>
                </a:ext>
              </a:extLst>
            </p:cNvPr>
            <p:cNvSpPr txBox="1">
              <a:spLocks noChangeArrowheads="1"/>
            </p:cNvSpPr>
            <p:nvPr/>
          </p:nvSpPr>
          <p:spPr bwMode="auto">
            <a:xfrm>
              <a:off x="5547948" y="5405505"/>
              <a:ext cx="859347" cy="123111"/>
            </a:xfrm>
            <a:prstGeom prst="rect">
              <a:avLst/>
            </a:prstGeom>
            <a:noFill/>
            <a:ln w="12700">
              <a:noFill/>
              <a:miter lim="800000"/>
              <a:headEnd/>
              <a:tailEnd/>
            </a:ln>
          </p:spPr>
          <p:txBody>
            <a:bodyPr lIns="0" tIns="0" rIns="0" bIns="0">
              <a:spAutoFit/>
            </a:bodyPr>
            <a:lstStyle/>
            <a:p>
              <a:pPr algn="ctr" eaLnBrk="0" fontAlgn="base" hangingPunct="0">
                <a:lnSpc>
                  <a:spcPct val="80000"/>
                </a:lnSpc>
                <a:spcBef>
                  <a:spcPct val="50000"/>
                </a:spcBef>
                <a:spcAft>
                  <a:spcPct val="0"/>
                </a:spcAft>
                <a:defRPr/>
              </a:pPr>
              <a:r>
                <a:rPr lang="pt-BR" sz="1000" kern="0" noProof="1">
                  <a:solidFill>
                    <a:srgbClr val="000000"/>
                  </a:solidFill>
                  <a:latin typeface="Graphik" panose="020B0503030202060203" pitchFamily="34" charset="77"/>
                </a:rPr>
                <a:t>High</a:t>
              </a:r>
            </a:p>
          </p:txBody>
        </p:sp>
        <p:grpSp>
          <p:nvGrpSpPr>
            <p:cNvPr id="12" name="Group 11">
              <a:extLst>
                <a:ext uri="{FF2B5EF4-FFF2-40B4-BE49-F238E27FC236}">
                  <a16:creationId xmlns:a16="http://schemas.microsoft.com/office/drawing/2014/main" id="{694F427B-227A-450E-A6D9-B16354E8A228}"/>
                </a:ext>
                <a:ext uri="{C183D7F6-B498-43B3-948B-1728B52AA6E4}">
                  <adec:decorative xmlns:adec="http://schemas.microsoft.com/office/drawing/2017/decorative" val="1"/>
                </a:ext>
              </a:extLst>
            </p:cNvPr>
            <p:cNvGrpSpPr/>
            <p:nvPr/>
          </p:nvGrpSpPr>
          <p:grpSpPr>
            <a:xfrm>
              <a:off x="2536836" y="1974642"/>
              <a:ext cx="3666392" cy="3322480"/>
              <a:chOff x="2536836" y="1974642"/>
              <a:chExt cx="3666392" cy="3322480"/>
            </a:xfrm>
          </p:grpSpPr>
          <p:sp>
            <p:nvSpPr>
              <p:cNvPr id="13" name="Line 20">
                <a:extLst>
                  <a:ext uri="{FF2B5EF4-FFF2-40B4-BE49-F238E27FC236}">
                    <a16:creationId xmlns:a16="http://schemas.microsoft.com/office/drawing/2014/main" id="{13F13656-5C48-420D-B2A7-72A270F2E34A}"/>
                  </a:ext>
                </a:extLst>
              </p:cNvPr>
              <p:cNvSpPr>
                <a:spLocks noChangeShapeType="1"/>
              </p:cNvSpPr>
              <p:nvPr/>
            </p:nvSpPr>
            <p:spPr bwMode="auto">
              <a:xfrm flipV="1">
                <a:off x="3776252" y="1974642"/>
                <a:ext cx="0" cy="3322480"/>
              </a:xfrm>
              <a:prstGeom prst="line">
                <a:avLst/>
              </a:prstGeom>
              <a:noFill/>
              <a:ln w="6350">
                <a:solidFill>
                  <a:srgbClr val="96968C">
                    <a:lumMod val="60000"/>
                    <a:lumOff val="40000"/>
                  </a:srgbClr>
                </a:solidFill>
                <a:prstDash val="solid"/>
                <a:round/>
                <a:headEnd/>
                <a:tailEnd/>
              </a:ln>
            </p:spPr>
            <p:txBody>
              <a:bodyPr wrap="none" lIns="0" tIns="0" rIns="0" bIns="0" anchor="ctr"/>
              <a:lstStyle/>
              <a:p>
                <a:pPr eaLnBrk="0" fontAlgn="base" hangingPunct="0">
                  <a:lnSpc>
                    <a:spcPct val="80000"/>
                  </a:lnSpc>
                  <a:spcBef>
                    <a:spcPct val="0"/>
                  </a:spcBef>
                  <a:spcAft>
                    <a:spcPct val="0"/>
                  </a:spcAft>
                  <a:defRPr/>
                </a:pPr>
                <a:endParaRPr lang="pt-BR" sz="3200" kern="0" noProof="1">
                  <a:solidFill>
                    <a:srgbClr val="000000"/>
                  </a:solidFill>
                  <a:latin typeface="Graphik" panose="020B0503030202060203" pitchFamily="34" charset="77"/>
                </a:endParaRPr>
              </a:p>
            </p:txBody>
          </p:sp>
          <p:sp>
            <p:nvSpPr>
              <p:cNvPr id="14" name="Line 21">
                <a:extLst>
                  <a:ext uri="{FF2B5EF4-FFF2-40B4-BE49-F238E27FC236}">
                    <a16:creationId xmlns:a16="http://schemas.microsoft.com/office/drawing/2014/main" id="{5C1A1DBC-6B6B-4595-8848-8DDE27F0A985}"/>
                  </a:ext>
                </a:extLst>
              </p:cNvPr>
              <p:cNvSpPr>
                <a:spLocks noChangeShapeType="1"/>
              </p:cNvSpPr>
              <p:nvPr/>
            </p:nvSpPr>
            <p:spPr bwMode="auto">
              <a:xfrm>
                <a:off x="2536836" y="3192319"/>
                <a:ext cx="3666392" cy="0"/>
              </a:xfrm>
              <a:prstGeom prst="line">
                <a:avLst/>
              </a:prstGeom>
              <a:noFill/>
              <a:ln w="6350">
                <a:solidFill>
                  <a:srgbClr val="96968C">
                    <a:lumMod val="60000"/>
                    <a:lumOff val="40000"/>
                  </a:srgbClr>
                </a:solidFill>
                <a:prstDash val="solid"/>
                <a:round/>
                <a:headEnd/>
                <a:tailEnd/>
              </a:ln>
            </p:spPr>
            <p:txBody>
              <a:bodyPr wrap="none" lIns="0" tIns="0" rIns="0" bIns="0" anchor="ctr"/>
              <a:lstStyle/>
              <a:p>
                <a:pPr eaLnBrk="0" fontAlgn="base" hangingPunct="0">
                  <a:lnSpc>
                    <a:spcPct val="80000"/>
                  </a:lnSpc>
                  <a:spcBef>
                    <a:spcPct val="0"/>
                  </a:spcBef>
                  <a:spcAft>
                    <a:spcPct val="0"/>
                  </a:spcAft>
                  <a:defRPr/>
                </a:pPr>
                <a:endParaRPr lang="pt-BR" sz="3200" kern="0" noProof="1">
                  <a:solidFill>
                    <a:srgbClr val="000000"/>
                  </a:solidFill>
                  <a:latin typeface="Graphik" panose="020B0503030202060203" pitchFamily="34" charset="77"/>
                </a:endParaRPr>
              </a:p>
            </p:txBody>
          </p:sp>
          <p:sp>
            <p:nvSpPr>
              <p:cNvPr id="15" name="Line 22">
                <a:extLst>
                  <a:ext uri="{FF2B5EF4-FFF2-40B4-BE49-F238E27FC236}">
                    <a16:creationId xmlns:a16="http://schemas.microsoft.com/office/drawing/2014/main" id="{148A29FA-4411-4E2C-B5E0-FA14FC2C0889}"/>
                  </a:ext>
                </a:extLst>
              </p:cNvPr>
              <p:cNvSpPr>
                <a:spLocks noChangeShapeType="1"/>
              </p:cNvSpPr>
              <p:nvPr/>
            </p:nvSpPr>
            <p:spPr bwMode="auto">
              <a:xfrm flipV="1">
                <a:off x="5005886" y="1974642"/>
                <a:ext cx="0" cy="3322480"/>
              </a:xfrm>
              <a:prstGeom prst="line">
                <a:avLst/>
              </a:prstGeom>
              <a:noFill/>
              <a:ln w="6350">
                <a:solidFill>
                  <a:srgbClr val="96968C">
                    <a:lumMod val="60000"/>
                    <a:lumOff val="40000"/>
                  </a:srgbClr>
                </a:solidFill>
                <a:prstDash val="solid"/>
                <a:round/>
                <a:headEnd/>
                <a:tailEnd/>
              </a:ln>
            </p:spPr>
            <p:txBody>
              <a:bodyPr wrap="none" lIns="0" tIns="0" rIns="0" bIns="0" anchor="ctr"/>
              <a:lstStyle/>
              <a:p>
                <a:pPr eaLnBrk="0" fontAlgn="base" hangingPunct="0">
                  <a:lnSpc>
                    <a:spcPct val="80000"/>
                  </a:lnSpc>
                  <a:spcBef>
                    <a:spcPct val="0"/>
                  </a:spcBef>
                  <a:spcAft>
                    <a:spcPct val="0"/>
                  </a:spcAft>
                  <a:defRPr/>
                </a:pPr>
                <a:endParaRPr lang="pt-BR" sz="3200" kern="0" noProof="1">
                  <a:solidFill>
                    <a:srgbClr val="000000"/>
                  </a:solidFill>
                  <a:latin typeface="Graphik" panose="020B0503030202060203" pitchFamily="34" charset="77"/>
                </a:endParaRPr>
              </a:p>
            </p:txBody>
          </p:sp>
          <p:sp>
            <p:nvSpPr>
              <p:cNvPr id="16" name="Line 23">
                <a:extLst>
                  <a:ext uri="{FF2B5EF4-FFF2-40B4-BE49-F238E27FC236}">
                    <a16:creationId xmlns:a16="http://schemas.microsoft.com/office/drawing/2014/main" id="{C216786B-7679-4E6A-9397-3FAD5DB2B49F}"/>
                  </a:ext>
                </a:extLst>
              </p:cNvPr>
              <p:cNvSpPr>
                <a:spLocks noChangeShapeType="1"/>
              </p:cNvSpPr>
              <p:nvPr/>
            </p:nvSpPr>
            <p:spPr bwMode="auto">
              <a:xfrm>
                <a:off x="2536836" y="4237535"/>
                <a:ext cx="3666392" cy="0"/>
              </a:xfrm>
              <a:prstGeom prst="line">
                <a:avLst/>
              </a:prstGeom>
              <a:noFill/>
              <a:ln w="6350">
                <a:solidFill>
                  <a:srgbClr val="96968C">
                    <a:lumMod val="60000"/>
                    <a:lumOff val="40000"/>
                  </a:srgbClr>
                </a:solidFill>
                <a:prstDash val="solid"/>
                <a:round/>
                <a:headEnd/>
                <a:tailEnd/>
              </a:ln>
            </p:spPr>
            <p:txBody>
              <a:bodyPr wrap="none" lIns="0" tIns="0" rIns="0" bIns="0" anchor="ctr"/>
              <a:lstStyle/>
              <a:p>
                <a:pPr eaLnBrk="0" fontAlgn="base" hangingPunct="0">
                  <a:lnSpc>
                    <a:spcPct val="80000"/>
                  </a:lnSpc>
                  <a:spcBef>
                    <a:spcPct val="0"/>
                  </a:spcBef>
                  <a:spcAft>
                    <a:spcPct val="0"/>
                  </a:spcAft>
                  <a:defRPr/>
                </a:pPr>
                <a:endParaRPr lang="pt-BR" sz="3200" kern="0" noProof="1">
                  <a:solidFill>
                    <a:srgbClr val="000000"/>
                  </a:solidFill>
                  <a:latin typeface="Graphik" panose="020B0503030202060203" pitchFamily="34" charset="77"/>
                </a:endParaRPr>
              </a:p>
            </p:txBody>
          </p:sp>
        </p:grpSp>
        <p:sp>
          <p:nvSpPr>
            <p:cNvPr id="39" name="Line 28">
              <a:extLst>
                <a:ext uri="{FF2B5EF4-FFF2-40B4-BE49-F238E27FC236}">
                  <a16:creationId xmlns:a16="http://schemas.microsoft.com/office/drawing/2014/main" id="{3B510D25-DB9D-4CA5-BF18-840292626875}"/>
                </a:ext>
                <a:ext uri="{C183D7F6-B498-43B3-948B-1728B52AA6E4}">
                  <adec:decorative xmlns:adec="http://schemas.microsoft.com/office/drawing/2017/decorative" val="1"/>
                </a:ext>
              </a:extLst>
            </p:cNvPr>
            <p:cNvSpPr>
              <a:spLocks noChangeShapeType="1"/>
            </p:cNvSpPr>
            <p:nvPr/>
          </p:nvSpPr>
          <p:spPr bwMode="auto">
            <a:xfrm flipV="1">
              <a:off x="2548052" y="1723776"/>
              <a:ext cx="0" cy="3581185"/>
            </a:xfrm>
            <a:prstGeom prst="line">
              <a:avLst/>
            </a:prstGeom>
            <a:noFill/>
            <a:ln w="6350">
              <a:solidFill>
                <a:srgbClr val="000000"/>
              </a:solidFill>
              <a:round/>
              <a:headEnd type="none" w="med" len="med"/>
              <a:tailEnd type="triangle" w="med" len="med"/>
            </a:ln>
          </p:spPr>
          <p:txBody>
            <a:bodyPr wrap="none" lIns="90000" tIns="46800" rIns="90000" bIns="46800" anchor="ctr"/>
            <a:lstStyle/>
            <a:p>
              <a:pPr>
                <a:defRPr/>
              </a:pPr>
              <a:endParaRPr lang="pt-BR" sz="2400" kern="0" noProof="1">
                <a:solidFill>
                  <a:sysClr val="windowText" lastClr="000000"/>
                </a:solidFill>
                <a:latin typeface="Graphik" panose="020B0503030202060203" pitchFamily="34" charset="77"/>
              </a:endParaRPr>
            </a:p>
          </p:txBody>
        </p:sp>
        <p:sp>
          <p:nvSpPr>
            <p:cNvPr id="17" name="Text Box 13">
              <a:extLst>
                <a:ext uri="{FF2B5EF4-FFF2-40B4-BE49-F238E27FC236}">
                  <a16:creationId xmlns:a16="http://schemas.microsoft.com/office/drawing/2014/main" id="{FF24009F-1317-41EB-B468-5793091EEB5F}"/>
                </a:ext>
              </a:extLst>
            </p:cNvPr>
            <p:cNvSpPr txBox="1">
              <a:spLocks noChangeArrowheads="1"/>
            </p:cNvSpPr>
            <p:nvPr/>
          </p:nvSpPr>
          <p:spPr bwMode="auto">
            <a:xfrm>
              <a:off x="2034442" y="2483370"/>
              <a:ext cx="859347" cy="123111"/>
            </a:xfrm>
            <a:prstGeom prst="rect">
              <a:avLst/>
            </a:prstGeom>
            <a:noFill/>
            <a:ln w="12700">
              <a:noFill/>
              <a:miter lim="800000"/>
              <a:headEnd/>
              <a:tailEnd/>
            </a:ln>
          </p:spPr>
          <p:txBody>
            <a:bodyPr lIns="0" tIns="0" rIns="0" bIns="0">
              <a:spAutoFit/>
            </a:bodyPr>
            <a:lstStyle/>
            <a:p>
              <a:pPr eaLnBrk="0" fontAlgn="base" hangingPunct="0">
                <a:lnSpc>
                  <a:spcPct val="80000"/>
                </a:lnSpc>
                <a:spcBef>
                  <a:spcPct val="50000"/>
                </a:spcBef>
                <a:spcAft>
                  <a:spcPct val="0"/>
                </a:spcAft>
                <a:defRPr/>
              </a:pPr>
              <a:r>
                <a:rPr lang="pt-BR" sz="1000" kern="0" noProof="1">
                  <a:solidFill>
                    <a:srgbClr val="000000"/>
                  </a:solidFill>
                  <a:latin typeface="Graphik" panose="020B0503030202060203" pitchFamily="34" charset="77"/>
                </a:rPr>
                <a:t>High</a:t>
              </a:r>
            </a:p>
          </p:txBody>
        </p:sp>
        <p:sp>
          <p:nvSpPr>
            <p:cNvPr id="19" name="Text Box 15">
              <a:extLst>
                <a:ext uri="{FF2B5EF4-FFF2-40B4-BE49-F238E27FC236}">
                  <a16:creationId xmlns:a16="http://schemas.microsoft.com/office/drawing/2014/main" id="{73CB86F9-DD90-455F-BC74-5DE94EDDD66F}"/>
                </a:ext>
              </a:extLst>
            </p:cNvPr>
            <p:cNvSpPr txBox="1">
              <a:spLocks noChangeArrowheads="1"/>
            </p:cNvSpPr>
            <p:nvPr/>
          </p:nvSpPr>
          <p:spPr bwMode="auto">
            <a:xfrm>
              <a:off x="2034442" y="3650113"/>
              <a:ext cx="762932" cy="123111"/>
            </a:xfrm>
            <a:prstGeom prst="rect">
              <a:avLst/>
            </a:prstGeom>
            <a:noFill/>
            <a:ln w="12700">
              <a:noFill/>
              <a:miter lim="800000"/>
              <a:headEnd/>
              <a:tailEnd/>
            </a:ln>
          </p:spPr>
          <p:txBody>
            <a:bodyPr lIns="0" tIns="0" rIns="0" bIns="0">
              <a:spAutoFit/>
            </a:bodyPr>
            <a:lstStyle/>
            <a:p>
              <a:pPr eaLnBrk="0" fontAlgn="base" hangingPunct="0">
                <a:lnSpc>
                  <a:spcPct val="80000"/>
                </a:lnSpc>
                <a:spcBef>
                  <a:spcPct val="50000"/>
                </a:spcBef>
                <a:spcAft>
                  <a:spcPct val="0"/>
                </a:spcAft>
                <a:defRPr/>
              </a:pPr>
              <a:r>
                <a:rPr lang="pt-BR" sz="1000" kern="0" noProof="1">
                  <a:solidFill>
                    <a:srgbClr val="000000"/>
                  </a:solidFill>
                  <a:latin typeface="Graphik" panose="020B0503030202060203" pitchFamily="34" charset="77"/>
                </a:rPr>
                <a:t>Med</a:t>
              </a:r>
            </a:p>
          </p:txBody>
        </p:sp>
        <p:sp>
          <p:nvSpPr>
            <p:cNvPr id="18" name="Text Box 14">
              <a:extLst>
                <a:ext uri="{FF2B5EF4-FFF2-40B4-BE49-F238E27FC236}">
                  <a16:creationId xmlns:a16="http://schemas.microsoft.com/office/drawing/2014/main" id="{FE4A006C-B405-41EC-ADEB-7283EC969318}"/>
                </a:ext>
              </a:extLst>
            </p:cNvPr>
            <p:cNvSpPr txBox="1">
              <a:spLocks noChangeArrowheads="1"/>
            </p:cNvSpPr>
            <p:nvPr/>
          </p:nvSpPr>
          <p:spPr bwMode="auto">
            <a:xfrm>
              <a:off x="2034442" y="4684235"/>
              <a:ext cx="890088" cy="123111"/>
            </a:xfrm>
            <a:prstGeom prst="rect">
              <a:avLst/>
            </a:prstGeom>
            <a:noFill/>
            <a:ln w="12700">
              <a:noFill/>
              <a:miter lim="800000"/>
              <a:headEnd/>
              <a:tailEnd/>
            </a:ln>
          </p:spPr>
          <p:txBody>
            <a:bodyPr lIns="0" tIns="0" rIns="0" bIns="0">
              <a:spAutoFit/>
            </a:bodyPr>
            <a:lstStyle/>
            <a:p>
              <a:pPr eaLnBrk="0" fontAlgn="base" hangingPunct="0">
                <a:lnSpc>
                  <a:spcPct val="80000"/>
                </a:lnSpc>
                <a:spcBef>
                  <a:spcPct val="50000"/>
                </a:spcBef>
                <a:spcAft>
                  <a:spcPct val="0"/>
                </a:spcAft>
                <a:defRPr/>
              </a:pPr>
              <a:r>
                <a:rPr lang="pt-BR" sz="1000" kern="0" noProof="1">
                  <a:solidFill>
                    <a:srgbClr val="000000"/>
                  </a:solidFill>
                  <a:latin typeface="Graphik" panose="020B0503030202060203" pitchFamily="34" charset="77"/>
                </a:rPr>
                <a:t>Low</a:t>
              </a:r>
            </a:p>
          </p:txBody>
        </p:sp>
        <p:sp>
          <p:nvSpPr>
            <p:cNvPr id="20" name="Oval 19">
              <a:extLst>
                <a:ext uri="{FF2B5EF4-FFF2-40B4-BE49-F238E27FC236}">
                  <a16:creationId xmlns:a16="http://schemas.microsoft.com/office/drawing/2014/main" id="{09F0E292-24A8-493C-B3D2-006DF0948D32}"/>
                </a:ext>
              </a:extLst>
            </p:cNvPr>
            <p:cNvSpPr/>
            <p:nvPr/>
          </p:nvSpPr>
          <p:spPr bwMode="auto">
            <a:xfrm>
              <a:off x="4034294" y="2533330"/>
              <a:ext cx="229196" cy="229196"/>
            </a:xfrm>
            <a:prstGeom prst="ellipse">
              <a:avLst/>
            </a:prstGeom>
            <a:solidFill>
              <a:srgbClr val="A100FF"/>
            </a:solidFill>
            <a:ln w="25400" cap="flat" cmpd="sng" algn="ctr">
              <a:noFill/>
              <a:prstDash val="solid"/>
            </a:ln>
            <a:effectLst/>
          </p:spPr>
          <p:txBody>
            <a:bodyPr lIns="0" tIns="0" rIns="0" bIns="0" numCol="1" rtlCol="0" anchor="ctr"/>
            <a:lstStyle/>
            <a:p>
              <a:pPr algn="ctr" eaLnBrk="0" fontAlgn="base" hangingPunct="0">
                <a:lnSpc>
                  <a:spcPct val="80000"/>
                </a:lnSpc>
                <a:spcBef>
                  <a:spcPct val="0"/>
                </a:spcBef>
                <a:spcAft>
                  <a:spcPct val="0"/>
                </a:spcAft>
                <a:defRPr/>
              </a:pPr>
              <a:r>
                <a:rPr lang="pt-BR" sz="1000" kern="0" noProof="1">
                  <a:solidFill>
                    <a:srgbClr val="FFFFFF"/>
                  </a:solidFill>
                  <a:latin typeface="Graphik Semibold" panose="020B0703030202060203" pitchFamily="34" charset="0"/>
                  <a:cs typeface="Graphik" pitchFamily="34" charset="0"/>
                </a:rPr>
                <a:t>1</a:t>
              </a:r>
            </a:p>
          </p:txBody>
        </p:sp>
        <p:sp>
          <p:nvSpPr>
            <p:cNvPr id="21" name="Oval 20">
              <a:extLst>
                <a:ext uri="{FF2B5EF4-FFF2-40B4-BE49-F238E27FC236}">
                  <a16:creationId xmlns:a16="http://schemas.microsoft.com/office/drawing/2014/main" id="{0EBFC9E9-927F-46D7-AB3A-7D5E77FD6C68}"/>
                </a:ext>
              </a:extLst>
            </p:cNvPr>
            <p:cNvSpPr/>
            <p:nvPr/>
          </p:nvSpPr>
          <p:spPr bwMode="auto">
            <a:xfrm>
              <a:off x="4406177" y="3385939"/>
              <a:ext cx="229196" cy="229196"/>
            </a:xfrm>
            <a:prstGeom prst="ellipse">
              <a:avLst/>
            </a:prstGeom>
            <a:solidFill>
              <a:srgbClr val="A100FF"/>
            </a:solidFill>
            <a:ln w="25400" cap="flat" cmpd="sng" algn="ctr">
              <a:noFill/>
              <a:prstDash val="solid"/>
            </a:ln>
            <a:effectLst/>
          </p:spPr>
          <p:txBody>
            <a:bodyPr lIns="0" tIns="0" rIns="0" bIns="0" numCol="1" rtlCol="0" anchor="ctr"/>
            <a:lstStyle/>
            <a:p>
              <a:pPr algn="ctr" eaLnBrk="0" fontAlgn="base" hangingPunct="0">
                <a:lnSpc>
                  <a:spcPct val="80000"/>
                </a:lnSpc>
                <a:spcBef>
                  <a:spcPct val="0"/>
                </a:spcBef>
                <a:spcAft>
                  <a:spcPct val="0"/>
                </a:spcAft>
                <a:defRPr/>
              </a:pPr>
              <a:r>
                <a:rPr lang="pt-BR" sz="1000" kern="0" noProof="1">
                  <a:solidFill>
                    <a:srgbClr val="FFFFFF"/>
                  </a:solidFill>
                  <a:latin typeface="Graphik Semibold" panose="020B0703030202060203" pitchFamily="34" charset="0"/>
                  <a:cs typeface="Graphik" pitchFamily="34" charset="0"/>
                </a:rPr>
                <a:t>17</a:t>
              </a:r>
            </a:p>
          </p:txBody>
        </p:sp>
        <p:sp>
          <p:nvSpPr>
            <p:cNvPr id="22" name="Oval 21">
              <a:extLst>
                <a:ext uri="{FF2B5EF4-FFF2-40B4-BE49-F238E27FC236}">
                  <a16:creationId xmlns:a16="http://schemas.microsoft.com/office/drawing/2014/main" id="{AE3DADED-90B1-432C-BB28-DC24C40B88C5}"/>
                </a:ext>
              </a:extLst>
            </p:cNvPr>
            <p:cNvSpPr/>
            <p:nvPr/>
          </p:nvSpPr>
          <p:spPr bwMode="auto">
            <a:xfrm>
              <a:off x="2991208" y="2469838"/>
              <a:ext cx="229196" cy="229196"/>
            </a:xfrm>
            <a:prstGeom prst="ellipse">
              <a:avLst/>
            </a:prstGeom>
            <a:solidFill>
              <a:srgbClr val="A100FF"/>
            </a:solidFill>
            <a:ln w="25400" cap="flat" cmpd="sng" algn="ctr">
              <a:noFill/>
              <a:prstDash val="solid"/>
            </a:ln>
            <a:effectLst/>
          </p:spPr>
          <p:txBody>
            <a:bodyPr lIns="0" tIns="0" rIns="0" bIns="0" numCol="1" rtlCol="0" anchor="ctr"/>
            <a:lstStyle/>
            <a:p>
              <a:pPr algn="ctr" eaLnBrk="0" fontAlgn="base" hangingPunct="0">
                <a:lnSpc>
                  <a:spcPct val="80000"/>
                </a:lnSpc>
                <a:spcBef>
                  <a:spcPct val="0"/>
                </a:spcBef>
                <a:spcAft>
                  <a:spcPct val="0"/>
                </a:spcAft>
                <a:defRPr/>
              </a:pPr>
              <a:r>
                <a:rPr lang="pt-BR" sz="1000" kern="0" noProof="1">
                  <a:solidFill>
                    <a:srgbClr val="FFFFFF"/>
                  </a:solidFill>
                  <a:latin typeface="Graphik Semibold" panose="020B0703030202060203" pitchFamily="34" charset="0"/>
                  <a:cs typeface="Graphik" pitchFamily="34" charset="0"/>
                </a:rPr>
                <a:t>16</a:t>
              </a:r>
            </a:p>
          </p:txBody>
        </p:sp>
        <p:sp>
          <p:nvSpPr>
            <p:cNvPr id="23" name="Oval 22">
              <a:extLst>
                <a:ext uri="{FF2B5EF4-FFF2-40B4-BE49-F238E27FC236}">
                  <a16:creationId xmlns:a16="http://schemas.microsoft.com/office/drawing/2014/main" id="{374B338B-DDDF-41C1-9AC0-DCBF039DFD49}"/>
                </a:ext>
              </a:extLst>
            </p:cNvPr>
            <p:cNvSpPr/>
            <p:nvPr/>
          </p:nvSpPr>
          <p:spPr bwMode="auto">
            <a:xfrm>
              <a:off x="4224771" y="4374603"/>
              <a:ext cx="229196" cy="229196"/>
            </a:xfrm>
            <a:prstGeom prst="ellipse">
              <a:avLst/>
            </a:prstGeom>
            <a:solidFill>
              <a:srgbClr val="A100FF"/>
            </a:solidFill>
            <a:ln w="25400" cap="flat" cmpd="sng" algn="ctr">
              <a:noFill/>
              <a:prstDash val="solid"/>
            </a:ln>
            <a:effectLst/>
          </p:spPr>
          <p:txBody>
            <a:bodyPr lIns="0" tIns="0" rIns="0" bIns="0" numCol="1" rtlCol="0" anchor="ctr"/>
            <a:lstStyle/>
            <a:p>
              <a:pPr algn="ctr" eaLnBrk="0" fontAlgn="base" hangingPunct="0">
                <a:lnSpc>
                  <a:spcPct val="80000"/>
                </a:lnSpc>
                <a:spcBef>
                  <a:spcPct val="0"/>
                </a:spcBef>
                <a:spcAft>
                  <a:spcPct val="0"/>
                </a:spcAft>
                <a:defRPr/>
              </a:pPr>
              <a:r>
                <a:rPr lang="pt-BR" sz="1000" kern="0" noProof="1">
                  <a:solidFill>
                    <a:srgbClr val="FFFFFF"/>
                  </a:solidFill>
                  <a:latin typeface="Graphik Semibold" panose="020B0703030202060203" pitchFamily="34" charset="0"/>
                  <a:cs typeface="Graphik" pitchFamily="34" charset="0"/>
                </a:rPr>
                <a:t>15</a:t>
              </a:r>
            </a:p>
          </p:txBody>
        </p:sp>
        <p:sp>
          <p:nvSpPr>
            <p:cNvPr id="24" name="Oval 23">
              <a:extLst>
                <a:ext uri="{FF2B5EF4-FFF2-40B4-BE49-F238E27FC236}">
                  <a16:creationId xmlns:a16="http://schemas.microsoft.com/office/drawing/2014/main" id="{71C8BC1B-4611-445A-A83B-E4D25A24D038}"/>
                </a:ext>
              </a:extLst>
            </p:cNvPr>
            <p:cNvSpPr/>
            <p:nvPr/>
          </p:nvSpPr>
          <p:spPr bwMode="auto">
            <a:xfrm>
              <a:off x="4950396" y="4066213"/>
              <a:ext cx="229196" cy="229196"/>
            </a:xfrm>
            <a:prstGeom prst="ellipse">
              <a:avLst/>
            </a:prstGeom>
            <a:solidFill>
              <a:srgbClr val="A100FF"/>
            </a:solidFill>
            <a:ln w="25400" cap="flat" cmpd="sng" algn="ctr">
              <a:noFill/>
              <a:prstDash val="solid"/>
            </a:ln>
            <a:effectLst/>
          </p:spPr>
          <p:txBody>
            <a:bodyPr lIns="0" tIns="0" rIns="0" bIns="0" numCol="1" rtlCol="0" anchor="ctr"/>
            <a:lstStyle/>
            <a:p>
              <a:pPr algn="ctr" eaLnBrk="0" fontAlgn="base" hangingPunct="0">
                <a:lnSpc>
                  <a:spcPct val="80000"/>
                </a:lnSpc>
                <a:spcBef>
                  <a:spcPct val="0"/>
                </a:spcBef>
                <a:spcAft>
                  <a:spcPct val="0"/>
                </a:spcAft>
                <a:defRPr/>
              </a:pPr>
              <a:r>
                <a:rPr lang="pt-BR" sz="1000" kern="0" noProof="1">
                  <a:solidFill>
                    <a:srgbClr val="FFFFFF"/>
                  </a:solidFill>
                  <a:latin typeface="Graphik Semibold" panose="020B0703030202060203" pitchFamily="34" charset="0"/>
                  <a:cs typeface="Graphik" pitchFamily="34" charset="0"/>
                </a:rPr>
                <a:t>14</a:t>
              </a:r>
            </a:p>
          </p:txBody>
        </p:sp>
        <p:sp>
          <p:nvSpPr>
            <p:cNvPr id="25" name="Oval 24">
              <a:extLst>
                <a:ext uri="{FF2B5EF4-FFF2-40B4-BE49-F238E27FC236}">
                  <a16:creationId xmlns:a16="http://schemas.microsoft.com/office/drawing/2014/main" id="{3CD7E014-BD60-436A-9778-A145F2E56484}"/>
                </a:ext>
              </a:extLst>
            </p:cNvPr>
            <p:cNvSpPr/>
            <p:nvPr/>
          </p:nvSpPr>
          <p:spPr bwMode="auto">
            <a:xfrm>
              <a:off x="3499146" y="3494783"/>
              <a:ext cx="229196" cy="229196"/>
            </a:xfrm>
            <a:prstGeom prst="ellipse">
              <a:avLst/>
            </a:prstGeom>
            <a:solidFill>
              <a:srgbClr val="A100FF"/>
            </a:solidFill>
            <a:ln w="25400" cap="flat" cmpd="sng" algn="ctr">
              <a:noFill/>
              <a:prstDash val="solid"/>
            </a:ln>
            <a:effectLst/>
          </p:spPr>
          <p:txBody>
            <a:bodyPr lIns="0" tIns="0" rIns="0" bIns="0" numCol="1" rtlCol="0" anchor="ctr"/>
            <a:lstStyle/>
            <a:p>
              <a:pPr algn="ctr" eaLnBrk="0" fontAlgn="base" hangingPunct="0">
                <a:lnSpc>
                  <a:spcPct val="80000"/>
                </a:lnSpc>
                <a:spcBef>
                  <a:spcPct val="0"/>
                </a:spcBef>
                <a:spcAft>
                  <a:spcPct val="0"/>
                </a:spcAft>
                <a:defRPr/>
              </a:pPr>
              <a:r>
                <a:rPr lang="pt-BR" sz="1000" kern="0" noProof="1">
                  <a:solidFill>
                    <a:srgbClr val="FFFFFF"/>
                  </a:solidFill>
                  <a:latin typeface="Graphik Semibold" panose="020B0703030202060203" pitchFamily="34" charset="0"/>
                  <a:cs typeface="Graphik" pitchFamily="34" charset="0"/>
                </a:rPr>
                <a:t>13</a:t>
              </a:r>
            </a:p>
          </p:txBody>
        </p:sp>
        <p:sp>
          <p:nvSpPr>
            <p:cNvPr id="26" name="Oval 25">
              <a:extLst>
                <a:ext uri="{FF2B5EF4-FFF2-40B4-BE49-F238E27FC236}">
                  <a16:creationId xmlns:a16="http://schemas.microsoft.com/office/drawing/2014/main" id="{565D8728-F841-48C8-8F82-05486282FD18}"/>
                </a:ext>
              </a:extLst>
            </p:cNvPr>
            <p:cNvSpPr/>
            <p:nvPr/>
          </p:nvSpPr>
          <p:spPr bwMode="auto">
            <a:xfrm>
              <a:off x="5213435" y="2497049"/>
              <a:ext cx="229196" cy="229196"/>
            </a:xfrm>
            <a:prstGeom prst="ellipse">
              <a:avLst/>
            </a:prstGeom>
            <a:solidFill>
              <a:srgbClr val="A100FF"/>
            </a:solidFill>
            <a:ln w="25400" cap="flat" cmpd="sng" algn="ctr">
              <a:noFill/>
              <a:prstDash val="solid"/>
            </a:ln>
            <a:effectLst/>
          </p:spPr>
          <p:txBody>
            <a:bodyPr lIns="0" tIns="0" rIns="0" bIns="0" numCol="1" rtlCol="0" anchor="ctr"/>
            <a:lstStyle/>
            <a:p>
              <a:pPr algn="ctr" eaLnBrk="0" fontAlgn="base" hangingPunct="0">
                <a:lnSpc>
                  <a:spcPct val="80000"/>
                </a:lnSpc>
                <a:spcBef>
                  <a:spcPct val="0"/>
                </a:spcBef>
                <a:spcAft>
                  <a:spcPct val="0"/>
                </a:spcAft>
                <a:defRPr/>
              </a:pPr>
              <a:r>
                <a:rPr lang="pt-BR" sz="1000" kern="0" noProof="1">
                  <a:solidFill>
                    <a:srgbClr val="FFFFFF"/>
                  </a:solidFill>
                  <a:latin typeface="Graphik Semibold" panose="020B0703030202060203" pitchFamily="34" charset="0"/>
                  <a:cs typeface="Graphik" pitchFamily="34" charset="0"/>
                </a:rPr>
                <a:t>12</a:t>
              </a:r>
            </a:p>
          </p:txBody>
        </p:sp>
        <p:sp>
          <p:nvSpPr>
            <p:cNvPr id="27" name="Oval 26">
              <a:extLst>
                <a:ext uri="{FF2B5EF4-FFF2-40B4-BE49-F238E27FC236}">
                  <a16:creationId xmlns:a16="http://schemas.microsoft.com/office/drawing/2014/main" id="{2A622DB6-20F6-4753-9664-E69AD9F7609A}"/>
                </a:ext>
              </a:extLst>
            </p:cNvPr>
            <p:cNvSpPr/>
            <p:nvPr/>
          </p:nvSpPr>
          <p:spPr bwMode="auto">
            <a:xfrm>
              <a:off x="2791661" y="4165986"/>
              <a:ext cx="229196" cy="229196"/>
            </a:xfrm>
            <a:prstGeom prst="ellipse">
              <a:avLst/>
            </a:prstGeom>
            <a:solidFill>
              <a:srgbClr val="A100FF"/>
            </a:solidFill>
            <a:ln w="25400" cap="flat" cmpd="sng" algn="ctr">
              <a:noFill/>
              <a:prstDash val="solid"/>
            </a:ln>
            <a:effectLst/>
          </p:spPr>
          <p:txBody>
            <a:bodyPr lIns="0" tIns="0" rIns="0" bIns="0" numCol="1" rtlCol="0" anchor="ctr"/>
            <a:lstStyle/>
            <a:p>
              <a:pPr algn="ctr" eaLnBrk="0" fontAlgn="base" hangingPunct="0">
                <a:lnSpc>
                  <a:spcPct val="80000"/>
                </a:lnSpc>
                <a:spcBef>
                  <a:spcPct val="0"/>
                </a:spcBef>
                <a:spcAft>
                  <a:spcPct val="0"/>
                </a:spcAft>
                <a:defRPr/>
              </a:pPr>
              <a:r>
                <a:rPr lang="pt-BR" sz="1000" kern="0" noProof="1">
                  <a:solidFill>
                    <a:srgbClr val="FFFFFF"/>
                  </a:solidFill>
                  <a:latin typeface="Graphik Semibold" panose="020B0703030202060203" pitchFamily="34" charset="0"/>
                  <a:cs typeface="Graphik" pitchFamily="34" charset="0"/>
                </a:rPr>
                <a:t>11</a:t>
              </a:r>
            </a:p>
          </p:txBody>
        </p:sp>
        <p:sp>
          <p:nvSpPr>
            <p:cNvPr id="28" name="Oval 27">
              <a:extLst>
                <a:ext uri="{FF2B5EF4-FFF2-40B4-BE49-F238E27FC236}">
                  <a16:creationId xmlns:a16="http://schemas.microsoft.com/office/drawing/2014/main" id="{76C8542C-2B09-4D2C-AE4C-21DF25B98445}"/>
                </a:ext>
              </a:extLst>
            </p:cNvPr>
            <p:cNvSpPr/>
            <p:nvPr/>
          </p:nvSpPr>
          <p:spPr bwMode="auto">
            <a:xfrm>
              <a:off x="5086451" y="3322447"/>
              <a:ext cx="229196" cy="229196"/>
            </a:xfrm>
            <a:prstGeom prst="ellipse">
              <a:avLst/>
            </a:prstGeom>
            <a:solidFill>
              <a:srgbClr val="A100FF"/>
            </a:solidFill>
            <a:ln w="25400" cap="flat" cmpd="sng" algn="ctr">
              <a:noFill/>
              <a:prstDash val="solid"/>
            </a:ln>
            <a:effectLst/>
          </p:spPr>
          <p:txBody>
            <a:bodyPr lIns="0" tIns="0" rIns="0" bIns="0" numCol="1" rtlCol="0" anchor="ctr"/>
            <a:lstStyle/>
            <a:p>
              <a:pPr algn="ctr" eaLnBrk="0" fontAlgn="base" hangingPunct="0">
                <a:lnSpc>
                  <a:spcPct val="80000"/>
                </a:lnSpc>
                <a:spcBef>
                  <a:spcPct val="0"/>
                </a:spcBef>
                <a:spcAft>
                  <a:spcPct val="0"/>
                </a:spcAft>
                <a:defRPr/>
              </a:pPr>
              <a:r>
                <a:rPr lang="pt-BR" sz="1000" kern="0" noProof="1">
                  <a:solidFill>
                    <a:srgbClr val="FFFFFF"/>
                  </a:solidFill>
                  <a:latin typeface="Graphik Semibold" panose="020B0703030202060203" pitchFamily="34" charset="0"/>
                  <a:cs typeface="Graphik" pitchFamily="34" charset="0"/>
                </a:rPr>
                <a:t>10</a:t>
              </a:r>
            </a:p>
          </p:txBody>
        </p:sp>
        <p:sp>
          <p:nvSpPr>
            <p:cNvPr id="29" name="Oval 28">
              <a:extLst>
                <a:ext uri="{FF2B5EF4-FFF2-40B4-BE49-F238E27FC236}">
                  <a16:creationId xmlns:a16="http://schemas.microsoft.com/office/drawing/2014/main" id="{1AEAE969-2D49-42C6-9769-7507A1719C49}"/>
                </a:ext>
              </a:extLst>
            </p:cNvPr>
            <p:cNvSpPr/>
            <p:nvPr/>
          </p:nvSpPr>
          <p:spPr bwMode="auto">
            <a:xfrm>
              <a:off x="2982138" y="3549205"/>
              <a:ext cx="229196" cy="229196"/>
            </a:xfrm>
            <a:prstGeom prst="ellipse">
              <a:avLst/>
            </a:prstGeom>
            <a:solidFill>
              <a:srgbClr val="A100FF"/>
            </a:solidFill>
            <a:ln w="25400" cap="flat" cmpd="sng" algn="ctr">
              <a:noFill/>
              <a:prstDash val="solid"/>
            </a:ln>
            <a:effectLst/>
          </p:spPr>
          <p:txBody>
            <a:bodyPr lIns="0" tIns="0" rIns="0" bIns="0" numCol="1" rtlCol="0" anchor="ctr"/>
            <a:lstStyle/>
            <a:p>
              <a:pPr algn="ctr" eaLnBrk="0" fontAlgn="base" hangingPunct="0">
                <a:lnSpc>
                  <a:spcPct val="80000"/>
                </a:lnSpc>
                <a:spcBef>
                  <a:spcPct val="0"/>
                </a:spcBef>
                <a:spcAft>
                  <a:spcPct val="0"/>
                </a:spcAft>
                <a:defRPr/>
              </a:pPr>
              <a:r>
                <a:rPr lang="pt-BR" sz="1000" kern="0" noProof="1">
                  <a:solidFill>
                    <a:srgbClr val="FFFFFF"/>
                  </a:solidFill>
                  <a:latin typeface="Graphik Semibold" panose="020B0703030202060203" pitchFamily="34" charset="0"/>
                  <a:cs typeface="Graphik" pitchFamily="34" charset="0"/>
                </a:rPr>
                <a:t>9</a:t>
              </a:r>
            </a:p>
          </p:txBody>
        </p:sp>
        <p:sp>
          <p:nvSpPr>
            <p:cNvPr id="30" name="Oval 29">
              <a:extLst>
                <a:ext uri="{FF2B5EF4-FFF2-40B4-BE49-F238E27FC236}">
                  <a16:creationId xmlns:a16="http://schemas.microsoft.com/office/drawing/2014/main" id="{89793218-BF1B-4342-A3D3-6100923E0D8C}"/>
                </a:ext>
              </a:extLst>
            </p:cNvPr>
            <p:cNvSpPr/>
            <p:nvPr/>
          </p:nvSpPr>
          <p:spPr bwMode="auto">
            <a:xfrm>
              <a:off x="4723638" y="2506119"/>
              <a:ext cx="229196" cy="229196"/>
            </a:xfrm>
            <a:prstGeom prst="ellipse">
              <a:avLst/>
            </a:prstGeom>
            <a:solidFill>
              <a:srgbClr val="A100FF"/>
            </a:solidFill>
            <a:ln w="25400" cap="flat" cmpd="sng" algn="ctr">
              <a:noFill/>
              <a:prstDash val="solid"/>
            </a:ln>
            <a:effectLst/>
          </p:spPr>
          <p:txBody>
            <a:bodyPr lIns="0" tIns="0" rIns="0" bIns="0" numCol="1" rtlCol="0" anchor="ctr"/>
            <a:lstStyle/>
            <a:p>
              <a:pPr algn="ctr" eaLnBrk="0" fontAlgn="base" hangingPunct="0">
                <a:lnSpc>
                  <a:spcPct val="80000"/>
                </a:lnSpc>
                <a:spcBef>
                  <a:spcPct val="0"/>
                </a:spcBef>
                <a:spcAft>
                  <a:spcPct val="0"/>
                </a:spcAft>
                <a:defRPr/>
              </a:pPr>
              <a:r>
                <a:rPr lang="pt-BR" sz="1000" kern="0" noProof="1">
                  <a:solidFill>
                    <a:srgbClr val="FFFFFF"/>
                  </a:solidFill>
                  <a:latin typeface="Graphik Semibold" panose="020B0703030202060203" pitchFamily="34" charset="0"/>
                  <a:cs typeface="Graphik" pitchFamily="34" charset="0"/>
                </a:rPr>
                <a:t>8</a:t>
              </a:r>
            </a:p>
          </p:txBody>
        </p:sp>
        <p:sp>
          <p:nvSpPr>
            <p:cNvPr id="31" name="Oval 30">
              <a:extLst>
                <a:ext uri="{FF2B5EF4-FFF2-40B4-BE49-F238E27FC236}">
                  <a16:creationId xmlns:a16="http://schemas.microsoft.com/office/drawing/2014/main" id="{F37CE22A-3A9A-482D-8C40-2CBC46FFA554}"/>
                </a:ext>
              </a:extLst>
            </p:cNvPr>
            <p:cNvSpPr/>
            <p:nvPr/>
          </p:nvSpPr>
          <p:spPr bwMode="auto">
            <a:xfrm>
              <a:off x="3317739" y="2633104"/>
              <a:ext cx="229196" cy="229196"/>
            </a:xfrm>
            <a:prstGeom prst="ellipse">
              <a:avLst/>
            </a:prstGeom>
            <a:solidFill>
              <a:srgbClr val="A100FF"/>
            </a:solidFill>
            <a:ln w="25400" cap="flat" cmpd="sng" algn="ctr">
              <a:noFill/>
              <a:prstDash val="solid"/>
            </a:ln>
            <a:effectLst/>
          </p:spPr>
          <p:txBody>
            <a:bodyPr lIns="0" tIns="0" rIns="0" bIns="0" numCol="1" rtlCol="0" anchor="ctr"/>
            <a:lstStyle/>
            <a:p>
              <a:pPr algn="ctr" eaLnBrk="0" fontAlgn="base" hangingPunct="0">
                <a:lnSpc>
                  <a:spcPct val="80000"/>
                </a:lnSpc>
                <a:spcBef>
                  <a:spcPct val="0"/>
                </a:spcBef>
                <a:spcAft>
                  <a:spcPct val="0"/>
                </a:spcAft>
                <a:defRPr/>
              </a:pPr>
              <a:r>
                <a:rPr lang="pt-BR" sz="1000" kern="0" noProof="1">
                  <a:solidFill>
                    <a:srgbClr val="FFFFFF"/>
                  </a:solidFill>
                  <a:latin typeface="Graphik Semibold" panose="020B0703030202060203" pitchFamily="34" charset="0"/>
                  <a:cs typeface="Graphik" pitchFamily="34" charset="0"/>
                </a:rPr>
                <a:t>7</a:t>
              </a:r>
            </a:p>
          </p:txBody>
        </p:sp>
        <p:sp>
          <p:nvSpPr>
            <p:cNvPr id="32" name="Oval 31">
              <a:extLst>
                <a:ext uri="{FF2B5EF4-FFF2-40B4-BE49-F238E27FC236}">
                  <a16:creationId xmlns:a16="http://schemas.microsoft.com/office/drawing/2014/main" id="{D864CDD0-CC15-4DC4-B632-14F2158B494A}"/>
                </a:ext>
              </a:extLst>
            </p:cNvPr>
            <p:cNvSpPr/>
            <p:nvPr/>
          </p:nvSpPr>
          <p:spPr bwMode="auto">
            <a:xfrm>
              <a:off x="3771255" y="3812244"/>
              <a:ext cx="229196" cy="229196"/>
            </a:xfrm>
            <a:prstGeom prst="ellipse">
              <a:avLst/>
            </a:prstGeom>
            <a:solidFill>
              <a:srgbClr val="A100FF"/>
            </a:solidFill>
            <a:ln w="25400" cap="flat" cmpd="sng" algn="ctr">
              <a:noFill/>
              <a:prstDash val="solid"/>
            </a:ln>
            <a:effectLst/>
          </p:spPr>
          <p:txBody>
            <a:bodyPr lIns="0" tIns="0" rIns="0" bIns="0" numCol="1" rtlCol="0" anchor="ctr"/>
            <a:lstStyle/>
            <a:p>
              <a:pPr algn="ctr" eaLnBrk="0" fontAlgn="base" hangingPunct="0">
                <a:lnSpc>
                  <a:spcPct val="80000"/>
                </a:lnSpc>
                <a:spcBef>
                  <a:spcPct val="0"/>
                </a:spcBef>
                <a:spcAft>
                  <a:spcPct val="0"/>
                </a:spcAft>
                <a:defRPr/>
              </a:pPr>
              <a:r>
                <a:rPr lang="pt-BR" sz="1000" kern="0" noProof="1">
                  <a:solidFill>
                    <a:srgbClr val="FFFFFF"/>
                  </a:solidFill>
                  <a:latin typeface="Graphik Semibold" panose="020B0703030202060203" pitchFamily="34" charset="0"/>
                  <a:cs typeface="Graphik" pitchFamily="34" charset="0"/>
                </a:rPr>
                <a:t>6</a:t>
              </a:r>
            </a:p>
          </p:txBody>
        </p:sp>
        <p:sp>
          <p:nvSpPr>
            <p:cNvPr id="33" name="Oval 32">
              <a:extLst>
                <a:ext uri="{FF2B5EF4-FFF2-40B4-BE49-F238E27FC236}">
                  <a16:creationId xmlns:a16="http://schemas.microsoft.com/office/drawing/2014/main" id="{58D4C505-C6C1-46F4-8290-E1A67703A874}"/>
                </a:ext>
              </a:extLst>
            </p:cNvPr>
            <p:cNvSpPr/>
            <p:nvPr/>
          </p:nvSpPr>
          <p:spPr bwMode="auto">
            <a:xfrm>
              <a:off x="3072841" y="4438095"/>
              <a:ext cx="229196" cy="229196"/>
            </a:xfrm>
            <a:prstGeom prst="ellipse">
              <a:avLst/>
            </a:prstGeom>
            <a:solidFill>
              <a:srgbClr val="A100FF"/>
            </a:solidFill>
            <a:ln w="25400" cap="flat" cmpd="sng" algn="ctr">
              <a:noFill/>
              <a:prstDash val="solid"/>
            </a:ln>
            <a:effectLst/>
          </p:spPr>
          <p:txBody>
            <a:bodyPr lIns="0" tIns="0" rIns="0" bIns="0" numCol="1" rtlCol="0" anchor="ctr"/>
            <a:lstStyle/>
            <a:p>
              <a:pPr algn="ctr" eaLnBrk="0" fontAlgn="base" hangingPunct="0">
                <a:lnSpc>
                  <a:spcPct val="80000"/>
                </a:lnSpc>
                <a:spcBef>
                  <a:spcPct val="0"/>
                </a:spcBef>
                <a:spcAft>
                  <a:spcPct val="0"/>
                </a:spcAft>
                <a:defRPr/>
              </a:pPr>
              <a:r>
                <a:rPr lang="pt-BR" sz="1000" kern="0" noProof="1">
                  <a:solidFill>
                    <a:srgbClr val="FFFFFF"/>
                  </a:solidFill>
                  <a:latin typeface="Graphik Semibold" panose="020B0703030202060203" pitchFamily="34" charset="0"/>
                  <a:cs typeface="Graphik" pitchFamily="34" charset="0"/>
                </a:rPr>
                <a:t>5</a:t>
              </a:r>
            </a:p>
          </p:txBody>
        </p:sp>
        <p:sp>
          <p:nvSpPr>
            <p:cNvPr id="34" name="Oval 33">
              <a:extLst>
                <a:ext uri="{FF2B5EF4-FFF2-40B4-BE49-F238E27FC236}">
                  <a16:creationId xmlns:a16="http://schemas.microsoft.com/office/drawing/2014/main" id="{77D4554D-D296-49F1-A531-71CB88605447}"/>
                </a:ext>
              </a:extLst>
            </p:cNvPr>
            <p:cNvSpPr/>
            <p:nvPr/>
          </p:nvSpPr>
          <p:spPr bwMode="auto">
            <a:xfrm>
              <a:off x="3236106" y="3258955"/>
              <a:ext cx="229196" cy="229196"/>
            </a:xfrm>
            <a:prstGeom prst="ellipse">
              <a:avLst/>
            </a:prstGeom>
            <a:solidFill>
              <a:srgbClr val="A100FF"/>
            </a:solidFill>
            <a:ln w="25400" cap="flat" cmpd="sng" algn="ctr">
              <a:noFill/>
              <a:prstDash val="solid"/>
            </a:ln>
            <a:effectLst/>
          </p:spPr>
          <p:txBody>
            <a:bodyPr lIns="0" tIns="0" rIns="0" bIns="0" numCol="1" rtlCol="0" anchor="ctr"/>
            <a:lstStyle/>
            <a:p>
              <a:pPr algn="ctr" eaLnBrk="0" fontAlgn="base" hangingPunct="0">
                <a:lnSpc>
                  <a:spcPct val="80000"/>
                </a:lnSpc>
                <a:spcBef>
                  <a:spcPct val="0"/>
                </a:spcBef>
                <a:spcAft>
                  <a:spcPct val="0"/>
                </a:spcAft>
                <a:defRPr/>
              </a:pPr>
              <a:r>
                <a:rPr lang="pt-BR" sz="1000" kern="0" noProof="1">
                  <a:solidFill>
                    <a:srgbClr val="FFFFFF"/>
                  </a:solidFill>
                  <a:latin typeface="Graphik Semibold" panose="020B0703030202060203" pitchFamily="34" charset="0"/>
                  <a:cs typeface="Graphik" pitchFamily="34" charset="0"/>
                </a:rPr>
                <a:t>4</a:t>
              </a:r>
            </a:p>
          </p:txBody>
        </p:sp>
        <p:sp>
          <p:nvSpPr>
            <p:cNvPr id="35" name="Oval 34">
              <a:extLst>
                <a:ext uri="{FF2B5EF4-FFF2-40B4-BE49-F238E27FC236}">
                  <a16:creationId xmlns:a16="http://schemas.microsoft.com/office/drawing/2014/main" id="{209B231E-9AB9-4BFF-97F1-7E82BB29F716}"/>
                </a:ext>
              </a:extLst>
            </p:cNvPr>
            <p:cNvSpPr/>
            <p:nvPr/>
          </p:nvSpPr>
          <p:spPr bwMode="auto">
            <a:xfrm>
              <a:off x="4242912" y="2868932"/>
              <a:ext cx="229196" cy="229196"/>
            </a:xfrm>
            <a:prstGeom prst="ellipse">
              <a:avLst/>
            </a:prstGeom>
            <a:solidFill>
              <a:srgbClr val="A100FF"/>
            </a:solidFill>
            <a:ln w="25400" cap="flat" cmpd="sng" algn="ctr">
              <a:noFill/>
              <a:prstDash val="solid"/>
            </a:ln>
            <a:effectLst/>
          </p:spPr>
          <p:txBody>
            <a:bodyPr lIns="0" tIns="0" rIns="0" bIns="0" numCol="1" rtlCol="0" anchor="ctr"/>
            <a:lstStyle/>
            <a:p>
              <a:pPr algn="ctr" eaLnBrk="0" fontAlgn="base" hangingPunct="0">
                <a:lnSpc>
                  <a:spcPct val="80000"/>
                </a:lnSpc>
                <a:spcBef>
                  <a:spcPct val="0"/>
                </a:spcBef>
                <a:spcAft>
                  <a:spcPct val="0"/>
                </a:spcAft>
                <a:defRPr/>
              </a:pPr>
              <a:r>
                <a:rPr lang="pt-BR" sz="1000" kern="0" noProof="1">
                  <a:solidFill>
                    <a:srgbClr val="FFFFFF"/>
                  </a:solidFill>
                  <a:latin typeface="Graphik" panose="020B0503030202060203" pitchFamily="34" charset="77"/>
                  <a:cs typeface="Graphik" pitchFamily="34" charset="0"/>
                </a:rPr>
                <a:t>3</a:t>
              </a:r>
            </a:p>
          </p:txBody>
        </p:sp>
        <p:sp>
          <p:nvSpPr>
            <p:cNvPr id="36" name="Oval 35">
              <a:extLst>
                <a:ext uri="{FF2B5EF4-FFF2-40B4-BE49-F238E27FC236}">
                  <a16:creationId xmlns:a16="http://schemas.microsoft.com/office/drawing/2014/main" id="{7A12E4CD-1D92-430D-B3AD-5D6B8F65B119}"/>
                </a:ext>
              </a:extLst>
            </p:cNvPr>
            <p:cNvSpPr/>
            <p:nvPr/>
          </p:nvSpPr>
          <p:spPr bwMode="auto">
            <a:xfrm>
              <a:off x="5086451" y="4329252"/>
              <a:ext cx="229196" cy="229196"/>
            </a:xfrm>
            <a:prstGeom prst="ellipse">
              <a:avLst/>
            </a:prstGeom>
            <a:solidFill>
              <a:srgbClr val="A100FF"/>
            </a:solidFill>
            <a:ln w="25400" cap="flat" cmpd="sng" algn="ctr">
              <a:noFill/>
              <a:prstDash val="solid"/>
            </a:ln>
            <a:effectLst/>
          </p:spPr>
          <p:txBody>
            <a:bodyPr lIns="0" tIns="0" rIns="0" bIns="0" numCol="1" rtlCol="0" anchor="ctr"/>
            <a:lstStyle/>
            <a:p>
              <a:pPr algn="ctr" eaLnBrk="0" fontAlgn="base" hangingPunct="0">
                <a:lnSpc>
                  <a:spcPct val="80000"/>
                </a:lnSpc>
                <a:spcBef>
                  <a:spcPct val="0"/>
                </a:spcBef>
                <a:spcAft>
                  <a:spcPct val="0"/>
                </a:spcAft>
                <a:defRPr/>
              </a:pPr>
              <a:r>
                <a:rPr lang="pt-BR" sz="1000" kern="0" noProof="1">
                  <a:solidFill>
                    <a:srgbClr val="FFFFFF"/>
                  </a:solidFill>
                  <a:latin typeface="Graphik Semibold" panose="020B0703030202060203" pitchFamily="34" charset="0"/>
                  <a:cs typeface="Graphik" pitchFamily="34" charset="0"/>
                </a:rPr>
                <a:t>2</a:t>
              </a:r>
            </a:p>
          </p:txBody>
        </p:sp>
      </p:grpSp>
      <p:sp>
        <p:nvSpPr>
          <p:cNvPr id="37" name="Rectangle 36" descr="Prioritization Matrix text">
            <a:extLst>
              <a:ext uri="{FF2B5EF4-FFF2-40B4-BE49-F238E27FC236}">
                <a16:creationId xmlns:a16="http://schemas.microsoft.com/office/drawing/2014/main" id="{2958E4B1-CED4-4B28-A69F-9DB8627AF061}"/>
              </a:ext>
            </a:extLst>
          </p:cNvPr>
          <p:cNvSpPr/>
          <p:nvPr/>
        </p:nvSpPr>
        <p:spPr bwMode="auto">
          <a:xfrm>
            <a:off x="8071521" y="1628802"/>
            <a:ext cx="2124236" cy="3919022"/>
          </a:xfrm>
          <a:prstGeom prst="rect">
            <a:avLst/>
          </a:prstGeom>
        </p:spPr>
        <p:txBody>
          <a:bodyPr wrap="square" lIns="0" tIns="0" rIns="0" bIns="0">
            <a:spAutoFit/>
          </a:bodyPr>
          <a:lstStyle/>
          <a:p>
            <a:pPr marL="143996" indent="-143996" eaLnBrk="0" hangingPunct="0">
              <a:spcBef>
                <a:spcPts val="200"/>
              </a:spcBef>
              <a:spcAft>
                <a:spcPts val="200"/>
              </a:spcAft>
              <a:defRPr/>
            </a:pPr>
            <a:r>
              <a:rPr lang="pt-BR" sz="1100" b="1" kern="0" noProof="1">
                <a:solidFill>
                  <a:srgbClr val="000000"/>
                </a:solidFill>
                <a:latin typeface="Graphik Semibold" panose="020B0703030202060203" pitchFamily="34" charset="0"/>
              </a:rPr>
              <a:t>Opportunities to explore:</a:t>
            </a:r>
          </a:p>
          <a:p>
            <a:pPr marL="143996" indent="-143996" eaLnBrk="0" hangingPunct="0">
              <a:spcBef>
                <a:spcPts val="200"/>
              </a:spcBef>
              <a:spcAft>
                <a:spcPts val="200"/>
              </a:spcAft>
              <a:buFont typeface="+mj-lt"/>
              <a:buAutoNum type="arabicPeriod"/>
              <a:defRPr/>
            </a:pPr>
            <a:r>
              <a:rPr lang="pt-BR" sz="1100" kern="0" noProof="1">
                <a:solidFill>
                  <a:srgbClr val="000000"/>
                </a:solidFill>
                <a:latin typeface="Graphik" panose="020B0503030202060203" pitchFamily="34" charset="77"/>
              </a:rPr>
              <a:t>Opportunity area 1</a:t>
            </a:r>
          </a:p>
          <a:p>
            <a:pPr marL="143996" indent="-143996" eaLnBrk="0" hangingPunct="0">
              <a:spcBef>
                <a:spcPts val="200"/>
              </a:spcBef>
              <a:spcAft>
                <a:spcPts val="200"/>
              </a:spcAft>
              <a:buFont typeface="+mj-lt"/>
              <a:buAutoNum type="arabicPeriod"/>
              <a:defRPr/>
            </a:pPr>
            <a:r>
              <a:rPr lang="pt-BR" sz="1100" kern="0" noProof="1">
                <a:solidFill>
                  <a:srgbClr val="000000"/>
                </a:solidFill>
                <a:latin typeface="Graphik" panose="020B0503030202060203" pitchFamily="34" charset="77"/>
              </a:rPr>
              <a:t>Opportunity area 2</a:t>
            </a:r>
          </a:p>
          <a:p>
            <a:pPr marL="143996" indent="-143996" eaLnBrk="0" hangingPunct="0">
              <a:spcBef>
                <a:spcPts val="200"/>
              </a:spcBef>
              <a:spcAft>
                <a:spcPts val="200"/>
              </a:spcAft>
              <a:buFont typeface="+mj-lt"/>
              <a:buAutoNum type="arabicPeriod"/>
              <a:defRPr/>
            </a:pPr>
            <a:r>
              <a:rPr lang="pt-BR" sz="1100" kern="0" noProof="1">
                <a:solidFill>
                  <a:srgbClr val="000000"/>
                </a:solidFill>
                <a:latin typeface="Graphik" panose="020B0503030202060203" pitchFamily="34" charset="77"/>
              </a:rPr>
              <a:t>Opportunity area 3</a:t>
            </a:r>
          </a:p>
          <a:p>
            <a:pPr marL="143996" indent="-143996" eaLnBrk="0" hangingPunct="0">
              <a:spcBef>
                <a:spcPts val="200"/>
              </a:spcBef>
              <a:spcAft>
                <a:spcPts val="200"/>
              </a:spcAft>
              <a:buFont typeface="+mj-lt"/>
              <a:buAutoNum type="arabicPeriod"/>
              <a:defRPr/>
            </a:pPr>
            <a:r>
              <a:rPr lang="pt-BR" sz="1100" kern="0" noProof="1">
                <a:solidFill>
                  <a:srgbClr val="000000"/>
                </a:solidFill>
                <a:latin typeface="Graphik" panose="020B0503030202060203" pitchFamily="34" charset="77"/>
              </a:rPr>
              <a:t>Opportunity area 4</a:t>
            </a:r>
          </a:p>
          <a:p>
            <a:pPr marL="143996" indent="-143996" eaLnBrk="0" hangingPunct="0">
              <a:spcBef>
                <a:spcPts val="200"/>
              </a:spcBef>
              <a:spcAft>
                <a:spcPts val="200"/>
              </a:spcAft>
              <a:buFont typeface="+mj-lt"/>
              <a:buAutoNum type="arabicPeriod"/>
              <a:defRPr/>
            </a:pPr>
            <a:r>
              <a:rPr lang="pt-BR" sz="1100" kern="0" noProof="1">
                <a:solidFill>
                  <a:srgbClr val="000000"/>
                </a:solidFill>
                <a:latin typeface="Graphik" panose="020B0503030202060203" pitchFamily="34" charset="77"/>
              </a:rPr>
              <a:t>Opportunity area 5</a:t>
            </a:r>
          </a:p>
          <a:p>
            <a:pPr marL="143996" indent="-143996" eaLnBrk="0" hangingPunct="0">
              <a:spcBef>
                <a:spcPts val="200"/>
              </a:spcBef>
              <a:spcAft>
                <a:spcPts val="200"/>
              </a:spcAft>
              <a:buFont typeface="+mj-lt"/>
              <a:buAutoNum type="arabicPeriod"/>
              <a:defRPr/>
            </a:pPr>
            <a:r>
              <a:rPr lang="pt-BR" sz="1100" kern="0" noProof="1">
                <a:solidFill>
                  <a:srgbClr val="000000"/>
                </a:solidFill>
                <a:latin typeface="Graphik" panose="020B0503030202060203" pitchFamily="34" charset="77"/>
              </a:rPr>
              <a:t>Opportunity area 6</a:t>
            </a:r>
          </a:p>
          <a:p>
            <a:pPr marL="143996" indent="-143996" eaLnBrk="0" hangingPunct="0">
              <a:spcBef>
                <a:spcPts val="200"/>
              </a:spcBef>
              <a:spcAft>
                <a:spcPts val="200"/>
              </a:spcAft>
              <a:buFont typeface="+mj-lt"/>
              <a:buAutoNum type="arabicPeriod"/>
              <a:defRPr/>
            </a:pPr>
            <a:r>
              <a:rPr lang="pt-BR" sz="1100" kern="0" noProof="1">
                <a:solidFill>
                  <a:srgbClr val="000000"/>
                </a:solidFill>
                <a:latin typeface="Graphik" panose="020B0503030202060203" pitchFamily="34" charset="77"/>
              </a:rPr>
              <a:t>Opportunity area 7</a:t>
            </a:r>
          </a:p>
          <a:p>
            <a:pPr marL="143996" indent="-143996" eaLnBrk="0" hangingPunct="0">
              <a:spcBef>
                <a:spcPts val="200"/>
              </a:spcBef>
              <a:spcAft>
                <a:spcPts val="200"/>
              </a:spcAft>
              <a:buFont typeface="+mj-lt"/>
              <a:buAutoNum type="arabicPeriod"/>
              <a:defRPr/>
            </a:pPr>
            <a:r>
              <a:rPr lang="pt-BR" sz="1100" kern="0" noProof="1">
                <a:solidFill>
                  <a:srgbClr val="000000"/>
                </a:solidFill>
                <a:latin typeface="Graphik" panose="020B0503030202060203" pitchFamily="34" charset="77"/>
              </a:rPr>
              <a:t>Opportunity area 8</a:t>
            </a:r>
          </a:p>
          <a:p>
            <a:pPr marL="143996" indent="-143996" eaLnBrk="0" hangingPunct="0">
              <a:spcBef>
                <a:spcPts val="200"/>
              </a:spcBef>
              <a:spcAft>
                <a:spcPts val="200"/>
              </a:spcAft>
              <a:buFont typeface="+mj-lt"/>
              <a:buAutoNum type="arabicPeriod"/>
              <a:defRPr/>
            </a:pPr>
            <a:r>
              <a:rPr lang="pt-BR" sz="1100" kern="0" noProof="1">
                <a:solidFill>
                  <a:srgbClr val="000000"/>
                </a:solidFill>
                <a:latin typeface="Graphik" panose="020B0503030202060203" pitchFamily="34" charset="77"/>
              </a:rPr>
              <a:t>Opportunity area 9</a:t>
            </a:r>
          </a:p>
          <a:p>
            <a:pPr marL="143996" indent="-143996" eaLnBrk="0" hangingPunct="0">
              <a:spcBef>
                <a:spcPts val="200"/>
              </a:spcBef>
              <a:spcAft>
                <a:spcPts val="200"/>
              </a:spcAft>
              <a:buFont typeface="+mj-lt"/>
              <a:buAutoNum type="arabicPeriod"/>
              <a:defRPr/>
            </a:pPr>
            <a:r>
              <a:rPr lang="pt-BR" sz="1100" kern="0" noProof="1">
                <a:solidFill>
                  <a:srgbClr val="000000"/>
                </a:solidFill>
                <a:latin typeface="Graphik" panose="020B0503030202060203" pitchFamily="34" charset="77"/>
              </a:rPr>
              <a:t>Opportunity area 10</a:t>
            </a:r>
          </a:p>
          <a:p>
            <a:pPr marL="143996" indent="-143996" eaLnBrk="0" hangingPunct="0">
              <a:spcBef>
                <a:spcPts val="200"/>
              </a:spcBef>
              <a:spcAft>
                <a:spcPts val="200"/>
              </a:spcAft>
              <a:buFont typeface="+mj-lt"/>
              <a:buAutoNum type="arabicPeriod"/>
              <a:defRPr/>
            </a:pPr>
            <a:r>
              <a:rPr lang="pt-BR" sz="1100" kern="0" noProof="1">
                <a:solidFill>
                  <a:srgbClr val="000000"/>
                </a:solidFill>
                <a:latin typeface="Graphik" panose="020B0503030202060203" pitchFamily="34" charset="77"/>
              </a:rPr>
              <a:t>Opportunity area 11</a:t>
            </a:r>
          </a:p>
          <a:p>
            <a:pPr marL="143996" indent="-143996" eaLnBrk="0" hangingPunct="0">
              <a:spcBef>
                <a:spcPts val="200"/>
              </a:spcBef>
              <a:spcAft>
                <a:spcPts val="200"/>
              </a:spcAft>
              <a:buFont typeface="+mj-lt"/>
              <a:buAutoNum type="arabicPeriod"/>
              <a:defRPr/>
            </a:pPr>
            <a:r>
              <a:rPr lang="pt-BR" sz="1100" kern="0" noProof="1">
                <a:solidFill>
                  <a:srgbClr val="000000"/>
                </a:solidFill>
                <a:latin typeface="Graphik" panose="020B0503030202060203" pitchFamily="34" charset="77"/>
              </a:rPr>
              <a:t>Opportunity area 12</a:t>
            </a:r>
          </a:p>
          <a:p>
            <a:pPr marL="143996" indent="-143996" eaLnBrk="0" hangingPunct="0">
              <a:spcBef>
                <a:spcPts val="200"/>
              </a:spcBef>
              <a:spcAft>
                <a:spcPts val="200"/>
              </a:spcAft>
              <a:buFont typeface="+mj-lt"/>
              <a:buAutoNum type="arabicPeriod"/>
              <a:defRPr/>
            </a:pPr>
            <a:r>
              <a:rPr lang="pt-BR" sz="1100" kern="0" noProof="1">
                <a:solidFill>
                  <a:srgbClr val="000000"/>
                </a:solidFill>
                <a:latin typeface="Graphik" panose="020B0503030202060203" pitchFamily="34" charset="77"/>
              </a:rPr>
              <a:t>Opportunity area 13</a:t>
            </a:r>
          </a:p>
          <a:p>
            <a:pPr marL="143996" indent="-143996" eaLnBrk="0" hangingPunct="0">
              <a:spcBef>
                <a:spcPts val="200"/>
              </a:spcBef>
              <a:spcAft>
                <a:spcPts val="200"/>
              </a:spcAft>
              <a:buFont typeface="+mj-lt"/>
              <a:buAutoNum type="arabicPeriod"/>
              <a:defRPr/>
            </a:pPr>
            <a:r>
              <a:rPr lang="pt-BR" sz="1100" kern="0" noProof="1">
                <a:solidFill>
                  <a:srgbClr val="000000"/>
                </a:solidFill>
                <a:latin typeface="Graphik" panose="020B0503030202060203" pitchFamily="34" charset="77"/>
              </a:rPr>
              <a:t>Opportunity area 14</a:t>
            </a:r>
          </a:p>
          <a:p>
            <a:pPr marL="143996" indent="-143996" eaLnBrk="0" hangingPunct="0">
              <a:spcBef>
                <a:spcPts val="200"/>
              </a:spcBef>
              <a:spcAft>
                <a:spcPts val="200"/>
              </a:spcAft>
              <a:buFont typeface="+mj-lt"/>
              <a:buAutoNum type="arabicPeriod"/>
              <a:defRPr/>
            </a:pPr>
            <a:r>
              <a:rPr lang="pt-BR" sz="1100" kern="0" noProof="1">
                <a:solidFill>
                  <a:srgbClr val="000000"/>
                </a:solidFill>
                <a:latin typeface="Graphik" panose="020B0503030202060203" pitchFamily="34" charset="77"/>
              </a:rPr>
              <a:t>Opportunity area 15</a:t>
            </a:r>
          </a:p>
          <a:p>
            <a:pPr marL="143996" indent="-143996" eaLnBrk="0" hangingPunct="0">
              <a:spcBef>
                <a:spcPts val="200"/>
              </a:spcBef>
              <a:spcAft>
                <a:spcPts val="200"/>
              </a:spcAft>
              <a:buFont typeface="+mj-lt"/>
              <a:buAutoNum type="arabicPeriod"/>
              <a:defRPr/>
            </a:pPr>
            <a:r>
              <a:rPr lang="pt-BR" sz="1100" kern="0" noProof="1">
                <a:solidFill>
                  <a:srgbClr val="000000"/>
                </a:solidFill>
                <a:latin typeface="Graphik" panose="020B0503030202060203" pitchFamily="34" charset="77"/>
              </a:rPr>
              <a:t>Opportunity area 16</a:t>
            </a:r>
          </a:p>
          <a:p>
            <a:pPr marL="143996" indent="-143996" eaLnBrk="0" hangingPunct="0">
              <a:spcBef>
                <a:spcPts val="200"/>
              </a:spcBef>
              <a:spcAft>
                <a:spcPts val="200"/>
              </a:spcAft>
              <a:buFont typeface="+mj-lt"/>
              <a:buAutoNum type="arabicPeriod"/>
              <a:defRPr/>
            </a:pPr>
            <a:r>
              <a:rPr lang="pt-BR" sz="1100" kern="0" noProof="1">
                <a:solidFill>
                  <a:srgbClr val="000000"/>
                </a:solidFill>
                <a:latin typeface="Graphik" panose="020B0503030202060203" pitchFamily="34" charset="77"/>
              </a:rPr>
              <a:t>Opportunity area 17</a:t>
            </a:r>
          </a:p>
        </p:txBody>
      </p:sp>
    </p:spTree>
    <p:extLst>
      <p:ext uri="{BB962C8B-B14F-4D97-AF65-F5344CB8AC3E}">
        <p14:creationId xmlns:p14="http://schemas.microsoft.com/office/powerpoint/2010/main" val="167514116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CCD5032-F4B5-B73D-7A5F-E0174D9C4C08}"/>
              </a:ext>
            </a:extLst>
          </p:cNvPr>
          <p:cNvGraphicFramePr>
            <a:graphicFrameLocks noChangeAspect="1"/>
          </p:cNvGraphicFramePr>
          <p:nvPr>
            <p:custDataLst>
              <p:tags r:id="rId1"/>
            </p:custDataLst>
            <p:extLst>
              <p:ext uri="{D42A27DB-BD31-4B8C-83A1-F6EECF244321}">
                <p14:modId xmlns:p14="http://schemas.microsoft.com/office/powerpoint/2010/main" val="3564102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3" name="think-cell data - do not delete" hidden="1">
                        <a:extLst>
                          <a:ext uri="{FF2B5EF4-FFF2-40B4-BE49-F238E27FC236}">
                            <a16:creationId xmlns:a16="http://schemas.microsoft.com/office/drawing/2014/main" id="{6CCD5032-F4B5-B73D-7A5F-E0174D9C4C0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vert="horz"/>
          <a:lstStyle/>
          <a:p>
            <a:r>
              <a:rPr lang="pt-BR" noProof="1"/>
              <a:t>Scoring</a:t>
            </a:r>
          </a:p>
        </p:txBody>
      </p:sp>
      <p:grpSp>
        <p:nvGrpSpPr>
          <p:cNvPr id="4" name="Group 3" descr="Example of a scoring matrix. Displays evaluation of options against multiple criteria using a visual rating scale from 'Very High' to 'Very Low,' with space for comments.">
            <a:extLst>
              <a:ext uri="{FF2B5EF4-FFF2-40B4-BE49-F238E27FC236}">
                <a16:creationId xmlns:a16="http://schemas.microsoft.com/office/drawing/2014/main" id="{CCA47AFD-95FA-4F9D-A8F2-D7EB93872552}"/>
              </a:ext>
            </a:extLst>
          </p:cNvPr>
          <p:cNvGrpSpPr/>
          <p:nvPr/>
        </p:nvGrpSpPr>
        <p:grpSpPr>
          <a:xfrm>
            <a:off x="556468" y="1280197"/>
            <a:ext cx="11220564" cy="4303157"/>
            <a:chOff x="381000" y="987112"/>
            <a:chExt cx="11429366" cy="4637726"/>
          </a:xfrm>
        </p:grpSpPr>
        <p:grpSp>
          <p:nvGrpSpPr>
            <p:cNvPr id="16" name="Group 15" descr="Options">
              <a:extLst>
                <a:ext uri="{FF2B5EF4-FFF2-40B4-BE49-F238E27FC236}">
                  <a16:creationId xmlns:a16="http://schemas.microsoft.com/office/drawing/2014/main" id="{70151B59-A05F-48FE-A53F-840AB7735486}"/>
                </a:ext>
              </a:extLst>
            </p:cNvPr>
            <p:cNvGrpSpPr/>
            <p:nvPr/>
          </p:nvGrpSpPr>
          <p:grpSpPr>
            <a:xfrm>
              <a:off x="389766" y="987113"/>
              <a:ext cx="2214103" cy="1637000"/>
              <a:chOff x="389766" y="1362569"/>
              <a:chExt cx="2304000" cy="1529012"/>
            </a:xfrm>
          </p:grpSpPr>
          <p:sp>
            <p:nvSpPr>
              <p:cNvPr id="132" name="Rectangle 93">
                <a:extLst>
                  <a:ext uri="{FF2B5EF4-FFF2-40B4-BE49-F238E27FC236}">
                    <a16:creationId xmlns:a16="http://schemas.microsoft.com/office/drawing/2014/main" id="{FC60E29A-DE9B-48E3-9912-FE0D7B8CB6AC}"/>
                  </a:ext>
                </a:extLst>
              </p:cNvPr>
              <p:cNvSpPr>
                <a:spLocks noChangeArrowheads="1"/>
              </p:cNvSpPr>
              <p:nvPr/>
            </p:nvSpPr>
            <p:spPr bwMode="auto">
              <a:xfrm>
                <a:off x="389766" y="2351581"/>
                <a:ext cx="2304000" cy="540000"/>
              </a:xfrm>
              <a:prstGeom prst="rect">
                <a:avLst/>
              </a:prstGeom>
              <a:solidFill>
                <a:srgbClr val="E4E7E7"/>
              </a:solidFill>
              <a:ln w="6350">
                <a:solidFill>
                  <a:schemeClr val="bg1"/>
                </a:solidFill>
                <a:miter lim="800000"/>
                <a:headEnd/>
                <a:tailEnd/>
              </a:ln>
              <a:effectLst/>
            </p:spPr>
            <p:txBody>
              <a:bodyPr lIns="144000" tIns="72000" rIns="108000" bIns="72000" anchor="ctr"/>
              <a:lstStyle/>
              <a:p>
                <a:pPr algn="l" eaLnBrk="0" hangingPunct="0">
                  <a:spcBef>
                    <a:spcPct val="0"/>
                  </a:spcBef>
                </a:pPr>
                <a:r>
                  <a:rPr lang="pt-BR" sz="1200" noProof="1">
                    <a:latin typeface="Graphik" panose="020B0503030202060203" pitchFamily="34" charset="77"/>
                  </a:rPr>
                  <a:t>Option 2</a:t>
                </a:r>
              </a:p>
            </p:txBody>
          </p:sp>
          <p:sp>
            <p:nvSpPr>
              <p:cNvPr id="130" name="Rectangle 87">
                <a:extLst>
                  <a:ext uri="{FF2B5EF4-FFF2-40B4-BE49-F238E27FC236}">
                    <a16:creationId xmlns:a16="http://schemas.microsoft.com/office/drawing/2014/main" id="{7DBAA2FF-59E0-4CD7-A060-B8D3E9D54C6D}"/>
                  </a:ext>
                </a:extLst>
              </p:cNvPr>
              <p:cNvSpPr>
                <a:spLocks noChangeArrowheads="1"/>
              </p:cNvSpPr>
              <p:nvPr/>
            </p:nvSpPr>
            <p:spPr bwMode="auto">
              <a:xfrm>
                <a:off x="389766" y="1804009"/>
                <a:ext cx="2304000" cy="540000"/>
              </a:xfrm>
              <a:prstGeom prst="rect">
                <a:avLst/>
              </a:prstGeom>
              <a:solidFill>
                <a:srgbClr val="E4E7E7"/>
              </a:solidFill>
              <a:ln w="6350">
                <a:solidFill>
                  <a:schemeClr val="bg1"/>
                </a:solidFill>
                <a:miter lim="800000"/>
                <a:headEnd/>
                <a:tailEnd/>
              </a:ln>
              <a:effectLst/>
            </p:spPr>
            <p:txBody>
              <a:bodyPr lIns="144000" tIns="72000" rIns="108000" bIns="72000" anchor="ctr"/>
              <a:lstStyle/>
              <a:p>
                <a:pPr algn="l" eaLnBrk="0" hangingPunct="0">
                  <a:spcBef>
                    <a:spcPct val="0"/>
                  </a:spcBef>
                </a:pPr>
                <a:r>
                  <a:rPr lang="pt-BR" sz="1200" noProof="1">
                    <a:latin typeface="Graphik" panose="020B0503030202060203" pitchFamily="34" charset="77"/>
                  </a:rPr>
                  <a:t>Option 1</a:t>
                </a:r>
              </a:p>
            </p:txBody>
          </p:sp>
          <p:sp>
            <p:nvSpPr>
              <p:cNvPr id="131" name="Rectangle 92">
                <a:extLst>
                  <a:ext uri="{FF2B5EF4-FFF2-40B4-BE49-F238E27FC236}">
                    <a16:creationId xmlns:a16="http://schemas.microsoft.com/office/drawing/2014/main" id="{2B248F0E-5076-4F34-991C-E3E4B69A2E88}"/>
                  </a:ext>
                </a:extLst>
              </p:cNvPr>
              <p:cNvSpPr>
                <a:spLocks noChangeArrowheads="1"/>
              </p:cNvSpPr>
              <p:nvPr/>
            </p:nvSpPr>
            <p:spPr bwMode="auto">
              <a:xfrm>
                <a:off x="389766" y="1362569"/>
                <a:ext cx="2304000" cy="441441"/>
              </a:xfrm>
              <a:prstGeom prst="rect">
                <a:avLst/>
              </a:prstGeom>
              <a:solidFill>
                <a:schemeClr val="accent3"/>
              </a:solidFill>
              <a:ln w="635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pt-BR" sz="1200" noProof="1">
                    <a:solidFill>
                      <a:srgbClr val="000000"/>
                    </a:solidFill>
                    <a:latin typeface="Graphik" panose="020B0503030202060203" pitchFamily="34" charset="77"/>
                  </a:rPr>
                  <a:t>Options</a:t>
                </a:r>
              </a:p>
            </p:txBody>
          </p:sp>
        </p:grpSp>
        <p:grpSp>
          <p:nvGrpSpPr>
            <p:cNvPr id="17" name="Group 16" descr="Criterion 1">
              <a:extLst>
                <a:ext uri="{FF2B5EF4-FFF2-40B4-BE49-F238E27FC236}">
                  <a16:creationId xmlns:a16="http://schemas.microsoft.com/office/drawing/2014/main" id="{4BC17ED4-D388-48EA-81D1-CF157F760989}"/>
                </a:ext>
              </a:extLst>
            </p:cNvPr>
            <p:cNvGrpSpPr/>
            <p:nvPr/>
          </p:nvGrpSpPr>
          <p:grpSpPr>
            <a:xfrm>
              <a:off x="2691390" y="987113"/>
              <a:ext cx="2214103" cy="1637000"/>
              <a:chOff x="2691390" y="1362569"/>
              <a:chExt cx="2304000" cy="1529012"/>
            </a:xfrm>
          </p:grpSpPr>
          <p:sp>
            <p:nvSpPr>
              <p:cNvPr id="124" name="Rectangle 79">
                <a:extLst>
                  <a:ext uri="{FF2B5EF4-FFF2-40B4-BE49-F238E27FC236}">
                    <a16:creationId xmlns:a16="http://schemas.microsoft.com/office/drawing/2014/main" id="{637BE6E7-0034-460D-8A39-649CEC68B8A3}"/>
                  </a:ext>
                </a:extLst>
              </p:cNvPr>
              <p:cNvSpPr>
                <a:spLocks noChangeArrowheads="1"/>
              </p:cNvSpPr>
              <p:nvPr/>
            </p:nvSpPr>
            <p:spPr bwMode="auto">
              <a:xfrm>
                <a:off x="2691390" y="2351581"/>
                <a:ext cx="2304000" cy="540000"/>
              </a:xfrm>
              <a:prstGeom prst="rect">
                <a:avLst/>
              </a:prstGeom>
              <a:solidFill>
                <a:srgbClr val="E4E7E7"/>
              </a:solidFill>
              <a:ln w="12700">
                <a:solidFill>
                  <a:schemeClr val="bg1"/>
                </a:solidFill>
                <a:miter lim="800000"/>
                <a:headEnd/>
                <a:tailEnd/>
              </a:ln>
              <a:effectLst/>
            </p:spPr>
            <p:txBody>
              <a:bodyPr lIns="684000" tIns="72000" rIns="108000" bIns="72000" anchor="ctr" anchorCtr="0"/>
              <a:lstStyle/>
              <a:p>
                <a:pPr marL="180970" indent="-180970" eaLnBrk="0" hangingPunct="0">
                  <a:spcBef>
                    <a:spcPct val="0"/>
                  </a:spcBef>
                  <a:buFontTx/>
                  <a:buChar char="•"/>
                </a:pPr>
                <a:r>
                  <a:rPr lang="pt-BR" sz="1051" noProof="1">
                    <a:latin typeface="Graphik" panose="020B0503030202060203" pitchFamily="34" charset="77"/>
                  </a:rPr>
                  <a:t>Comment</a:t>
                </a:r>
              </a:p>
              <a:p>
                <a:pPr marL="180970" indent="-180970" eaLnBrk="0" hangingPunct="0">
                  <a:spcBef>
                    <a:spcPct val="0"/>
                  </a:spcBef>
                  <a:buFontTx/>
                  <a:buChar char="•"/>
                </a:pPr>
                <a:r>
                  <a:rPr lang="pt-BR" sz="1051" noProof="1">
                    <a:latin typeface="Graphik" panose="020B0503030202060203" pitchFamily="34" charset="77"/>
                  </a:rPr>
                  <a:t>Comment</a:t>
                </a:r>
              </a:p>
            </p:txBody>
          </p:sp>
          <p:sp>
            <p:nvSpPr>
              <p:cNvPr id="125" name="Rectangle 86">
                <a:extLst>
                  <a:ext uri="{FF2B5EF4-FFF2-40B4-BE49-F238E27FC236}">
                    <a16:creationId xmlns:a16="http://schemas.microsoft.com/office/drawing/2014/main" id="{D9603747-B123-49A9-93CB-847ADC489A69}"/>
                  </a:ext>
                </a:extLst>
              </p:cNvPr>
              <p:cNvSpPr>
                <a:spLocks noChangeArrowheads="1"/>
              </p:cNvSpPr>
              <p:nvPr/>
            </p:nvSpPr>
            <p:spPr bwMode="auto">
              <a:xfrm>
                <a:off x="2691390" y="1804009"/>
                <a:ext cx="2304000" cy="540000"/>
              </a:xfrm>
              <a:prstGeom prst="rect">
                <a:avLst/>
              </a:prstGeom>
              <a:solidFill>
                <a:srgbClr val="E4E7E7"/>
              </a:solidFill>
              <a:ln w="12700">
                <a:solidFill>
                  <a:schemeClr val="bg1"/>
                </a:solidFill>
                <a:miter lim="800000"/>
                <a:headEnd/>
                <a:tailEnd/>
              </a:ln>
              <a:effectLst/>
            </p:spPr>
            <p:txBody>
              <a:bodyPr lIns="684000" tIns="72000" rIns="108000" bIns="72000" anchor="ctr" anchorCtr="0"/>
              <a:lstStyle/>
              <a:p>
                <a:pPr marL="180970" indent="-180970" eaLnBrk="0" hangingPunct="0">
                  <a:spcBef>
                    <a:spcPct val="0"/>
                  </a:spcBef>
                  <a:buFontTx/>
                  <a:buChar char="•"/>
                </a:pPr>
                <a:r>
                  <a:rPr lang="pt-BR" sz="1051" noProof="1">
                    <a:latin typeface="Graphik" panose="020B0503030202060203" pitchFamily="34" charset="77"/>
                  </a:rPr>
                  <a:t>Comment</a:t>
                </a:r>
              </a:p>
              <a:p>
                <a:pPr marL="180970" indent="-180970" eaLnBrk="0" hangingPunct="0">
                  <a:spcBef>
                    <a:spcPct val="0"/>
                  </a:spcBef>
                  <a:buFontTx/>
                  <a:buChar char="•"/>
                </a:pPr>
                <a:r>
                  <a:rPr lang="pt-BR" sz="1051" noProof="1">
                    <a:latin typeface="Graphik" panose="020B0503030202060203" pitchFamily="34" charset="77"/>
                  </a:rPr>
                  <a:t>Comment</a:t>
                </a:r>
              </a:p>
            </p:txBody>
          </p:sp>
          <p:sp>
            <p:nvSpPr>
              <p:cNvPr id="126" name="Rectangle 91">
                <a:extLst>
                  <a:ext uri="{FF2B5EF4-FFF2-40B4-BE49-F238E27FC236}">
                    <a16:creationId xmlns:a16="http://schemas.microsoft.com/office/drawing/2014/main" id="{250EDA71-C321-45E5-BAAD-DC76C10975B0}"/>
                  </a:ext>
                </a:extLst>
              </p:cNvPr>
              <p:cNvSpPr>
                <a:spLocks noChangeArrowheads="1"/>
              </p:cNvSpPr>
              <p:nvPr/>
            </p:nvSpPr>
            <p:spPr bwMode="auto">
              <a:xfrm>
                <a:off x="2691390" y="1362569"/>
                <a:ext cx="2304000" cy="441441"/>
              </a:xfrm>
              <a:prstGeom prst="rect">
                <a:avLst/>
              </a:prstGeom>
              <a:solidFill>
                <a:schemeClr val="accent2"/>
              </a:solidFill>
              <a:ln w="1270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pt-BR" sz="1200" noProof="1">
                    <a:solidFill>
                      <a:srgbClr val="000000"/>
                    </a:solidFill>
                    <a:latin typeface="Graphik" panose="020B0503030202060203" pitchFamily="34" charset="77"/>
                  </a:rPr>
                  <a:t>Criterion 1</a:t>
                </a:r>
              </a:p>
            </p:txBody>
          </p:sp>
          <p:sp>
            <p:nvSpPr>
              <p:cNvPr id="159" name="Oval 95">
                <a:extLst>
                  <a:ext uri="{FF2B5EF4-FFF2-40B4-BE49-F238E27FC236}">
                    <a16:creationId xmlns:a16="http://schemas.microsoft.com/office/drawing/2014/main" id="{7B5641EA-2716-4304-8CD9-C16FAFBBD59C}"/>
                  </a:ext>
                </a:extLst>
              </p:cNvPr>
              <p:cNvSpPr>
                <a:spLocks noChangeArrowheads="1"/>
              </p:cNvSpPr>
              <p:nvPr/>
            </p:nvSpPr>
            <p:spPr bwMode="auto">
              <a:xfrm>
                <a:off x="2949873" y="2497426"/>
                <a:ext cx="252909" cy="247129"/>
              </a:xfrm>
              <a:prstGeom prst="ellipse">
                <a:avLst/>
              </a:prstGeom>
              <a:solidFill>
                <a:srgbClr val="FFFFFF"/>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160" name="Arc 96">
                <a:extLst>
                  <a:ext uri="{FF2B5EF4-FFF2-40B4-BE49-F238E27FC236}">
                    <a16:creationId xmlns:a16="http://schemas.microsoft.com/office/drawing/2014/main" id="{CBB0DA26-4C54-4912-8622-DA9D68F67AA6}"/>
                  </a:ext>
                </a:extLst>
              </p:cNvPr>
              <p:cNvSpPr>
                <a:spLocks/>
              </p:cNvSpPr>
              <p:nvPr/>
            </p:nvSpPr>
            <p:spPr bwMode="auto">
              <a:xfrm>
                <a:off x="2951083" y="2497426"/>
                <a:ext cx="251699" cy="248311"/>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168" name="Oval 104">
                <a:extLst>
                  <a:ext uri="{FF2B5EF4-FFF2-40B4-BE49-F238E27FC236}">
                    <a16:creationId xmlns:a16="http://schemas.microsoft.com/office/drawing/2014/main" id="{0BD2C2A4-9722-4ECC-8587-71D18470B57F}"/>
                  </a:ext>
                </a:extLst>
              </p:cNvPr>
              <p:cNvSpPr>
                <a:spLocks noChangeArrowheads="1"/>
              </p:cNvSpPr>
              <p:nvPr/>
            </p:nvSpPr>
            <p:spPr bwMode="auto">
              <a:xfrm>
                <a:off x="2949873" y="1949854"/>
                <a:ext cx="252909" cy="247129"/>
              </a:xfrm>
              <a:prstGeom prst="ellipse">
                <a:avLst/>
              </a:prstGeom>
              <a:solidFill>
                <a:srgbClr val="FFFFFF"/>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169" name="Arc 105">
                <a:extLst>
                  <a:ext uri="{FF2B5EF4-FFF2-40B4-BE49-F238E27FC236}">
                    <a16:creationId xmlns:a16="http://schemas.microsoft.com/office/drawing/2014/main" id="{10C935C9-A28A-43B2-ABB9-A925EAE25B09}"/>
                  </a:ext>
                </a:extLst>
              </p:cNvPr>
              <p:cNvSpPr>
                <a:spLocks/>
              </p:cNvSpPr>
              <p:nvPr/>
            </p:nvSpPr>
            <p:spPr bwMode="auto">
              <a:xfrm>
                <a:off x="3076933" y="1949854"/>
                <a:ext cx="125849" cy="248311"/>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grpSp>
        <p:grpSp>
          <p:nvGrpSpPr>
            <p:cNvPr id="18" name="Group 17" descr="Criterion 2">
              <a:extLst>
                <a:ext uri="{FF2B5EF4-FFF2-40B4-BE49-F238E27FC236}">
                  <a16:creationId xmlns:a16="http://schemas.microsoft.com/office/drawing/2014/main" id="{84FD507B-05FF-4115-B1D2-5FAE14A15CA1}"/>
                </a:ext>
              </a:extLst>
            </p:cNvPr>
            <p:cNvGrpSpPr/>
            <p:nvPr/>
          </p:nvGrpSpPr>
          <p:grpSpPr>
            <a:xfrm>
              <a:off x="4993014" y="987112"/>
              <a:ext cx="2214103" cy="1637000"/>
              <a:chOff x="4993014" y="1362569"/>
              <a:chExt cx="2304000" cy="1529012"/>
            </a:xfrm>
          </p:grpSpPr>
          <p:sp>
            <p:nvSpPr>
              <p:cNvPr id="118" name="Rectangle 80">
                <a:extLst>
                  <a:ext uri="{FF2B5EF4-FFF2-40B4-BE49-F238E27FC236}">
                    <a16:creationId xmlns:a16="http://schemas.microsoft.com/office/drawing/2014/main" id="{BCEA5465-4F4C-4BAE-BED3-B11A9D79DB92}"/>
                  </a:ext>
                </a:extLst>
              </p:cNvPr>
              <p:cNvSpPr>
                <a:spLocks noChangeArrowheads="1"/>
              </p:cNvSpPr>
              <p:nvPr/>
            </p:nvSpPr>
            <p:spPr bwMode="auto">
              <a:xfrm>
                <a:off x="4993014" y="1804009"/>
                <a:ext cx="2304000" cy="540000"/>
              </a:xfrm>
              <a:prstGeom prst="rect">
                <a:avLst/>
              </a:prstGeom>
              <a:solidFill>
                <a:srgbClr val="E4E7E7"/>
              </a:solidFill>
              <a:ln w="12700">
                <a:solidFill>
                  <a:schemeClr val="bg1"/>
                </a:solidFill>
                <a:miter lim="800000"/>
                <a:headEnd/>
                <a:tailEnd/>
              </a:ln>
              <a:effectLst/>
            </p:spPr>
            <p:txBody>
              <a:bodyPr lIns="684000" tIns="72000" rIns="108000" bIns="72000" anchor="ctr" anchorCtr="0"/>
              <a:lstStyle/>
              <a:p>
                <a:pPr marL="180970" indent="-180970" eaLnBrk="0" hangingPunct="0">
                  <a:spcBef>
                    <a:spcPct val="0"/>
                  </a:spcBef>
                  <a:buFontTx/>
                  <a:buChar char="•"/>
                </a:pPr>
                <a:r>
                  <a:rPr lang="pt-BR" sz="1051" noProof="1">
                    <a:latin typeface="Graphik" panose="020B0503030202060203" pitchFamily="34" charset="77"/>
                  </a:rPr>
                  <a:t>Comment</a:t>
                </a:r>
              </a:p>
              <a:p>
                <a:pPr marL="180970" indent="-180970" eaLnBrk="0" hangingPunct="0">
                  <a:spcBef>
                    <a:spcPct val="0"/>
                  </a:spcBef>
                  <a:buFontTx/>
                  <a:buChar char="•"/>
                </a:pPr>
                <a:r>
                  <a:rPr lang="pt-BR" sz="1051" noProof="1">
                    <a:latin typeface="Graphik" panose="020B0503030202060203" pitchFamily="34" charset="77"/>
                  </a:rPr>
                  <a:t>Comment</a:t>
                </a:r>
              </a:p>
            </p:txBody>
          </p:sp>
          <p:sp>
            <p:nvSpPr>
              <p:cNvPr id="119" name="Rectangle 81">
                <a:extLst>
                  <a:ext uri="{FF2B5EF4-FFF2-40B4-BE49-F238E27FC236}">
                    <a16:creationId xmlns:a16="http://schemas.microsoft.com/office/drawing/2014/main" id="{8D3A17AD-6628-493C-B760-B4D09791C0DD}"/>
                  </a:ext>
                </a:extLst>
              </p:cNvPr>
              <p:cNvSpPr>
                <a:spLocks noChangeArrowheads="1"/>
              </p:cNvSpPr>
              <p:nvPr/>
            </p:nvSpPr>
            <p:spPr bwMode="auto">
              <a:xfrm>
                <a:off x="4993014" y="2351581"/>
                <a:ext cx="2304000" cy="540000"/>
              </a:xfrm>
              <a:prstGeom prst="rect">
                <a:avLst/>
              </a:prstGeom>
              <a:solidFill>
                <a:srgbClr val="E4E7E7"/>
              </a:solidFill>
              <a:ln w="12700">
                <a:solidFill>
                  <a:schemeClr val="bg1"/>
                </a:solidFill>
                <a:miter lim="800000"/>
                <a:headEnd/>
                <a:tailEnd/>
              </a:ln>
              <a:effectLst/>
            </p:spPr>
            <p:txBody>
              <a:bodyPr lIns="684000" tIns="72000" rIns="108000" bIns="72000" anchor="ctr" anchorCtr="0"/>
              <a:lstStyle/>
              <a:p>
                <a:pPr marL="180970" indent="-180970" eaLnBrk="0" hangingPunct="0">
                  <a:spcBef>
                    <a:spcPct val="0"/>
                  </a:spcBef>
                  <a:buFontTx/>
                  <a:buChar char="•"/>
                </a:pPr>
                <a:r>
                  <a:rPr lang="pt-BR" sz="1051" noProof="1">
                    <a:latin typeface="Graphik" panose="020B0503030202060203" pitchFamily="34" charset="77"/>
                  </a:rPr>
                  <a:t>Comment</a:t>
                </a:r>
              </a:p>
              <a:p>
                <a:pPr marL="180970" indent="-180970" eaLnBrk="0" hangingPunct="0">
                  <a:spcBef>
                    <a:spcPct val="0"/>
                  </a:spcBef>
                  <a:buFontTx/>
                  <a:buChar char="•"/>
                </a:pPr>
                <a:r>
                  <a:rPr lang="pt-BR" sz="1051" noProof="1">
                    <a:latin typeface="Graphik" panose="020B0503030202060203" pitchFamily="34" charset="77"/>
                  </a:rPr>
                  <a:t>Comment</a:t>
                </a:r>
              </a:p>
            </p:txBody>
          </p:sp>
          <p:sp>
            <p:nvSpPr>
              <p:cNvPr id="120" name="Rectangle 90">
                <a:extLst>
                  <a:ext uri="{FF2B5EF4-FFF2-40B4-BE49-F238E27FC236}">
                    <a16:creationId xmlns:a16="http://schemas.microsoft.com/office/drawing/2014/main" id="{EAF100D6-1017-4FF4-A7D6-A3C373B8E8BE}"/>
                  </a:ext>
                </a:extLst>
              </p:cNvPr>
              <p:cNvSpPr>
                <a:spLocks noChangeArrowheads="1"/>
              </p:cNvSpPr>
              <p:nvPr/>
            </p:nvSpPr>
            <p:spPr bwMode="auto">
              <a:xfrm>
                <a:off x="4993014" y="1362569"/>
                <a:ext cx="2304000" cy="441441"/>
              </a:xfrm>
              <a:prstGeom prst="rect">
                <a:avLst/>
              </a:prstGeom>
              <a:solidFill>
                <a:schemeClr val="accent2">
                  <a:lumMod val="60000"/>
                  <a:lumOff val="40000"/>
                </a:schemeClr>
              </a:solidFill>
              <a:ln w="1270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pt-BR" sz="1200" noProof="1">
                    <a:solidFill>
                      <a:srgbClr val="000000"/>
                    </a:solidFill>
                    <a:latin typeface="Graphik" panose="020B0503030202060203" pitchFamily="34" charset="77"/>
                  </a:rPr>
                  <a:t>Criterion 2</a:t>
                </a:r>
              </a:p>
            </p:txBody>
          </p:sp>
          <p:sp>
            <p:nvSpPr>
              <p:cNvPr id="162" name="Oval 98">
                <a:extLst>
                  <a:ext uri="{FF2B5EF4-FFF2-40B4-BE49-F238E27FC236}">
                    <a16:creationId xmlns:a16="http://schemas.microsoft.com/office/drawing/2014/main" id="{792FA480-A7FA-4534-9EB7-6906ECB34251}"/>
                  </a:ext>
                </a:extLst>
              </p:cNvPr>
              <p:cNvSpPr>
                <a:spLocks noChangeArrowheads="1"/>
              </p:cNvSpPr>
              <p:nvPr/>
            </p:nvSpPr>
            <p:spPr bwMode="auto">
              <a:xfrm>
                <a:off x="5219342" y="1949854"/>
                <a:ext cx="251376" cy="247129"/>
              </a:xfrm>
              <a:prstGeom prst="ellipse">
                <a:avLst/>
              </a:prstGeom>
              <a:solidFill>
                <a:srgbClr val="FFFFFF"/>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163" name="Arc 99">
                <a:extLst>
                  <a:ext uri="{FF2B5EF4-FFF2-40B4-BE49-F238E27FC236}">
                    <a16:creationId xmlns:a16="http://schemas.microsoft.com/office/drawing/2014/main" id="{295F762C-3FEE-4BE5-8F9D-8ED457AE58AB}"/>
                  </a:ext>
                </a:extLst>
              </p:cNvPr>
              <p:cNvSpPr>
                <a:spLocks/>
              </p:cNvSpPr>
              <p:nvPr/>
            </p:nvSpPr>
            <p:spPr bwMode="auto">
              <a:xfrm>
                <a:off x="5220545" y="1949854"/>
                <a:ext cx="250173" cy="248311"/>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177" name="Oval 113">
                <a:extLst>
                  <a:ext uri="{FF2B5EF4-FFF2-40B4-BE49-F238E27FC236}">
                    <a16:creationId xmlns:a16="http://schemas.microsoft.com/office/drawing/2014/main" id="{B55F534A-C3CF-4C1A-AA4A-EEAFA7691DDA}"/>
                  </a:ext>
                </a:extLst>
              </p:cNvPr>
              <p:cNvSpPr>
                <a:spLocks noChangeArrowheads="1"/>
              </p:cNvSpPr>
              <p:nvPr/>
            </p:nvSpPr>
            <p:spPr bwMode="auto">
              <a:xfrm>
                <a:off x="5219342" y="2497426"/>
                <a:ext cx="251376" cy="248311"/>
              </a:xfrm>
              <a:prstGeom prst="ellipse">
                <a:avLst/>
              </a:prstGeom>
              <a:solidFill>
                <a:srgbClr val="FFFFFF"/>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178" name="Arc 114">
                <a:extLst>
                  <a:ext uri="{FF2B5EF4-FFF2-40B4-BE49-F238E27FC236}">
                    <a16:creationId xmlns:a16="http://schemas.microsoft.com/office/drawing/2014/main" id="{C50FE775-C47C-464B-A63C-A70220FAE967}"/>
                  </a:ext>
                </a:extLst>
              </p:cNvPr>
              <p:cNvSpPr>
                <a:spLocks/>
              </p:cNvSpPr>
              <p:nvPr/>
            </p:nvSpPr>
            <p:spPr bwMode="auto">
              <a:xfrm>
                <a:off x="5345631" y="2497426"/>
                <a:ext cx="125087" cy="12475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grpSp>
        <p:grpSp>
          <p:nvGrpSpPr>
            <p:cNvPr id="19" name="Group 18" descr="Criterion 3">
              <a:extLst>
                <a:ext uri="{FF2B5EF4-FFF2-40B4-BE49-F238E27FC236}">
                  <a16:creationId xmlns:a16="http://schemas.microsoft.com/office/drawing/2014/main" id="{55486715-6839-40FF-A411-4309E5578AA5}"/>
                </a:ext>
              </a:extLst>
            </p:cNvPr>
            <p:cNvGrpSpPr/>
            <p:nvPr/>
          </p:nvGrpSpPr>
          <p:grpSpPr>
            <a:xfrm>
              <a:off x="7294638" y="987112"/>
              <a:ext cx="2214103" cy="1637000"/>
              <a:chOff x="7294638" y="1362569"/>
              <a:chExt cx="2304000" cy="1529012"/>
            </a:xfrm>
          </p:grpSpPr>
          <p:sp>
            <p:nvSpPr>
              <p:cNvPr id="112" name="Rectangle 82">
                <a:extLst>
                  <a:ext uri="{FF2B5EF4-FFF2-40B4-BE49-F238E27FC236}">
                    <a16:creationId xmlns:a16="http://schemas.microsoft.com/office/drawing/2014/main" id="{A1E2320C-D657-41B2-A3A5-0D8F2ED21345}"/>
                  </a:ext>
                </a:extLst>
              </p:cNvPr>
              <p:cNvSpPr>
                <a:spLocks noChangeArrowheads="1"/>
              </p:cNvSpPr>
              <p:nvPr/>
            </p:nvSpPr>
            <p:spPr bwMode="auto">
              <a:xfrm>
                <a:off x="7294638" y="1804009"/>
                <a:ext cx="2304000" cy="540000"/>
              </a:xfrm>
              <a:prstGeom prst="rect">
                <a:avLst/>
              </a:prstGeom>
              <a:solidFill>
                <a:srgbClr val="E4E7E7"/>
              </a:solidFill>
              <a:ln w="12700">
                <a:solidFill>
                  <a:schemeClr val="bg1"/>
                </a:solidFill>
                <a:miter lim="800000"/>
                <a:headEnd/>
                <a:tailEnd/>
              </a:ln>
              <a:effectLst/>
            </p:spPr>
            <p:txBody>
              <a:bodyPr lIns="684000" tIns="72000" rIns="108000" bIns="72000" anchor="ctr" anchorCtr="0"/>
              <a:lstStyle/>
              <a:p>
                <a:pPr marL="180970" indent="-180970" eaLnBrk="0" hangingPunct="0">
                  <a:spcBef>
                    <a:spcPct val="0"/>
                  </a:spcBef>
                  <a:buFontTx/>
                  <a:buChar char="•"/>
                </a:pPr>
                <a:r>
                  <a:rPr lang="pt-BR" sz="1051" noProof="1">
                    <a:latin typeface="Graphik" panose="020B0503030202060203" pitchFamily="34" charset="77"/>
                  </a:rPr>
                  <a:t>Comment</a:t>
                </a:r>
              </a:p>
              <a:p>
                <a:pPr marL="180970" indent="-180970" eaLnBrk="0" hangingPunct="0">
                  <a:spcBef>
                    <a:spcPct val="0"/>
                  </a:spcBef>
                  <a:buFontTx/>
                  <a:buChar char="•"/>
                </a:pPr>
                <a:r>
                  <a:rPr lang="pt-BR" sz="1051" noProof="1">
                    <a:latin typeface="Graphik" panose="020B0503030202060203" pitchFamily="34" charset="77"/>
                  </a:rPr>
                  <a:t>Comment</a:t>
                </a:r>
              </a:p>
            </p:txBody>
          </p:sp>
          <p:sp>
            <p:nvSpPr>
              <p:cNvPr id="113" name="Rectangle 83">
                <a:extLst>
                  <a:ext uri="{FF2B5EF4-FFF2-40B4-BE49-F238E27FC236}">
                    <a16:creationId xmlns:a16="http://schemas.microsoft.com/office/drawing/2014/main" id="{37527245-06E5-48E6-BFE5-BBBC09DC5394}"/>
                  </a:ext>
                </a:extLst>
              </p:cNvPr>
              <p:cNvSpPr>
                <a:spLocks noChangeArrowheads="1"/>
              </p:cNvSpPr>
              <p:nvPr/>
            </p:nvSpPr>
            <p:spPr bwMode="auto">
              <a:xfrm>
                <a:off x="7294638" y="2351581"/>
                <a:ext cx="2304000" cy="540000"/>
              </a:xfrm>
              <a:prstGeom prst="rect">
                <a:avLst/>
              </a:prstGeom>
              <a:solidFill>
                <a:srgbClr val="E4E7E7"/>
              </a:solidFill>
              <a:ln w="12700">
                <a:solidFill>
                  <a:schemeClr val="bg1"/>
                </a:solidFill>
                <a:miter lim="800000"/>
                <a:headEnd/>
                <a:tailEnd/>
              </a:ln>
              <a:effectLst/>
            </p:spPr>
            <p:txBody>
              <a:bodyPr lIns="684000" tIns="72000" rIns="108000" bIns="72000" anchor="ctr" anchorCtr="0"/>
              <a:lstStyle/>
              <a:p>
                <a:pPr marL="180970" indent="-180970" eaLnBrk="0" hangingPunct="0">
                  <a:spcBef>
                    <a:spcPct val="0"/>
                  </a:spcBef>
                  <a:buFontTx/>
                  <a:buChar char="•"/>
                </a:pPr>
                <a:r>
                  <a:rPr lang="pt-BR" sz="1051" noProof="1">
                    <a:latin typeface="Graphik" panose="020B0503030202060203" pitchFamily="34" charset="77"/>
                  </a:rPr>
                  <a:t>Comment</a:t>
                </a:r>
              </a:p>
              <a:p>
                <a:pPr marL="180970" indent="-180970" eaLnBrk="0" hangingPunct="0">
                  <a:spcBef>
                    <a:spcPct val="0"/>
                  </a:spcBef>
                  <a:buFontTx/>
                  <a:buChar char="•"/>
                </a:pPr>
                <a:r>
                  <a:rPr lang="pt-BR" sz="1051" noProof="1">
                    <a:latin typeface="Graphik" panose="020B0503030202060203" pitchFamily="34" charset="77"/>
                  </a:rPr>
                  <a:t>Comment</a:t>
                </a:r>
              </a:p>
            </p:txBody>
          </p:sp>
          <p:sp>
            <p:nvSpPr>
              <p:cNvPr id="114" name="Rectangle 89">
                <a:extLst>
                  <a:ext uri="{FF2B5EF4-FFF2-40B4-BE49-F238E27FC236}">
                    <a16:creationId xmlns:a16="http://schemas.microsoft.com/office/drawing/2014/main" id="{12C07D3A-8B63-470F-82E0-C5B1C156E005}"/>
                  </a:ext>
                </a:extLst>
              </p:cNvPr>
              <p:cNvSpPr>
                <a:spLocks noChangeArrowheads="1"/>
              </p:cNvSpPr>
              <p:nvPr/>
            </p:nvSpPr>
            <p:spPr bwMode="auto">
              <a:xfrm>
                <a:off x="7294638" y="1362569"/>
                <a:ext cx="2304000" cy="441441"/>
              </a:xfrm>
              <a:prstGeom prst="rect">
                <a:avLst/>
              </a:prstGeom>
              <a:solidFill>
                <a:schemeClr val="accent2">
                  <a:lumMod val="40000"/>
                  <a:lumOff val="60000"/>
                </a:schemeClr>
              </a:solidFill>
              <a:ln w="1270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pt-BR" sz="1200" noProof="1">
                    <a:latin typeface="Graphik" panose="020B0503030202060203" pitchFamily="34" charset="77"/>
                  </a:rPr>
                  <a:t>Criterion 3</a:t>
                </a:r>
              </a:p>
            </p:txBody>
          </p:sp>
          <p:sp>
            <p:nvSpPr>
              <p:cNvPr id="171" name="Oval 107">
                <a:extLst>
                  <a:ext uri="{FF2B5EF4-FFF2-40B4-BE49-F238E27FC236}">
                    <a16:creationId xmlns:a16="http://schemas.microsoft.com/office/drawing/2014/main" id="{62520134-A1A0-486E-88B6-5D1D38FBC596}"/>
                  </a:ext>
                </a:extLst>
              </p:cNvPr>
              <p:cNvSpPr>
                <a:spLocks noChangeArrowheads="1"/>
              </p:cNvSpPr>
              <p:nvPr/>
            </p:nvSpPr>
            <p:spPr bwMode="auto">
              <a:xfrm>
                <a:off x="7520365" y="1949854"/>
                <a:ext cx="251376" cy="247129"/>
              </a:xfrm>
              <a:prstGeom prst="ellipse">
                <a:avLst/>
              </a:prstGeom>
              <a:solidFill>
                <a:srgbClr val="FFFFFF"/>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172" name="Arc 108">
                <a:extLst>
                  <a:ext uri="{FF2B5EF4-FFF2-40B4-BE49-F238E27FC236}">
                    <a16:creationId xmlns:a16="http://schemas.microsoft.com/office/drawing/2014/main" id="{5187016E-6E85-4EE3-82B4-9537660CFD68}"/>
                  </a:ext>
                </a:extLst>
              </p:cNvPr>
              <p:cNvSpPr>
                <a:spLocks/>
              </p:cNvSpPr>
              <p:nvPr/>
            </p:nvSpPr>
            <p:spPr bwMode="auto">
              <a:xfrm>
                <a:off x="7646654" y="1949854"/>
                <a:ext cx="125087" cy="248311"/>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174" name="Oval 110">
                <a:extLst>
                  <a:ext uri="{FF2B5EF4-FFF2-40B4-BE49-F238E27FC236}">
                    <a16:creationId xmlns:a16="http://schemas.microsoft.com/office/drawing/2014/main" id="{F2D281B7-AE68-4907-AEAC-CD0D4AF6DBAC}"/>
                  </a:ext>
                </a:extLst>
              </p:cNvPr>
              <p:cNvSpPr>
                <a:spLocks noChangeArrowheads="1"/>
              </p:cNvSpPr>
              <p:nvPr/>
            </p:nvSpPr>
            <p:spPr bwMode="auto">
              <a:xfrm>
                <a:off x="7520365" y="2497426"/>
                <a:ext cx="251376" cy="247129"/>
              </a:xfrm>
              <a:prstGeom prst="ellipse">
                <a:avLst/>
              </a:prstGeom>
              <a:solidFill>
                <a:srgbClr val="FFFFFF"/>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175" name="Arc 111">
                <a:extLst>
                  <a:ext uri="{FF2B5EF4-FFF2-40B4-BE49-F238E27FC236}">
                    <a16:creationId xmlns:a16="http://schemas.microsoft.com/office/drawing/2014/main" id="{BB848CA4-6D5A-4167-9355-AE85B3945008}"/>
                  </a:ext>
                </a:extLst>
              </p:cNvPr>
              <p:cNvSpPr>
                <a:spLocks/>
              </p:cNvSpPr>
              <p:nvPr/>
            </p:nvSpPr>
            <p:spPr bwMode="auto">
              <a:xfrm>
                <a:off x="7521568" y="2497426"/>
                <a:ext cx="250173" cy="248311"/>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path>
                  <a:path w="43200" h="43200" stroke="0" extrusionOk="0">
                    <a:moveTo>
                      <a:pt x="21599" y="0"/>
                    </a:moveTo>
                    <a:lnTo>
                      <a:pt x="21600" y="21600"/>
                    </a:lnTo>
                    <a:close/>
                  </a:path>
                </a:pathLst>
              </a:custGeom>
              <a:solidFill>
                <a:srgbClr val="000000"/>
              </a:solidFill>
              <a:ln w="12700">
                <a:solidFill>
                  <a:schemeClr val="folHlink"/>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grpSp>
        <p:grpSp>
          <p:nvGrpSpPr>
            <p:cNvPr id="20" name="Group 19" descr="Criterion 4">
              <a:extLst>
                <a:ext uri="{FF2B5EF4-FFF2-40B4-BE49-F238E27FC236}">
                  <a16:creationId xmlns:a16="http://schemas.microsoft.com/office/drawing/2014/main" id="{2C59F6AC-3905-4CA7-BF4E-6B4EE3BFE784}"/>
                </a:ext>
              </a:extLst>
            </p:cNvPr>
            <p:cNvGrpSpPr/>
            <p:nvPr/>
          </p:nvGrpSpPr>
          <p:grpSpPr>
            <a:xfrm>
              <a:off x="9596263" y="987112"/>
              <a:ext cx="2214103" cy="1637000"/>
              <a:chOff x="9596263" y="1362569"/>
              <a:chExt cx="2304000" cy="1529012"/>
            </a:xfrm>
          </p:grpSpPr>
          <p:sp>
            <p:nvSpPr>
              <p:cNvPr id="106" name="Rectangle 84">
                <a:extLst>
                  <a:ext uri="{FF2B5EF4-FFF2-40B4-BE49-F238E27FC236}">
                    <a16:creationId xmlns:a16="http://schemas.microsoft.com/office/drawing/2014/main" id="{939628A0-FC0B-432B-AA14-6AC77A81FEA2}"/>
                  </a:ext>
                </a:extLst>
              </p:cNvPr>
              <p:cNvSpPr>
                <a:spLocks noChangeArrowheads="1"/>
              </p:cNvSpPr>
              <p:nvPr/>
            </p:nvSpPr>
            <p:spPr bwMode="auto">
              <a:xfrm>
                <a:off x="9596263" y="1804009"/>
                <a:ext cx="2304000" cy="540000"/>
              </a:xfrm>
              <a:prstGeom prst="rect">
                <a:avLst/>
              </a:prstGeom>
              <a:solidFill>
                <a:srgbClr val="E4E7E7"/>
              </a:solidFill>
              <a:ln w="12700">
                <a:solidFill>
                  <a:schemeClr val="bg1"/>
                </a:solidFill>
                <a:miter lim="800000"/>
                <a:headEnd/>
                <a:tailEnd/>
              </a:ln>
              <a:effectLst/>
            </p:spPr>
            <p:txBody>
              <a:bodyPr lIns="684000" tIns="72000" rIns="108000" bIns="72000" anchor="ctr" anchorCtr="0"/>
              <a:lstStyle/>
              <a:p>
                <a:pPr marL="180970" indent="-180970" eaLnBrk="0" hangingPunct="0">
                  <a:spcBef>
                    <a:spcPct val="0"/>
                  </a:spcBef>
                  <a:buFontTx/>
                  <a:buChar char="•"/>
                </a:pPr>
                <a:r>
                  <a:rPr lang="pt-BR" sz="1051" noProof="1">
                    <a:latin typeface="Graphik" panose="020B0503030202060203" pitchFamily="34" charset="77"/>
                  </a:rPr>
                  <a:t>Comment</a:t>
                </a:r>
              </a:p>
              <a:p>
                <a:pPr marL="180970" indent="-180970" eaLnBrk="0" hangingPunct="0">
                  <a:spcBef>
                    <a:spcPct val="0"/>
                  </a:spcBef>
                  <a:buFontTx/>
                  <a:buChar char="•"/>
                </a:pPr>
                <a:r>
                  <a:rPr lang="pt-BR" sz="1051" noProof="1">
                    <a:latin typeface="Graphik" panose="020B0503030202060203" pitchFamily="34" charset="77"/>
                  </a:rPr>
                  <a:t>Comment</a:t>
                </a:r>
              </a:p>
            </p:txBody>
          </p:sp>
          <p:sp>
            <p:nvSpPr>
              <p:cNvPr id="107" name="Rectangle 85">
                <a:extLst>
                  <a:ext uri="{FF2B5EF4-FFF2-40B4-BE49-F238E27FC236}">
                    <a16:creationId xmlns:a16="http://schemas.microsoft.com/office/drawing/2014/main" id="{B11CF8EA-EC22-4361-8D8C-0DFF6780B18C}"/>
                  </a:ext>
                </a:extLst>
              </p:cNvPr>
              <p:cNvSpPr>
                <a:spLocks noChangeArrowheads="1"/>
              </p:cNvSpPr>
              <p:nvPr/>
            </p:nvSpPr>
            <p:spPr bwMode="auto">
              <a:xfrm>
                <a:off x="9596263" y="2351581"/>
                <a:ext cx="2304000" cy="540000"/>
              </a:xfrm>
              <a:prstGeom prst="rect">
                <a:avLst/>
              </a:prstGeom>
              <a:solidFill>
                <a:srgbClr val="E4E7E7"/>
              </a:solidFill>
              <a:ln w="12700">
                <a:solidFill>
                  <a:schemeClr val="bg1"/>
                </a:solidFill>
                <a:miter lim="800000"/>
                <a:headEnd/>
                <a:tailEnd/>
              </a:ln>
              <a:effectLst/>
            </p:spPr>
            <p:txBody>
              <a:bodyPr lIns="684000" tIns="72000" rIns="108000" bIns="72000" anchor="ctr" anchorCtr="0"/>
              <a:lstStyle/>
              <a:p>
                <a:pPr marL="180970" indent="-180970" eaLnBrk="0" hangingPunct="0">
                  <a:spcBef>
                    <a:spcPct val="0"/>
                  </a:spcBef>
                  <a:buFontTx/>
                  <a:buChar char="•"/>
                </a:pPr>
                <a:r>
                  <a:rPr lang="pt-BR" sz="1051" noProof="1">
                    <a:latin typeface="Graphik" panose="020B0503030202060203" pitchFamily="34" charset="77"/>
                  </a:rPr>
                  <a:t>Comment</a:t>
                </a:r>
              </a:p>
              <a:p>
                <a:pPr marL="180970" indent="-180970" eaLnBrk="0" hangingPunct="0">
                  <a:spcBef>
                    <a:spcPct val="0"/>
                  </a:spcBef>
                  <a:buFontTx/>
                  <a:buChar char="•"/>
                </a:pPr>
                <a:r>
                  <a:rPr lang="pt-BR" sz="1051" noProof="1">
                    <a:latin typeface="Graphik" panose="020B0503030202060203" pitchFamily="34" charset="77"/>
                  </a:rPr>
                  <a:t>Comment</a:t>
                </a:r>
              </a:p>
            </p:txBody>
          </p:sp>
          <p:sp>
            <p:nvSpPr>
              <p:cNvPr id="108" name="Rectangle 88">
                <a:extLst>
                  <a:ext uri="{FF2B5EF4-FFF2-40B4-BE49-F238E27FC236}">
                    <a16:creationId xmlns:a16="http://schemas.microsoft.com/office/drawing/2014/main" id="{29C59A0F-3D58-409C-82E9-A5218A8A6294}"/>
                  </a:ext>
                </a:extLst>
              </p:cNvPr>
              <p:cNvSpPr>
                <a:spLocks noChangeArrowheads="1"/>
              </p:cNvSpPr>
              <p:nvPr/>
            </p:nvSpPr>
            <p:spPr bwMode="auto">
              <a:xfrm>
                <a:off x="9596263" y="1362569"/>
                <a:ext cx="2304000" cy="441441"/>
              </a:xfrm>
              <a:prstGeom prst="rect">
                <a:avLst/>
              </a:prstGeom>
              <a:solidFill>
                <a:schemeClr val="accent2">
                  <a:lumMod val="20000"/>
                  <a:lumOff val="80000"/>
                </a:schemeClr>
              </a:solidFill>
              <a:ln w="1270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pt-BR" sz="1200" noProof="1">
                    <a:latin typeface="Graphik" panose="020B0503030202060203" pitchFamily="34" charset="77"/>
                  </a:rPr>
                  <a:t>Criterion 4</a:t>
                </a:r>
              </a:p>
            </p:txBody>
          </p:sp>
          <p:sp>
            <p:nvSpPr>
              <p:cNvPr id="165" name="Oval 101">
                <a:extLst>
                  <a:ext uri="{FF2B5EF4-FFF2-40B4-BE49-F238E27FC236}">
                    <a16:creationId xmlns:a16="http://schemas.microsoft.com/office/drawing/2014/main" id="{623E338B-8668-4695-9C3B-16F39441DBE2}"/>
                  </a:ext>
                </a:extLst>
              </p:cNvPr>
              <p:cNvSpPr>
                <a:spLocks noChangeArrowheads="1"/>
              </p:cNvSpPr>
              <p:nvPr/>
            </p:nvSpPr>
            <p:spPr bwMode="auto">
              <a:xfrm>
                <a:off x="9838554" y="1949854"/>
                <a:ext cx="251376" cy="247129"/>
              </a:xfrm>
              <a:prstGeom prst="ellipse">
                <a:avLst/>
              </a:prstGeom>
              <a:solidFill>
                <a:srgbClr val="FFFFFF"/>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166" name="Arc 102">
                <a:extLst>
                  <a:ext uri="{FF2B5EF4-FFF2-40B4-BE49-F238E27FC236}">
                    <a16:creationId xmlns:a16="http://schemas.microsoft.com/office/drawing/2014/main" id="{028BD4BF-989D-4836-A65C-AFBFF74DC2A5}"/>
                  </a:ext>
                </a:extLst>
              </p:cNvPr>
              <p:cNvSpPr>
                <a:spLocks/>
              </p:cNvSpPr>
              <p:nvPr/>
            </p:nvSpPr>
            <p:spPr bwMode="auto">
              <a:xfrm>
                <a:off x="9839757" y="1949854"/>
                <a:ext cx="250173" cy="248311"/>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180" name="Oval 116">
                <a:extLst>
                  <a:ext uri="{FF2B5EF4-FFF2-40B4-BE49-F238E27FC236}">
                    <a16:creationId xmlns:a16="http://schemas.microsoft.com/office/drawing/2014/main" id="{74C8503F-A2A6-4511-8346-2F0B155F98B9}"/>
                  </a:ext>
                </a:extLst>
              </p:cNvPr>
              <p:cNvSpPr>
                <a:spLocks noChangeArrowheads="1"/>
              </p:cNvSpPr>
              <p:nvPr/>
            </p:nvSpPr>
            <p:spPr bwMode="auto">
              <a:xfrm>
                <a:off x="9838554" y="2497426"/>
                <a:ext cx="251376" cy="248311"/>
              </a:xfrm>
              <a:prstGeom prst="ellipse">
                <a:avLst/>
              </a:prstGeom>
              <a:solidFill>
                <a:srgbClr val="FFFFFF"/>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181" name="Arc 117">
                <a:extLst>
                  <a:ext uri="{FF2B5EF4-FFF2-40B4-BE49-F238E27FC236}">
                    <a16:creationId xmlns:a16="http://schemas.microsoft.com/office/drawing/2014/main" id="{619F371B-B068-487C-8B1C-CE10CE8DE71D}"/>
                  </a:ext>
                </a:extLst>
              </p:cNvPr>
              <p:cNvSpPr>
                <a:spLocks/>
              </p:cNvSpPr>
              <p:nvPr/>
            </p:nvSpPr>
            <p:spPr bwMode="auto">
              <a:xfrm>
                <a:off x="9964843" y="2497426"/>
                <a:ext cx="125087" cy="12475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grpSp>
        <p:grpSp>
          <p:nvGrpSpPr>
            <p:cNvPr id="21" name="Group 20" descr="Criteria">
              <a:extLst>
                <a:ext uri="{FF2B5EF4-FFF2-40B4-BE49-F238E27FC236}">
                  <a16:creationId xmlns:a16="http://schemas.microsoft.com/office/drawing/2014/main" id="{9D124D1C-DDC9-4DCF-A102-3003D8911C2E}"/>
                </a:ext>
              </a:extLst>
            </p:cNvPr>
            <p:cNvGrpSpPr/>
            <p:nvPr/>
          </p:nvGrpSpPr>
          <p:grpSpPr>
            <a:xfrm>
              <a:off x="381000" y="2849813"/>
              <a:ext cx="2214737" cy="1656019"/>
              <a:chOff x="389766" y="3164114"/>
              <a:chExt cx="2304000" cy="1529012"/>
            </a:xfrm>
          </p:grpSpPr>
          <p:sp>
            <p:nvSpPr>
              <p:cNvPr id="133" name="Rectangle 129">
                <a:extLst>
                  <a:ext uri="{FF2B5EF4-FFF2-40B4-BE49-F238E27FC236}">
                    <a16:creationId xmlns:a16="http://schemas.microsoft.com/office/drawing/2014/main" id="{67D502E3-0509-4724-8124-919975965091}"/>
                  </a:ext>
                </a:extLst>
              </p:cNvPr>
              <p:cNvSpPr>
                <a:spLocks noChangeArrowheads="1"/>
              </p:cNvSpPr>
              <p:nvPr/>
            </p:nvSpPr>
            <p:spPr bwMode="auto">
              <a:xfrm>
                <a:off x="389766" y="3605554"/>
                <a:ext cx="2304000" cy="540000"/>
              </a:xfrm>
              <a:prstGeom prst="rect">
                <a:avLst/>
              </a:prstGeom>
              <a:solidFill>
                <a:srgbClr val="E4E7E7"/>
              </a:solidFill>
              <a:ln w="6350">
                <a:solidFill>
                  <a:schemeClr val="bg1"/>
                </a:solidFill>
                <a:miter lim="800000"/>
                <a:headEnd/>
                <a:tailEnd/>
              </a:ln>
              <a:effectLst/>
            </p:spPr>
            <p:txBody>
              <a:bodyPr lIns="144000" tIns="72000" rIns="108000" bIns="72000" anchor="ctr"/>
              <a:lstStyle/>
              <a:p>
                <a:pPr algn="l" eaLnBrk="0" hangingPunct="0">
                  <a:spcBef>
                    <a:spcPct val="0"/>
                  </a:spcBef>
                </a:pPr>
                <a:r>
                  <a:rPr lang="pt-BR" sz="1200" noProof="1">
                    <a:latin typeface="Graphik" panose="020B0503030202060203" pitchFamily="34" charset="77"/>
                  </a:rPr>
                  <a:t>Criterion 1</a:t>
                </a:r>
              </a:p>
            </p:txBody>
          </p:sp>
          <p:sp>
            <p:nvSpPr>
              <p:cNvPr id="134" name="Rectangle 134">
                <a:extLst>
                  <a:ext uri="{FF2B5EF4-FFF2-40B4-BE49-F238E27FC236}">
                    <a16:creationId xmlns:a16="http://schemas.microsoft.com/office/drawing/2014/main" id="{C5FCCFF8-B330-4A32-A2A1-C494038193B4}"/>
                  </a:ext>
                </a:extLst>
              </p:cNvPr>
              <p:cNvSpPr>
                <a:spLocks noChangeArrowheads="1"/>
              </p:cNvSpPr>
              <p:nvPr/>
            </p:nvSpPr>
            <p:spPr bwMode="auto">
              <a:xfrm>
                <a:off x="389766" y="3164114"/>
                <a:ext cx="2304000" cy="441441"/>
              </a:xfrm>
              <a:prstGeom prst="rect">
                <a:avLst/>
              </a:prstGeom>
              <a:solidFill>
                <a:schemeClr val="accent3"/>
              </a:solidFill>
              <a:ln w="635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pt-BR" sz="1200" noProof="1">
                    <a:solidFill>
                      <a:srgbClr val="000000"/>
                    </a:solidFill>
                    <a:latin typeface="Graphik" panose="020B0503030202060203" pitchFamily="34" charset="77"/>
                  </a:rPr>
                  <a:t>Criteria</a:t>
                </a:r>
              </a:p>
            </p:txBody>
          </p:sp>
          <p:sp>
            <p:nvSpPr>
              <p:cNvPr id="135" name="Rectangle 135">
                <a:extLst>
                  <a:ext uri="{FF2B5EF4-FFF2-40B4-BE49-F238E27FC236}">
                    <a16:creationId xmlns:a16="http://schemas.microsoft.com/office/drawing/2014/main" id="{FF35B9FB-7FA3-4A24-A1F9-0B91636ACDB5}"/>
                  </a:ext>
                </a:extLst>
              </p:cNvPr>
              <p:cNvSpPr>
                <a:spLocks noChangeArrowheads="1"/>
              </p:cNvSpPr>
              <p:nvPr/>
            </p:nvSpPr>
            <p:spPr bwMode="auto">
              <a:xfrm>
                <a:off x="389766" y="4153126"/>
                <a:ext cx="2304000" cy="540000"/>
              </a:xfrm>
              <a:prstGeom prst="rect">
                <a:avLst/>
              </a:prstGeom>
              <a:solidFill>
                <a:srgbClr val="E4E7E7"/>
              </a:solidFill>
              <a:ln w="6350">
                <a:solidFill>
                  <a:schemeClr val="bg1"/>
                </a:solidFill>
                <a:miter lim="800000"/>
                <a:headEnd/>
                <a:tailEnd/>
              </a:ln>
              <a:effectLst/>
            </p:spPr>
            <p:txBody>
              <a:bodyPr lIns="144000" tIns="72000" rIns="108000" bIns="72000" anchor="ctr"/>
              <a:lstStyle/>
              <a:p>
                <a:pPr algn="l" eaLnBrk="0" hangingPunct="0">
                  <a:spcBef>
                    <a:spcPct val="0"/>
                  </a:spcBef>
                </a:pPr>
                <a:r>
                  <a:rPr lang="pt-BR" sz="1200" noProof="1">
                    <a:latin typeface="Graphik" panose="020B0503030202060203" pitchFamily="34" charset="77"/>
                  </a:rPr>
                  <a:t>Criterion 2</a:t>
                </a:r>
              </a:p>
            </p:txBody>
          </p:sp>
        </p:grpSp>
        <p:grpSp>
          <p:nvGrpSpPr>
            <p:cNvPr id="22" name="Group 21" descr="Option 1">
              <a:extLst>
                <a:ext uri="{FF2B5EF4-FFF2-40B4-BE49-F238E27FC236}">
                  <a16:creationId xmlns:a16="http://schemas.microsoft.com/office/drawing/2014/main" id="{B7EC8A01-A50A-477F-9865-1A17DB846884}"/>
                </a:ext>
              </a:extLst>
            </p:cNvPr>
            <p:cNvGrpSpPr/>
            <p:nvPr/>
          </p:nvGrpSpPr>
          <p:grpSpPr>
            <a:xfrm>
              <a:off x="2682624" y="2849814"/>
              <a:ext cx="2214737" cy="1656019"/>
              <a:chOff x="2691390" y="3164114"/>
              <a:chExt cx="2304000" cy="1529012"/>
            </a:xfrm>
          </p:grpSpPr>
          <p:sp>
            <p:nvSpPr>
              <p:cNvPr id="127" name="Rectangle 121">
                <a:extLst>
                  <a:ext uri="{FF2B5EF4-FFF2-40B4-BE49-F238E27FC236}">
                    <a16:creationId xmlns:a16="http://schemas.microsoft.com/office/drawing/2014/main" id="{F0755349-9BC4-43BB-8084-67338EF9DAC8}"/>
                  </a:ext>
                </a:extLst>
              </p:cNvPr>
              <p:cNvSpPr>
                <a:spLocks noChangeArrowheads="1"/>
              </p:cNvSpPr>
              <p:nvPr/>
            </p:nvSpPr>
            <p:spPr bwMode="auto">
              <a:xfrm>
                <a:off x="2691390" y="4153126"/>
                <a:ext cx="2304000" cy="540000"/>
              </a:xfrm>
              <a:prstGeom prst="rect">
                <a:avLst/>
              </a:prstGeom>
              <a:solidFill>
                <a:srgbClr val="E4E7E7"/>
              </a:solidFill>
              <a:ln w="12700">
                <a:solidFill>
                  <a:schemeClr val="bg1"/>
                </a:solidFill>
                <a:miter lim="800000"/>
                <a:headEnd/>
                <a:tailEnd/>
              </a:ln>
              <a:effectLst/>
            </p:spPr>
            <p:txBody>
              <a:bodyPr lIns="684000" tIns="72000" rIns="108000" bIns="72000" anchor="ctr" anchorCtr="0"/>
              <a:lstStyle/>
              <a:p>
                <a:pPr marL="180970" indent="-180970" eaLnBrk="0" hangingPunct="0">
                  <a:spcBef>
                    <a:spcPct val="0"/>
                  </a:spcBef>
                  <a:buFontTx/>
                  <a:buChar char="•"/>
                </a:pPr>
                <a:r>
                  <a:rPr lang="pt-BR" sz="1051" noProof="1">
                    <a:latin typeface="Graphik" panose="020B0503030202060203" pitchFamily="34" charset="77"/>
                  </a:rPr>
                  <a:t>Comment</a:t>
                </a:r>
              </a:p>
              <a:p>
                <a:pPr marL="180970" indent="-180970" eaLnBrk="0" hangingPunct="0">
                  <a:spcBef>
                    <a:spcPct val="0"/>
                  </a:spcBef>
                  <a:buFontTx/>
                  <a:buChar char="•"/>
                </a:pPr>
                <a:r>
                  <a:rPr lang="pt-BR" sz="1051" noProof="1">
                    <a:latin typeface="Graphik" panose="020B0503030202060203" pitchFamily="34" charset="77"/>
                  </a:rPr>
                  <a:t>Comment</a:t>
                </a:r>
              </a:p>
            </p:txBody>
          </p:sp>
          <p:sp>
            <p:nvSpPr>
              <p:cNvPr id="128" name="Rectangle 128">
                <a:extLst>
                  <a:ext uri="{FF2B5EF4-FFF2-40B4-BE49-F238E27FC236}">
                    <a16:creationId xmlns:a16="http://schemas.microsoft.com/office/drawing/2014/main" id="{A5FC1693-47F7-4F74-9C28-E6EF340A173E}"/>
                  </a:ext>
                </a:extLst>
              </p:cNvPr>
              <p:cNvSpPr>
                <a:spLocks noChangeArrowheads="1"/>
              </p:cNvSpPr>
              <p:nvPr/>
            </p:nvSpPr>
            <p:spPr bwMode="auto">
              <a:xfrm>
                <a:off x="2691390" y="3605554"/>
                <a:ext cx="2304000" cy="540000"/>
              </a:xfrm>
              <a:prstGeom prst="rect">
                <a:avLst/>
              </a:prstGeom>
              <a:solidFill>
                <a:srgbClr val="E4E7E7"/>
              </a:solidFill>
              <a:ln w="12700">
                <a:solidFill>
                  <a:schemeClr val="bg1"/>
                </a:solidFill>
                <a:miter lim="800000"/>
                <a:headEnd/>
                <a:tailEnd/>
              </a:ln>
              <a:effectLst/>
            </p:spPr>
            <p:txBody>
              <a:bodyPr lIns="684000" tIns="72000" rIns="108000" bIns="72000" anchor="ctr" anchorCtr="0"/>
              <a:lstStyle/>
              <a:p>
                <a:pPr marL="180970" indent="-180970" eaLnBrk="0" hangingPunct="0">
                  <a:spcBef>
                    <a:spcPct val="0"/>
                  </a:spcBef>
                  <a:buFontTx/>
                  <a:buChar char="•"/>
                </a:pPr>
                <a:r>
                  <a:rPr lang="pt-BR" sz="1051" noProof="1">
                    <a:latin typeface="Graphik" panose="020B0503030202060203" pitchFamily="34" charset="77"/>
                  </a:rPr>
                  <a:t>Comment</a:t>
                </a:r>
              </a:p>
              <a:p>
                <a:pPr marL="180970" indent="-180970" eaLnBrk="0" hangingPunct="0">
                  <a:spcBef>
                    <a:spcPct val="0"/>
                  </a:spcBef>
                  <a:buFontTx/>
                  <a:buChar char="•"/>
                </a:pPr>
                <a:r>
                  <a:rPr lang="pt-BR" sz="1051" noProof="1">
                    <a:latin typeface="Graphik" panose="020B0503030202060203" pitchFamily="34" charset="77"/>
                  </a:rPr>
                  <a:t>Comment</a:t>
                </a:r>
              </a:p>
            </p:txBody>
          </p:sp>
          <p:sp>
            <p:nvSpPr>
              <p:cNvPr id="129" name="Rectangle 133">
                <a:extLst>
                  <a:ext uri="{FF2B5EF4-FFF2-40B4-BE49-F238E27FC236}">
                    <a16:creationId xmlns:a16="http://schemas.microsoft.com/office/drawing/2014/main" id="{F226D147-6C0D-4E0C-987B-93A920407596}"/>
                  </a:ext>
                </a:extLst>
              </p:cNvPr>
              <p:cNvSpPr>
                <a:spLocks noChangeArrowheads="1"/>
              </p:cNvSpPr>
              <p:nvPr/>
            </p:nvSpPr>
            <p:spPr bwMode="auto">
              <a:xfrm>
                <a:off x="2691390" y="3164114"/>
                <a:ext cx="2304000" cy="441441"/>
              </a:xfrm>
              <a:prstGeom prst="rect">
                <a:avLst/>
              </a:prstGeom>
              <a:solidFill>
                <a:schemeClr val="accent1"/>
              </a:solidFill>
              <a:ln w="1270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pt-BR" sz="1200" noProof="1">
                    <a:solidFill>
                      <a:schemeClr val="bg1"/>
                    </a:solidFill>
                    <a:latin typeface="Graphik" panose="020B0503030202060203" pitchFamily="34" charset="77"/>
                  </a:rPr>
                  <a:t>Option 1</a:t>
                </a:r>
              </a:p>
            </p:txBody>
          </p:sp>
          <p:sp>
            <p:nvSpPr>
              <p:cNvPr id="183" name="Oval 137">
                <a:extLst>
                  <a:ext uri="{FF2B5EF4-FFF2-40B4-BE49-F238E27FC236}">
                    <a16:creationId xmlns:a16="http://schemas.microsoft.com/office/drawing/2014/main" id="{702318F9-982F-440C-A616-9EEE329950A7}"/>
                  </a:ext>
                </a:extLst>
              </p:cNvPr>
              <p:cNvSpPr>
                <a:spLocks noChangeArrowheads="1"/>
              </p:cNvSpPr>
              <p:nvPr/>
            </p:nvSpPr>
            <p:spPr bwMode="auto">
              <a:xfrm>
                <a:off x="2960986" y="4284880"/>
                <a:ext cx="252909" cy="247129"/>
              </a:xfrm>
              <a:prstGeom prst="ellipse">
                <a:avLst/>
              </a:prstGeom>
              <a:solidFill>
                <a:srgbClr val="FFFFFF"/>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184" name="Arc 138">
                <a:extLst>
                  <a:ext uri="{FF2B5EF4-FFF2-40B4-BE49-F238E27FC236}">
                    <a16:creationId xmlns:a16="http://schemas.microsoft.com/office/drawing/2014/main" id="{DD3A2E4A-BE15-4619-8FB7-A6D2B3CD7DB9}"/>
                  </a:ext>
                </a:extLst>
              </p:cNvPr>
              <p:cNvSpPr>
                <a:spLocks/>
              </p:cNvSpPr>
              <p:nvPr/>
            </p:nvSpPr>
            <p:spPr bwMode="auto">
              <a:xfrm>
                <a:off x="2962196" y="4284880"/>
                <a:ext cx="251699" cy="248311"/>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192" name="Oval 146">
                <a:extLst>
                  <a:ext uri="{FF2B5EF4-FFF2-40B4-BE49-F238E27FC236}">
                    <a16:creationId xmlns:a16="http://schemas.microsoft.com/office/drawing/2014/main" id="{D4C909C8-6A97-4D1E-B1F1-D4DF8437E6D8}"/>
                  </a:ext>
                </a:extLst>
              </p:cNvPr>
              <p:cNvSpPr>
                <a:spLocks noChangeArrowheads="1"/>
              </p:cNvSpPr>
              <p:nvPr/>
            </p:nvSpPr>
            <p:spPr bwMode="auto">
              <a:xfrm>
                <a:off x="2960986" y="3744961"/>
                <a:ext cx="252909" cy="247129"/>
              </a:xfrm>
              <a:prstGeom prst="ellipse">
                <a:avLst/>
              </a:prstGeom>
              <a:solidFill>
                <a:srgbClr val="FFFFFF"/>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193" name="Arc 147">
                <a:extLst>
                  <a:ext uri="{FF2B5EF4-FFF2-40B4-BE49-F238E27FC236}">
                    <a16:creationId xmlns:a16="http://schemas.microsoft.com/office/drawing/2014/main" id="{C84FBE4C-C5E7-43F0-BC01-22ED5184AA2F}"/>
                  </a:ext>
                </a:extLst>
              </p:cNvPr>
              <p:cNvSpPr>
                <a:spLocks/>
              </p:cNvSpPr>
              <p:nvPr/>
            </p:nvSpPr>
            <p:spPr bwMode="auto">
              <a:xfrm>
                <a:off x="3088046" y="3744961"/>
                <a:ext cx="125849" cy="248311"/>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grpSp>
        <p:grpSp>
          <p:nvGrpSpPr>
            <p:cNvPr id="23" name="Group 22" descr="Option 2">
              <a:extLst>
                <a:ext uri="{FF2B5EF4-FFF2-40B4-BE49-F238E27FC236}">
                  <a16:creationId xmlns:a16="http://schemas.microsoft.com/office/drawing/2014/main" id="{C5603B72-ACBE-4791-85EA-F0A55540E984}"/>
                </a:ext>
              </a:extLst>
            </p:cNvPr>
            <p:cNvGrpSpPr/>
            <p:nvPr/>
          </p:nvGrpSpPr>
          <p:grpSpPr>
            <a:xfrm>
              <a:off x="4984248" y="2849814"/>
              <a:ext cx="2214737" cy="1656019"/>
              <a:chOff x="4993014" y="3164114"/>
              <a:chExt cx="2304000" cy="1529012"/>
            </a:xfrm>
          </p:grpSpPr>
          <p:sp>
            <p:nvSpPr>
              <p:cNvPr id="121" name="Rectangle 122">
                <a:extLst>
                  <a:ext uri="{FF2B5EF4-FFF2-40B4-BE49-F238E27FC236}">
                    <a16:creationId xmlns:a16="http://schemas.microsoft.com/office/drawing/2014/main" id="{96A2F4A6-D918-4DB2-9091-F92B30B46D65}"/>
                  </a:ext>
                </a:extLst>
              </p:cNvPr>
              <p:cNvSpPr>
                <a:spLocks noChangeArrowheads="1"/>
              </p:cNvSpPr>
              <p:nvPr/>
            </p:nvSpPr>
            <p:spPr bwMode="auto">
              <a:xfrm>
                <a:off x="4993014" y="3605554"/>
                <a:ext cx="2304000" cy="540000"/>
              </a:xfrm>
              <a:prstGeom prst="rect">
                <a:avLst/>
              </a:prstGeom>
              <a:solidFill>
                <a:srgbClr val="E4E7E7"/>
              </a:solidFill>
              <a:ln w="12700">
                <a:solidFill>
                  <a:schemeClr val="bg1"/>
                </a:solidFill>
                <a:miter lim="800000"/>
                <a:headEnd/>
                <a:tailEnd/>
              </a:ln>
              <a:effectLst/>
            </p:spPr>
            <p:txBody>
              <a:bodyPr lIns="684000" tIns="72000" rIns="108000" bIns="72000" anchor="ctr" anchorCtr="0"/>
              <a:lstStyle/>
              <a:p>
                <a:pPr marL="180970" indent="-180970" eaLnBrk="0" hangingPunct="0">
                  <a:spcBef>
                    <a:spcPct val="0"/>
                  </a:spcBef>
                  <a:buFontTx/>
                  <a:buChar char="•"/>
                </a:pPr>
                <a:r>
                  <a:rPr lang="pt-BR" sz="1051" noProof="1">
                    <a:latin typeface="Graphik" panose="020B0503030202060203" pitchFamily="34" charset="77"/>
                  </a:rPr>
                  <a:t>Comment</a:t>
                </a:r>
              </a:p>
              <a:p>
                <a:pPr marL="180970" indent="-180970" eaLnBrk="0" hangingPunct="0">
                  <a:spcBef>
                    <a:spcPct val="0"/>
                  </a:spcBef>
                  <a:buFontTx/>
                  <a:buChar char="•"/>
                </a:pPr>
                <a:r>
                  <a:rPr lang="pt-BR" sz="1051" noProof="1">
                    <a:latin typeface="Graphik" panose="020B0503030202060203" pitchFamily="34" charset="77"/>
                  </a:rPr>
                  <a:t>Comment</a:t>
                </a:r>
              </a:p>
            </p:txBody>
          </p:sp>
          <p:sp>
            <p:nvSpPr>
              <p:cNvPr id="122" name="Rectangle 123">
                <a:extLst>
                  <a:ext uri="{FF2B5EF4-FFF2-40B4-BE49-F238E27FC236}">
                    <a16:creationId xmlns:a16="http://schemas.microsoft.com/office/drawing/2014/main" id="{2E357912-9350-46AE-9991-DADAE3EA0904}"/>
                  </a:ext>
                </a:extLst>
              </p:cNvPr>
              <p:cNvSpPr>
                <a:spLocks noChangeArrowheads="1"/>
              </p:cNvSpPr>
              <p:nvPr/>
            </p:nvSpPr>
            <p:spPr bwMode="auto">
              <a:xfrm>
                <a:off x="4993014" y="4153126"/>
                <a:ext cx="2304000" cy="540000"/>
              </a:xfrm>
              <a:prstGeom prst="rect">
                <a:avLst/>
              </a:prstGeom>
              <a:solidFill>
                <a:srgbClr val="E4E7E7"/>
              </a:solidFill>
              <a:ln w="12700">
                <a:solidFill>
                  <a:schemeClr val="bg1"/>
                </a:solidFill>
                <a:miter lim="800000"/>
                <a:headEnd/>
                <a:tailEnd/>
              </a:ln>
              <a:effectLst/>
            </p:spPr>
            <p:txBody>
              <a:bodyPr lIns="684000" tIns="72000" rIns="108000" bIns="72000" anchor="ctr" anchorCtr="0"/>
              <a:lstStyle/>
              <a:p>
                <a:pPr marL="180970" indent="-180970" eaLnBrk="0" hangingPunct="0">
                  <a:spcBef>
                    <a:spcPct val="0"/>
                  </a:spcBef>
                  <a:buFontTx/>
                  <a:buChar char="•"/>
                </a:pPr>
                <a:r>
                  <a:rPr lang="pt-BR" sz="1051" noProof="1">
                    <a:latin typeface="Graphik" panose="020B0503030202060203" pitchFamily="34" charset="77"/>
                  </a:rPr>
                  <a:t>Comment</a:t>
                </a:r>
              </a:p>
              <a:p>
                <a:pPr marL="180970" indent="-180970" eaLnBrk="0" hangingPunct="0">
                  <a:spcBef>
                    <a:spcPct val="0"/>
                  </a:spcBef>
                  <a:buFontTx/>
                  <a:buChar char="•"/>
                </a:pPr>
                <a:r>
                  <a:rPr lang="pt-BR" sz="1051" noProof="1">
                    <a:latin typeface="Graphik" panose="020B0503030202060203" pitchFamily="34" charset="77"/>
                  </a:rPr>
                  <a:t>Comment</a:t>
                </a:r>
              </a:p>
            </p:txBody>
          </p:sp>
          <p:sp>
            <p:nvSpPr>
              <p:cNvPr id="123" name="Rectangle 132">
                <a:extLst>
                  <a:ext uri="{FF2B5EF4-FFF2-40B4-BE49-F238E27FC236}">
                    <a16:creationId xmlns:a16="http://schemas.microsoft.com/office/drawing/2014/main" id="{A5F8387A-C971-4F28-A39B-1A24465CF91F}"/>
                  </a:ext>
                </a:extLst>
              </p:cNvPr>
              <p:cNvSpPr>
                <a:spLocks noChangeArrowheads="1"/>
              </p:cNvSpPr>
              <p:nvPr/>
            </p:nvSpPr>
            <p:spPr bwMode="auto">
              <a:xfrm>
                <a:off x="4993014" y="3164114"/>
                <a:ext cx="2304000" cy="441441"/>
              </a:xfrm>
              <a:prstGeom prst="rect">
                <a:avLst/>
              </a:prstGeom>
              <a:solidFill>
                <a:schemeClr val="accent1">
                  <a:lumMod val="60000"/>
                  <a:lumOff val="40000"/>
                </a:schemeClr>
              </a:solidFill>
              <a:ln w="1270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pt-BR" sz="1200" noProof="1">
                    <a:solidFill>
                      <a:srgbClr val="000000"/>
                    </a:solidFill>
                    <a:latin typeface="Graphik" panose="020B0503030202060203" pitchFamily="34" charset="77"/>
                  </a:rPr>
                  <a:t>Option 2</a:t>
                </a:r>
              </a:p>
            </p:txBody>
          </p:sp>
          <p:sp>
            <p:nvSpPr>
              <p:cNvPr id="186" name="Oval 140">
                <a:extLst>
                  <a:ext uri="{FF2B5EF4-FFF2-40B4-BE49-F238E27FC236}">
                    <a16:creationId xmlns:a16="http://schemas.microsoft.com/office/drawing/2014/main" id="{B9F7E287-B483-4A81-BA29-F34A9386C702}"/>
                  </a:ext>
                </a:extLst>
              </p:cNvPr>
              <p:cNvSpPr>
                <a:spLocks noChangeArrowheads="1"/>
              </p:cNvSpPr>
              <p:nvPr/>
            </p:nvSpPr>
            <p:spPr bwMode="auto">
              <a:xfrm>
                <a:off x="5230455" y="3743428"/>
                <a:ext cx="251376" cy="247129"/>
              </a:xfrm>
              <a:prstGeom prst="ellipse">
                <a:avLst/>
              </a:prstGeom>
              <a:solidFill>
                <a:srgbClr val="FFFFFF"/>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187" name="Arc 141">
                <a:extLst>
                  <a:ext uri="{FF2B5EF4-FFF2-40B4-BE49-F238E27FC236}">
                    <a16:creationId xmlns:a16="http://schemas.microsoft.com/office/drawing/2014/main" id="{6B27C89F-5307-4EEC-8CFD-205BDD6FD067}"/>
                  </a:ext>
                </a:extLst>
              </p:cNvPr>
              <p:cNvSpPr>
                <a:spLocks/>
              </p:cNvSpPr>
              <p:nvPr/>
            </p:nvSpPr>
            <p:spPr bwMode="auto">
              <a:xfrm>
                <a:off x="5231658" y="3743428"/>
                <a:ext cx="250173" cy="248311"/>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201" name="Oval 155">
                <a:extLst>
                  <a:ext uri="{FF2B5EF4-FFF2-40B4-BE49-F238E27FC236}">
                    <a16:creationId xmlns:a16="http://schemas.microsoft.com/office/drawing/2014/main" id="{CA55CDF1-83AF-44D6-B3DD-3E48AA70572C}"/>
                  </a:ext>
                </a:extLst>
              </p:cNvPr>
              <p:cNvSpPr>
                <a:spLocks noChangeArrowheads="1"/>
              </p:cNvSpPr>
              <p:nvPr/>
            </p:nvSpPr>
            <p:spPr bwMode="auto">
              <a:xfrm>
                <a:off x="5230455" y="4281815"/>
                <a:ext cx="251376" cy="248311"/>
              </a:xfrm>
              <a:prstGeom prst="ellipse">
                <a:avLst/>
              </a:prstGeom>
              <a:solidFill>
                <a:srgbClr val="FFFFFF"/>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202" name="Arc 156">
                <a:extLst>
                  <a:ext uri="{FF2B5EF4-FFF2-40B4-BE49-F238E27FC236}">
                    <a16:creationId xmlns:a16="http://schemas.microsoft.com/office/drawing/2014/main" id="{F46013A7-6980-483F-81B1-AD0F0C284934}"/>
                  </a:ext>
                </a:extLst>
              </p:cNvPr>
              <p:cNvSpPr>
                <a:spLocks/>
              </p:cNvSpPr>
              <p:nvPr/>
            </p:nvSpPr>
            <p:spPr bwMode="auto">
              <a:xfrm>
                <a:off x="5356744" y="4281815"/>
                <a:ext cx="125087" cy="12475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grpSp>
        <p:grpSp>
          <p:nvGrpSpPr>
            <p:cNvPr id="24" name="Group 23" descr="Option 3">
              <a:extLst>
                <a:ext uri="{FF2B5EF4-FFF2-40B4-BE49-F238E27FC236}">
                  <a16:creationId xmlns:a16="http://schemas.microsoft.com/office/drawing/2014/main" id="{F99581A3-7F41-4EA4-82B3-53CFE185479C}"/>
                </a:ext>
              </a:extLst>
            </p:cNvPr>
            <p:cNvGrpSpPr/>
            <p:nvPr/>
          </p:nvGrpSpPr>
          <p:grpSpPr>
            <a:xfrm>
              <a:off x="7285872" y="2849814"/>
              <a:ext cx="2214737" cy="1656019"/>
              <a:chOff x="7294638" y="3164114"/>
              <a:chExt cx="2304000" cy="1529012"/>
            </a:xfrm>
          </p:grpSpPr>
          <p:sp>
            <p:nvSpPr>
              <p:cNvPr id="115" name="Rectangle 124">
                <a:extLst>
                  <a:ext uri="{FF2B5EF4-FFF2-40B4-BE49-F238E27FC236}">
                    <a16:creationId xmlns:a16="http://schemas.microsoft.com/office/drawing/2014/main" id="{EA44A921-A595-4AC8-B8EE-097B764B6F38}"/>
                  </a:ext>
                </a:extLst>
              </p:cNvPr>
              <p:cNvSpPr>
                <a:spLocks noChangeArrowheads="1"/>
              </p:cNvSpPr>
              <p:nvPr/>
            </p:nvSpPr>
            <p:spPr bwMode="auto">
              <a:xfrm>
                <a:off x="7294638" y="3605554"/>
                <a:ext cx="2304000" cy="540000"/>
              </a:xfrm>
              <a:prstGeom prst="rect">
                <a:avLst/>
              </a:prstGeom>
              <a:solidFill>
                <a:srgbClr val="E4E7E7"/>
              </a:solidFill>
              <a:ln w="12700">
                <a:solidFill>
                  <a:schemeClr val="bg1"/>
                </a:solidFill>
                <a:miter lim="800000"/>
                <a:headEnd/>
                <a:tailEnd/>
              </a:ln>
              <a:effectLst/>
            </p:spPr>
            <p:txBody>
              <a:bodyPr lIns="684000" tIns="72000" rIns="108000" bIns="72000" anchor="ctr" anchorCtr="0"/>
              <a:lstStyle/>
              <a:p>
                <a:pPr marL="180970" indent="-180970" eaLnBrk="0" hangingPunct="0">
                  <a:spcBef>
                    <a:spcPct val="0"/>
                  </a:spcBef>
                  <a:buFontTx/>
                  <a:buChar char="•"/>
                </a:pPr>
                <a:r>
                  <a:rPr lang="pt-BR" sz="1051" noProof="1">
                    <a:latin typeface="Graphik" panose="020B0503030202060203" pitchFamily="34" charset="77"/>
                  </a:rPr>
                  <a:t>Comment</a:t>
                </a:r>
              </a:p>
              <a:p>
                <a:pPr marL="180970" indent="-180970" eaLnBrk="0" hangingPunct="0">
                  <a:spcBef>
                    <a:spcPct val="0"/>
                  </a:spcBef>
                  <a:buFontTx/>
                  <a:buChar char="•"/>
                </a:pPr>
                <a:r>
                  <a:rPr lang="pt-BR" sz="1051" noProof="1">
                    <a:latin typeface="Graphik" panose="020B0503030202060203" pitchFamily="34" charset="77"/>
                  </a:rPr>
                  <a:t>Comment</a:t>
                </a:r>
              </a:p>
            </p:txBody>
          </p:sp>
          <p:sp>
            <p:nvSpPr>
              <p:cNvPr id="116" name="Rectangle 125">
                <a:extLst>
                  <a:ext uri="{FF2B5EF4-FFF2-40B4-BE49-F238E27FC236}">
                    <a16:creationId xmlns:a16="http://schemas.microsoft.com/office/drawing/2014/main" id="{1F311E0F-F37E-4A57-9EB9-D88089D01C41}"/>
                  </a:ext>
                </a:extLst>
              </p:cNvPr>
              <p:cNvSpPr>
                <a:spLocks noChangeArrowheads="1"/>
              </p:cNvSpPr>
              <p:nvPr/>
            </p:nvSpPr>
            <p:spPr bwMode="auto">
              <a:xfrm>
                <a:off x="7294638" y="4153126"/>
                <a:ext cx="2304000" cy="540000"/>
              </a:xfrm>
              <a:prstGeom prst="rect">
                <a:avLst/>
              </a:prstGeom>
              <a:solidFill>
                <a:srgbClr val="E4E7E7"/>
              </a:solidFill>
              <a:ln w="12700">
                <a:solidFill>
                  <a:schemeClr val="bg1"/>
                </a:solidFill>
                <a:miter lim="800000"/>
                <a:headEnd/>
                <a:tailEnd/>
              </a:ln>
              <a:effectLst/>
            </p:spPr>
            <p:txBody>
              <a:bodyPr lIns="684000" tIns="72000" rIns="108000" bIns="72000" anchor="ctr" anchorCtr="0"/>
              <a:lstStyle/>
              <a:p>
                <a:pPr marL="180970" indent="-180970" eaLnBrk="0" hangingPunct="0">
                  <a:spcBef>
                    <a:spcPct val="0"/>
                  </a:spcBef>
                  <a:buFontTx/>
                  <a:buChar char="•"/>
                </a:pPr>
                <a:r>
                  <a:rPr lang="pt-BR" sz="1051" noProof="1">
                    <a:latin typeface="Graphik" panose="020B0503030202060203" pitchFamily="34" charset="77"/>
                  </a:rPr>
                  <a:t>Comment</a:t>
                </a:r>
              </a:p>
              <a:p>
                <a:pPr marL="180970" indent="-180970" eaLnBrk="0" hangingPunct="0">
                  <a:spcBef>
                    <a:spcPct val="0"/>
                  </a:spcBef>
                  <a:buFontTx/>
                  <a:buChar char="•"/>
                </a:pPr>
                <a:r>
                  <a:rPr lang="pt-BR" sz="1051" noProof="1">
                    <a:latin typeface="Graphik" panose="020B0503030202060203" pitchFamily="34" charset="77"/>
                  </a:rPr>
                  <a:t>Comment</a:t>
                </a:r>
              </a:p>
            </p:txBody>
          </p:sp>
          <p:sp>
            <p:nvSpPr>
              <p:cNvPr id="117" name="Rectangle 131">
                <a:extLst>
                  <a:ext uri="{FF2B5EF4-FFF2-40B4-BE49-F238E27FC236}">
                    <a16:creationId xmlns:a16="http://schemas.microsoft.com/office/drawing/2014/main" id="{E54896B0-D8FC-4D72-808F-2BAD0DE3ABFE}"/>
                  </a:ext>
                </a:extLst>
              </p:cNvPr>
              <p:cNvSpPr>
                <a:spLocks noChangeArrowheads="1"/>
              </p:cNvSpPr>
              <p:nvPr/>
            </p:nvSpPr>
            <p:spPr bwMode="auto">
              <a:xfrm>
                <a:off x="7294638" y="3164114"/>
                <a:ext cx="2304000" cy="441441"/>
              </a:xfrm>
              <a:prstGeom prst="rect">
                <a:avLst/>
              </a:prstGeom>
              <a:solidFill>
                <a:schemeClr val="accent1">
                  <a:lumMod val="40000"/>
                  <a:lumOff val="60000"/>
                </a:schemeClr>
              </a:solidFill>
              <a:ln w="1270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pt-BR" sz="1200" noProof="1">
                    <a:latin typeface="Graphik" panose="020B0503030202060203" pitchFamily="34" charset="77"/>
                  </a:rPr>
                  <a:t>Option 3</a:t>
                </a:r>
              </a:p>
            </p:txBody>
          </p:sp>
          <p:grpSp>
            <p:nvGrpSpPr>
              <p:cNvPr id="194" name="Group 148">
                <a:extLst>
                  <a:ext uri="{FF2B5EF4-FFF2-40B4-BE49-F238E27FC236}">
                    <a16:creationId xmlns:a16="http://schemas.microsoft.com/office/drawing/2014/main" id="{FE465BB3-3976-4FB8-9F75-C71207ABA277}"/>
                  </a:ext>
                </a:extLst>
              </p:cNvPr>
              <p:cNvGrpSpPr>
                <a:grpSpLocks/>
              </p:cNvGrpSpPr>
              <p:nvPr/>
            </p:nvGrpSpPr>
            <p:grpSpPr bwMode="auto">
              <a:xfrm>
                <a:off x="7531478" y="3738830"/>
                <a:ext cx="251376" cy="248311"/>
                <a:chOff x="3500" y="1580"/>
                <a:chExt cx="209" cy="210"/>
              </a:xfrm>
            </p:grpSpPr>
            <p:sp>
              <p:nvSpPr>
                <p:cNvPr id="195" name="Oval 149">
                  <a:extLst>
                    <a:ext uri="{FF2B5EF4-FFF2-40B4-BE49-F238E27FC236}">
                      <a16:creationId xmlns:a16="http://schemas.microsoft.com/office/drawing/2014/main" id="{5561C27C-30A8-48BA-8354-A6E99F9184B2}"/>
                    </a:ext>
                  </a:extLst>
                </p:cNvPr>
                <p:cNvSpPr>
                  <a:spLocks noChangeArrowheads="1"/>
                </p:cNvSpPr>
                <p:nvPr/>
              </p:nvSpPr>
              <p:spPr bwMode="auto">
                <a:xfrm>
                  <a:off x="3500" y="1580"/>
                  <a:ext cx="209" cy="209"/>
                </a:xfrm>
                <a:prstGeom prst="ellipse">
                  <a:avLst/>
                </a:prstGeom>
                <a:solidFill>
                  <a:srgbClr val="FFFFFF"/>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196" name="Arc 150">
                  <a:extLst>
                    <a:ext uri="{FF2B5EF4-FFF2-40B4-BE49-F238E27FC236}">
                      <a16:creationId xmlns:a16="http://schemas.microsoft.com/office/drawing/2014/main" id="{2053CF27-EE55-4CF4-A78A-8898AF627387}"/>
                    </a:ext>
                  </a:extLst>
                </p:cNvPr>
                <p:cNvSpPr>
                  <a:spLocks/>
                </p:cNvSpPr>
                <p:nvPr/>
              </p:nvSpPr>
              <p:spPr bwMode="auto">
                <a:xfrm>
                  <a:off x="3605" y="1580"/>
                  <a:ext cx="104" cy="210"/>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grpSp>
          <p:grpSp>
            <p:nvGrpSpPr>
              <p:cNvPr id="197" name="Group 151">
                <a:extLst>
                  <a:ext uri="{FF2B5EF4-FFF2-40B4-BE49-F238E27FC236}">
                    <a16:creationId xmlns:a16="http://schemas.microsoft.com/office/drawing/2014/main" id="{CA986233-520C-45C5-9FC9-3544F6C95DDE}"/>
                  </a:ext>
                </a:extLst>
              </p:cNvPr>
              <p:cNvGrpSpPr>
                <a:grpSpLocks/>
              </p:cNvGrpSpPr>
              <p:nvPr/>
            </p:nvGrpSpPr>
            <p:grpSpPr bwMode="auto">
              <a:xfrm>
                <a:off x="7531478" y="4278749"/>
                <a:ext cx="251376" cy="248311"/>
                <a:chOff x="3500" y="1868"/>
                <a:chExt cx="209" cy="210"/>
              </a:xfrm>
            </p:grpSpPr>
            <p:sp>
              <p:nvSpPr>
                <p:cNvPr id="198" name="Oval 152">
                  <a:extLst>
                    <a:ext uri="{FF2B5EF4-FFF2-40B4-BE49-F238E27FC236}">
                      <a16:creationId xmlns:a16="http://schemas.microsoft.com/office/drawing/2014/main" id="{D4A35A4D-2D67-498F-AFEA-541AF5F14411}"/>
                    </a:ext>
                  </a:extLst>
                </p:cNvPr>
                <p:cNvSpPr>
                  <a:spLocks noChangeArrowheads="1"/>
                </p:cNvSpPr>
                <p:nvPr/>
              </p:nvSpPr>
              <p:spPr bwMode="auto">
                <a:xfrm>
                  <a:off x="3500" y="1868"/>
                  <a:ext cx="209" cy="209"/>
                </a:xfrm>
                <a:prstGeom prst="ellipse">
                  <a:avLst/>
                </a:prstGeom>
                <a:solidFill>
                  <a:srgbClr val="FFFFFF"/>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199" name="Arc 153">
                  <a:extLst>
                    <a:ext uri="{FF2B5EF4-FFF2-40B4-BE49-F238E27FC236}">
                      <a16:creationId xmlns:a16="http://schemas.microsoft.com/office/drawing/2014/main" id="{6CE6B81E-FB75-42DF-8D05-10A5F51E8700}"/>
                    </a:ext>
                  </a:extLst>
                </p:cNvPr>
                <p:cNvSpPr>
                  <a:spLocks/>
                </p:cNvSpPr>
                <p:nvPr/>
              </p:nvSpPr>
              <p:spPr bwMode="auto">
                <a:xfrm>
                  <a:off x="3501" y="1868"/>
                  <a:ext cx="208" cy="210"/>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path>
                    <a:path w="43200" h="43200" stroke="0" extrusionOk="0">
                      <a:moveTo>
                        <a:pt x="21599" y="0"/>
                      </a:moveTo>
                      <a:lnTo>
                        <a:pt x="21600" y="21600"/>
                      </a:lnTo>
                      <a:close/>
                    </a:path>
                  </a:pathLst>
                </a:custGeom>
                <a:solidFill>
                  <a:srgbClr val="000000"/>
                </a:solidFill>
                <a:ln w="12700">
                  <a:solidFill>
                    <a:schemeClr val="folHlink"/>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grpSp>
        </p:grpSp>
        <p:grpSp>
          <p:nvGrpSpPr>
            <p:cNvPr id="25" name="Group 24" descr="Option 4">
              <a:extLst>
                <a:ext uri="{FF2B5EF4-FFF2-40B4-BE49-F238E27FC236}">
                  <a16:creationId xmlns:a16="http://schemas.microsoft.com/office/drawing/2014/main" id="{17AE01AA-D0E8-497D-AEB4-BC639DA72DEE}"/>
                </a:ext>
              </a:extLst>
            </p:cNvPr>
            <p:cNvGrpSpPr/>
            <p:nvPr/>
          </p:nvGrpSpPr>
          <p:grpSpPr>
            <a:xfrm>
              <a:off x="9587497" y="2849814"/>
              <a:ext cx="2214737" cy="1656019"/>
              <a:chOff x="9596263" y="3164114"/>
              <a:chExt cx="2304000" cy="1529012"/>
            </a:xfrm>
          </p:grpSpPr>
          <p:sp>
            <p:nvSpPr>
              <p:cNvPr id="109" name="Rectangle 126">
                <a:extLst>
                  <a:ext uri="{FF2B5EF4-FFF2-40B4-BE49-F238E27FC236}">
                    <a16:creationId xmlns:a16="http://schemas.microsoft.com/office/drawing/2014/main" id="{1C2F1960-1A16-47B3-B60F-54F29B01F8F0}"/>
                  </a:ext>
                </a:extLst>
              </p:cNvPr>
              <p:cNvSpPr>
                <a:spLocks noChangeArrowheads="1"/>
              </p:cNvSpPr>
              <p:nvPr/>
            </p:nvSpPr>
            <p:spPr bwMode="auto">
              <a:xfrm>
                <a:off x="9596263" y="3605554"/>
                <a:ext cx="2304000" cy="540000"/>
              </a:xfrm>
              <a:prstGeom prst="rect">
                <a:avLst/>
              </a:prstGeom>
              <a:solidFill>
                <a:srgbClr val="E4E7E7"/>
              </a:solidFill>
              <a:ln w="12700">
                <a:solidFill>
                  <a:schemeClr val="bg1"/>
                </a:solidFill>
                <a:miter lim="800000"/>
                <a:headEnd/>
                <a:tailEnd/>
              </a:ln>
              <a:effectLst/>
            </p:spPr>
            <p:txBody>
              <a:bodyPr lIns="684000" tIns="72000" rIns="108000" bIns="72000" anchor="ctr" anchorCtr="0"/>
              <a:lstStyle/>
              <a:p>
                <a:pPr marL="180970" indent="-180970" eaLnBrk="0" hangingPunct="0">
                  <a:spcBef>
                    <a:spcPct val="0"/>
                  </a:spcBef>
                  <a:buFontTx/>
                  <a:buChar char="•"/>
                </a:pPr>
                <a:r>
                  <a:rPr lang="pt-BR" sz="1051" noProof="1">
                    <a:latin typeface="Graphik" panose="020B0503030202060203" pitchFamily="34" charset="77"/>
                  </a:rPr>
                  <a:t>Comment</a:t>
                </a:r>
              </a:p>
              <a:p>
                <a:pPr marL="180970" indent="-180970" eaLnBrk="0" hangingPunct="0">
                  <a:spcBef>
                    <a:spcPct val="0"/>
                  </a:spcBef>
                  <a:buFontTx/>
                  <a:buChar char="•"/>
                </a:pPr>
                <a:r>
                  <a:rPr lang="pt-BR" sz="1051" noProof="1">
                    <a:latin typeface="Graphik" panose="020B0503030202060203" pitchFamily="34" charset="77"/>
                  </a:rPr>
                  <a:t>Comment</a:t>
                </a:r>
              </a:p>
            </p:txBody>
          </p:sp>
          <p:sp>
            <p:nvSpPr>
              <p:cNvPr id="110" name="Rectangle 127">
                <a:extLst>
                  <a:ext uri="{FF2B5EF4-FFF2-40B4-BE49-F238E27FC236}">
                    <a16:creationId xmlns:a16="http://schemas.microsoft.com/office/drawing/2014/main" id="{CBD0AFBE-9758-471C-B31F-27F11F5F23E4}"/>
                  </a:ext>
                </a:extLst>
              </p:cNvPr>
              <p:cNvSpPr>
                <a:spLocks noChangeArrowheads="1"/>
              </p:cNvSpPr>
              <p:nvPr/>
            </p:nvSpPr>
            <p:spPr bwMode="auto">
              <a:xfrm>
                <a:off x="9596263" y="4153126"/>
                <a:ext cx="2304000" cy="540000"/>
              </a:xfrm>
              <a:prstGeom prst="rect">
                <a:avLst/>
              </a:prstGeom>
              <a:solidFill>
                <a:srgbClr val="E4E7E7"/>
              </a:solidFill>
              <a:ln w="12700">
                <a:solidFill>
                  <a:schemeClr val="bg1"/>
                </a:solidFill>
                <a:miter lim="800000"/>
                <a:headEnd/>
                <a:tailEnd/>
              </a:ln>
              <a:effectLst/>
            </p:spPr>
            <p:txBody>
              <a:bodyPr lIns="684000" tIns="72000" rIns="108000" bIns="72000" anchor="ctr" anchorCtr="0"/>
              <a:lstStyle/>
              <a:p>
                <a:pPr marL="180970" indent="-180970" eaLnBrk="0" hangingPunct="0">
                  <a:spcBef>
                    <a:spcPct val="0"/>
                  </a:spcBef>
                  <a:buFontTx/>
                  <a:buChar char="•"/>
                </a:pPr>
                <a:r>
                  <a:rPr lang="pt-BR" sz="1051" noProof="1">
                    <a:latin typeface="Graphik" panose="020B0503030202060203" pitchFamily="34" charset="77"/>
                  </a:rPr>
                  <a:t>Comment</a:t>
                </a:r>
              </a:p>
              <a:p>
                <a:pPr marL="180970" indent="-180970" eaLnBrk="0" hangingPunct="0">
                  <a:spcBef>
                    <a:spcPct val="0"/>
                  </a:spcBef>
                  <a:buFontTx/>
                  <a:buChar char="•"/>
                </a:pPr>
                <a:r>
                  <a:rPr lang="pt-BR" sz="1051" noProof="1">
                    <a:latin typeface="Graphik" panose="020B0503030202060203" pitchFamily="34" charset="77"/>
                  </a:rPr>
                  <a:t>Comment</a:t>
                </a:r>
              </a:p>
            </p:txBody>
          </p:sp>
          <p:sp>
            <p:nvSpPr>
              <p:cNvPr id="111" name="Rectangle 130">
                <a:extLst>
                  <a:ext uri="{FF2B5EF4-FFF2-40B4-BE49-F238E27FC236}">
                    <a16:creationId xmlns:a16="http://schemas.microsoft.com/office/drawing/2014/main" id="{E719509B-8C28-4217-A14B-6B31DF1C2EC4}"/>
                  </a:ext>
                </a:extLst>
              </p:cNvPr>
              <p:cNvSpPr>
                <a:spLocks noChangeArrowheads="1"/>
              </p:cNvSpPr>
              <p:nvPr/>
            </p:nvSpPr>
            <p:spPr bwMode="auto">
              <a:xfrm>
                <a:off x="9596263" y="3164114"/>
                <a:ext cx="2304000" cy="441441"/>
              </a:xfrm>
              <a:prstGeom prst="rect">
                <a:avLst/>
              </a:prstGeom>
              <a:solidFill>
                <a:schemeClr val="accent1">
                  <a:lumMod val="20000"/>
                  <a:lumOff val="80000"/>
                </a:schemeClr>
              </a:solidFill>
              <a:ln w="1270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pt-BR" sz="1200" noProof="1">
                    <a:latin typeface="Graphik" panose="020B0503030202060203" pitchFamily="34" charset="77"/>
                  </a:rPr>
                  <a:t>Option 4</a:t>
                </a:r>
              </a:p>
            </p:txBody>
          </p:sp>
          <p:grpSp>
            <p:nvGrpSpPr>
              <p:cNvPr id="188" name="Group 142">
                <a:extLst>
                  <a:ext uri="{FF2B5EF4-FFF2-40B4-BE49-F238E27FC236}">
                    <a16:creationId xmlns:a16="http://schemas.microsoft.com/office/drawing/2014/main" id="{64C5C4EF-E413-4323-B754-0A2DE5A78C64}"/>
                  </a:ext>
                </a:extLst>
              </p:cNvPr>
              <p:cNvGrpSpPr>
                <a:grpSpLocks/>
              </p:cNvGrpSpPr>
              <p:nvPr/>
            </p:nvGrpSpPr>
            <p:grpSpPr bwMode="auto">
              <a:xfrm>
                <a:off x="9849667" y="3744961"/>
                <a:ext cx="251376" cy="248311"/>
                <a:chOff x="4556" y="1584"/>
                <a:chExt cx="209" cy="210"/>
              </a:xfrm>
            </p:grpSpPr>
            <p:sp>
              <p:nvSpPr>
                <p:cNvPr id="189" name="Oval 143">
                  <a:extLst>
                    <a:ext uri="{FF2B5EF4-FFF2-40B4-BE49-F238E27FC236}">
                      <a16:creationId xmlns:a16="http://schemas.microsoft.com/office/drawing/2014/main" id="{757F597F-1A19-4D83-A082-ED14C6905050}"/>
                    </a:ext>
                  </a:extLst>
                </p:cNvPr>
                <p:cNvSpPr>
                  <a:spLocks noChangeArrowheads="1"/>
                </p:cNvSpPr>
                <p:nvPr/>
              </p:nvSpPr>
              <p:spPr bwMode="auto">
                <a:xfrm>
                  <a:off x="4556" y="1584"/>
                  <a:ext cx="209" cy="209"/>
                </a:xfrm>
                <a:prstGeom prst="ellipse">
                  <a:avLst/>
                </a:prstGeom>
                <a:solidFill>
                  <a:srgbClr val="FFFFFF"/>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190" name="Arc 144">
                  <a:extLst>
                    <a:ext uri="{FF2B5EF4-FFF2-40B4-BE49-F238E27FC236}">
                      <a16:creationId xmlns:a16="http://schemas.microsoft.com/office/drawing/2014/main" id="{DD1EFF6A-7674-4E18-AA59-FE0CA905F202}"/>
                    </a:ext>
                  </a:extLst>
                </p:cNvPr>
                <p:cNvSpPr>
                  <a:spLocks/>
                </p:cNvSpPr>
                <p:nvPr/>
              </p:nvSpPr>
              <p:spPr bwMode="auto">
                <a:xfrm>
                  <a:off x="4557" y="1584"/>
                  <a:ext cx="208" cy="210"/>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grpSp>
          <p:grpSp>
            <p:nvGrpSpPr>
              <p:cNvPr id="203" name="Group 157">
                <a:extLst>
                  <a:ext uri="{FF2B5EF4-FFF2-40B4-BE49-F238E27FC236}">
                    <a16:creationId xmlns:a16="http://schemas.microsoft.com/office/drawing/2014/main" id="{736861FD-E776-4191-8BE5-D843E2328014}"/>
                  </a:ext>
                </a:extLst>
              </p:cNvPr>
              <p:cNvGrpSpPr>
                <a:grpSpLocks/>
              </p:cNvGrpSpPr>
              <p:nvPr/>
            </p:nvGrpSpPr>
            <p:grpSpPr bwMode="auto">
              <a:xfrm>
                <a:off x="9849667" y="4283347"/>
                <a:ext cx="251376" cy="248311"/>
                <a:chOff x="4556" y="1872"/>
                <a:chExt cx="209" cy="209"/>
              </a:xfrm>
            </p:grpSpPr>
            <p:sp>
              <p:nvSpPr>
                <p:cNvPr id="204" name="Oval 158">
                  <a:extLst>
                    <a:ext uri="{FF2B5EF4-FFF2-40B4-BE49-F238E27FC236}">
                      <a16:creationId xmlns:a16="http://schemas.microsoft.com/office/drawing/2014/main" id="{9D932998-08A7-4BE1-933B-4CF796C6BF11}"/>
                    </a:ext>
                  </a:extLst>
                </p:cNvPr>
                <p:cNvSpPr>
                  <a:spLocks noChangeArrowheads="1"/>
                </p:cNvSpPr>
                <p:nvPr/>
              </p:nvSpPr>
              <p:spPr bwMode="auto">
                <a:xfrm>
                  <a:off x="4556" y="1872"/>
                  <a:ext cx="209" cy="209"/>
                </a:xfrm>
                <a:prstGeom prst="ellipse">
                  <a:avLst/>
                </a:prstGeom>
                <a:solidFill>
                  <a:srgbClr val="FFFFFF"/>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205" name="Arc 159">
                  <a:extLst>
                    <a:ext uri="{FF2B5EF4-FFF2-40B4-BE49-F238E27FC236}">
                      <a16:creationId xmlns:a16="http://schemas.microsoft.com/office/drawing/2014/main" id="{D534997A-82E5-4DDF-B905-3BB7DF1A4E14}"/>
                    </a:ext>
                  </a:extLst>
                </p:cNvPr>
                <p:cNvSpPr>
                  <a:spLocks/>
                </p:cNvSpPr>
                <p:nvPr/>
              </p:nvSpPr>
              <p:spPr bwMode="auto">
                <a:xfrm>
                  <a:off x="4661" y="1872"/>
                  <a:ext cx="104" cy="105"/>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grpSp>
        </p:grpSp>
        <p:grpSp>
          <p:nvGrpSpPr>
            <p:cNvPr id="26" name="Group 25" descr="Excellent">
              <a:extLst>
                <a:ext uri="{FF2B5EF4-FFF2-40B4-BE49-F238E27FC236}">
                  <a16:creationId xmlns:a16="http://schemas.microsoft.com/office/drawing/2014/main" id="{AFBB927F-8620-44D0-B36D-2F3DB2D42E42}"/>
                </a:ext>
              </a:extLst>
            </p:cNvPr>
            <p:cNvGrpSpPr/>
            <p:nvPr/>
          </p:nvGrpSpPr>
          <p:grpSpPr>
            <a:xfrm>
              <a:off x="443582" y="4737280"/>
              <a:ext cx="608066" cy="887558"/>
              <a:chOff x="406810" y="4894097"/>
              <a:chExt cx="608066" cy="887558"/>
            </a:xfrm>
          </p:grpSpPr>
          <p:sp>
            <p:nvSpPr>
              <p:cNvPr id="137" name="Rectangle 6">
                <a:extLst>
                  <a:ext uri="{FF2B5EF4-FFF2-40B4-BE49-F238E27FC236}">
                    <a16:creationId xmlns:a16="http://schemas.microsoft.com/office/drawing/2014/main" id="{19CA594C-CE1D-4332-9CFD-4CCFF72AC73C}"/>
                  </a:ext>
                </a:extLst>
              </p:cNvPr>
              <p:cNvSpPr>
                <a:spLocks noChangeAspect="1" noChangeArrowheads="1"/>
              </p:cNvSpPr>
              <p:nvPr/>
            </p:nvSpPr>
            <p:spPr bwMode="auto">
              <a:xfrm>
                <a:off x="406810" y="4894097"/>
                <a:ext cx="568226" cy="165853"/>
              </a:xfrm>
              <a:prstGeom prst="rect">
                <a:avLst/>
              </a:prstGeom>
              <a:noFill/>
              <a:ln w="6350">
                <a:noFill/>
                <a:miter lim="800000"/>
                <a:headEnd/>
                <a:tailEnd/>
              </a:ln>
              <a:effectLst/>
            </p:spPr>
            <p:txBody>
              <a:bodyPr wrap="none" lIns="0" tIns="0" rIns="0" bIns="0" anchor="ctr">
                <a:spAutoFit/>
              </a:bodyPr>
              <a:lstStyle/>
              <a:p>
                <a:pPr algn="l" eaLnBrk="0" hangingPunct="0">
                  <a:spcBef>
                    <a:spcPct val="0"/>
                  </a:spcBef>
                </a:pPr>
                <a:r>
                  <a:rPr lang="pt-BR" sz="1000" noProof="1">
                    <a:latin typeface="Graphik" panose="020B0503030202060203" pitchFamily="34" charset="77"/>
                  </a:rPr>
                  <a:t>Excellent</a:t>
                </a:r>
              </a:p>
            </p:txBody>
          </p:sp>
          <p:sp>
            <p:nvSpPr>
              <p:cNvPr id="139" name="Rectangle 23">
                <a:extLst>
                  <a:ext uri="{FF2B5EF4-FFF2-40B4-BE49-F238E27FC236}">
                    <a16:creationId xmlns:a16="http://schemas.microsoft.com/office/drawing/2014/main" id="{EEEF3F4D-5426-47B9-B75D-B7440BCDC2A8}"/>
                  </a:ext>
                </a:extLst>
              </p:cNvPr>
              <p:cNvSpPr>
                <a:spLocks noChangeAspect="1" noChangeArrowheads="1"/>
              </p:cNvSpPr>
              <p:nvPr/>
            </p:nvSpPr>
            <p:spPr bwMode="auto">
              <a:xfrm>
                <a:off x="420525" y="5615802"/>
                <a:ext cx="594351" cy="165853"/>
              </a:xfrm>
              <a:prstGeom prst="rect">
                <a:avLst/>
              </a:prstGeom>
              <a:noFill/>
              <a:ln w="6350">
                <a:noFill/>
                <a:miter lim="800000"/>
                <a:headEnd/>
                <a:tailEnd/>
              </a:ln>
              <a:effectLst/>
            </p:spPr>
            <p:txBody>
              <a:bodyPr wrap="none" lIns="0" tIns="0" rIns="0" bIns="0" anchor="ctr">
                <a:spAutoFit/>
              </a:bodyPr>
              <a:lstStyle/>
              <a:p>
                <a:pPr algn="l" eaLnBrk="0" hangingPunct="0">
                  <a:spcBef>
                    <a:spcPct val="0"/>
                  </a:spcBef>
                </a:pPr>
                <a:r>
                  <a:rPr lang="pt-BR" sz="1000" noProof="1">
                    <a:latin typeface="Graphik" panose="020B0503030202060203" pitchFamily="34" charset="77"/>
                  </a:rPr>
                  <a:t>Very high</a:t>
                </a:r>
              </a:p>
            </p:txBody>
          </p:sp>
          <p:grpSp>
            <p:nvGrpSpPr>
              <p:cNvPr id="209" name="Group 151">
                <a:extLst>
                  <a:ext uri="{FF2B5EF4-FFF2-40B4-BE49-F238E27FC236}">
                    <a16:creationId xmlns:a16="http://schemas.microsoft.com/office/drawing/2014/main" id="{C821ECE8-88BD-204D-84BF-B9577284E2F0}"/>
                  </a:ext>
                </a:extLst>
              </p:cNvPr>
              <p:cNvGrpSpPr>
                <a:grpSpLocks/>
              </p:cNvGrpSpPr>
              <p:nvPr/>
            </p:nvGrpSpPr>
            <p:grpSpPr bwMode="auto">
              <a:xfrm>
                <a:off x="568336" y="5218913"/>
                <a:ext cx="251376" cy="273142"/>
                <a:chOff x="3500" y="1868"/>
                <a:chExt cx="209" cy="231"/>
              </a:xfrm>
              <a:solidFill>
                <a:schemeClr val="accent6"/>
              </a:solidFill>
            </p:grpSpPr>
            <p:sp>
              <p:nvSpPr>
                <p:cNvPr id="210" name="Oval 152">
                  <a:extLst>
                    <a:ext uri="{FF2B5EF4-FFF2-40B4-BE49-F238E27FC236}">
                      <a16:creationId xmlns:a16="http://schemas.microsoft.com/office/drawing/2014/main" id="{F61DDB11-2BA8-3D44-8F39-19B6CDD100F4}"/>
                    </a:ext>
                  </a:extLst>
                </p:cNvPr>
                <p:cNvSpPr>
                  <a:spLocks noChangeArrowheads="1"/>
                </p:cNvSpPr>
                <p:nvPr/>
              </p:nvSpPr>
              <p:spPr bwMode="auto">
                <a:xfrm>
                  <a:off x="3500" y="1868"/>
                  <a:ext cx="209" cy="231"/>
                </a:xfrm>
                <a:prstGeom prst="ellipse">
                  <a:avLst/>
                </a:pr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211" name="Arc 153">
                  <a:extLst>
                    <a:ext uri="{FF2B5EF4-FFF2-40B4-BE49-F238E27FC236}">
                      <a16:creationId xmlns:a16="http://schemas.microsoft.com/office/drawing/2014/main" id="{2B892D3B-43E3-4743-89A5-0F658AEA28B4}"/>
                    </a:ext>
                  </a:extLst>
                </p:cNvPr>
                <p:cNvSpPr>
                  <a:spLocks/>
                </p:cNvSpPr>
                <p:nvPr/>
              </p:nvSpPr>
              <p:spPr bwMode="auto">
                <a:xfrm>
                  <a:off x="3501" y="1868"/>
                  <a:ext cx="208" cy="210"/>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path>
                    <a:path w="43200" h="43200" stroke="0" extrusionOk="0">
                      <a:moveTo>
                        <a:pt x="21599" y="0"/>
                      </a:moveTo>
                      <a:lnTo>
                        <a:pt x="21600" y="21600"/>
                      </a:lnTo>
                      <a:close/>
                    </a:path>
                  </a:pathLst>
                </a:custGeom>
                <a:grpFill/>
                <a:ln w="6350">
                  <a:solidFill>
                    <a:schemeClr val="folHlink"/>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grpSp>
        </p:grpSp>
        <p:grpSp>
          <p:nvGrpSpPr>
            <p:cNvPr id="27" name="Group 26" descr="Good">
              <a:extLst>
                <a:ext uri="{FF2B5EF4-FFF2-40B4-BE49-F238E27FC236}">
                  <a16:creationId xmlns:a16="http://schemas.microsoft.com/office/drawing/2014/main" id="{AE100EDC-DEBF-41BA-BCEC-D18618B9EF92}"/>
                </a:ext>
              </a:extLst>
            </p:cNvPr>
            <p:cNvGrpSpPr/>
            <p:nvPr/>
          </p:nvGrpSpPr>
          <p:grpSpPr>
            <a:xfrm>
              <a:off x="1393400" y="4737280"/>
              <a:ext cx="344528" cy="887558"/>
              <a:chOff x="1356628" y="4894097"/>
              <a:chExt cx="344528" cy="887558"/>
            </a:xfrm>
          </p:grpSpPr>
          <p:sp>
            <p:nvSpPr>
              <p:cNvPr id="140" name="Rectangle 11">
                <a:extLst>
                  <a:ext uri="{FF2B5EF4-FFF2-40B4-BE49-F238E27FC236}">
                    <a16:creationId xmlns:a16="http://schemas.microsoft.com/office/drawing/2014/main" id="{3CF7DF2A-6E9A-44C0-AB09-A083C14C0D27}"/>
                  </a:ext>
                </a:extLst>
              </p:cNvPr>
              <p:cNvSpPr>
                <a:spLocks noChangeAspect="1" noChangeArrowheads="1"/>
              </p:cNvSpPr>
              <p:nvPr/>
            </p:nvSpPr>
            <p:spPr bwMode="auto">
              <a:xfrm>
                <a:off x="1356628" y="4894097"/>
                <a:ext cx="344528" cy="165853"/>
              </a:xfrm>
              <a:prstGeom prst="rect">
                <a:avLst/>
              </a:prstGeom>
              <a:noFill/>
              <a:ln w="6350">
                <a:noFill/>
                <a:miter lim="800000"/>
                <a:headEnd/>
                <a:tailEnd/>
              </a:ln>
              <a:effectLst/>
            </p:spPr>
            <p:txBody>
              <a:bodyPr wrap="none" lIns="0" tIns="0" rIns="0" bIns="0" anchor="ctr">
                <a:spAutoFit/>
              </a:bodyPr>
              <a:lstStyle/>
              <a:p>
                <a:pPr algn="l" eaLnBrk="0" hangingPunct="0">
                  <a:spcBef>
                    <a:spcPct val="0"/>
                  </a:spcBef>
                </a:pPr>
                <a:r>
                  <a:rPr lang="pt-BR" sz="1000" noProof="1">
                    <a:latin typeface="Graphik" panose="020B0503030202060203" pitchFamily="34" charset="77"/>
                  </a:rPr>
                  <a:t>Good</a:t>
                </a:r>
              </a:p>
            </p:txBody>
          </p:sp>
          <p:sp>
            <p:nvSpPr>
              <p:cNvPr id="142" name="Rectangle 28">
                <a:extLst>
                  <a:ext uri="{FF2B5EF4-FFF2-40B4-BE49-F238E27FC236}">
                    <a16:creationId xmlns:a16="http://schemas.microsoft.com/office/drawing/2014/main" id="{EFA6DA67-1542-43BC-A22A-1862C98C4762}"/>
                  </a:ext>
                </a:extLst>
              </p:cNvPr>
              <p:cNvSpPr>
                <a:spLocks noChangeAspect="1" noChangeArrowheads="1"/>
              </p:cNvSpPr>
              <p:nvPr/>
            </p:nvSpPr>
            <p:spPr bwMode="auto">
              <a:xfrm>
                <a:off x="1380673" y="5615802"/>
                <a:ext cx="293910" cy="165853"/>
              </a:xfrm>
              <a:prstGeom prst="rect">
                <a:avLst/>
              </a:prstGeom>
              <a:noFill/>
              <a:ln w="6350">
                <a:noFill/>
                <a:miter lim="800000"/>
                <a:headEnd/>
                <a:tailEnd/>
              </a:ln>
              <a:effectLst/>
            </p:spPr>
            <p:txBody>
              <a:bodyPr wrap="none" lIns="0" tIns="0" rIns="0" bIns="0" anchor="ctr">
                <a:spAutoFit/>
              </a:bodyPr>
              <a:lstStyle/>
              <a:p>
                <a:pPr algn="l" eaLnBrk="0" hangingPunct="0">
                  <a:spcBef>
                    <a:spcPct val="0"/>
                  </a:spcBef>
                </a:pPr>
                <a:r>
                  <a:rPr lang="pt-BR" sz="1000" noProof="1">
                    <a:latin typeface="Graphik" panose="020B0503030202060203" pitchFamily="34" charset="77"/>
                  </a:rPr>
                  <a:t>High</a:t>
                </a:r>
              </a:p>
            </p:txBody>
          </p:sp>
          <p:grpSp>
            <p:nvGrpSpPr>
              <p:cNvPr id="212" name="Group 136">
                <a:extLst>
                  <a:ext uri="{FF2B5EF4-FFF2-40B4-BE49-F238E27FC236}">
                    <a16:creationId xmlns:a16="http://schemas.microsoft.com/office/drawing/2014/main" id="{3B2AB5A7-5D4B-6042-9B83-E5B1272B6E96}"/>
                  </a:ext>
                </a:extLst>
              </p:cNvPr>
              <p:cNvGrpSpPr>
                <a:grpSpLocks/>
              </p:cNvGrpSpPr>
              <p:nvPr/>
            </p:nvGrpSpPr>
            <p:grpSpPr bwMode="auto">
              <a:xfrm>
                <a:off x="1386435" y="5218910"/>
                <a:ext cx="252909" cy="274324"/>
                <a:chOff x="1387" y="1872"/>
                <a:chExt cx="209" cy="232"/>
              </a:xfrm>
            </p:grpSpPr>
            <p:sp>
              <p:nvSpPr>
                <p:cNvPr id="213" name="Oval 137">
                  <a:extLst>
                    <a:ext uri="{FF2B5EF4-FFF2-40B4-BE49-F238E27FC236}">
                      <a16:creationId xmlns:a16="http://schemas.microsoft.com/office/drawing/2014/main" id="{127E031E-EDB8-354A-81FA-30710A312DE7}"/>
                    </a:ext>
                  </a:extLst>
                </p:cNvPr>
                <p:cNvSpPr>
                  <a:spLocks noChangeArrowheads="1"/>
                </p:cNvSpPr>
                <p:nvPr/>
              </p:nvSpPr>
              <p:spPr bwMode="auto">
                <a:xfrm>
                  <a:off x="1387" y="1872"/>
                  <a:ext cx="209" cy="231"/>
                </a:xfrm>
                <a:prstGeom prst="ellipse">
                  <a:avLst/>
                </a:prstGeom>
                <a:solidFill>
                  <a:srgbClr val="FFFFFF"/>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214" name="Arc 138">
                  <a:extLst>
                    <a:ext uri="{FF2B5EF4-FFF2-40B4-BE49-F238E27FC236}">
                      <a16:creationId xmlns:a16="http://schemas.microsoft.com/office/drawing/2014/main" id="{CADEAFBB-4BA9-AB49-8F40-3A4C4E33E7D0}"/>
                    </a:ext>
                  </a:extLst>
                </p:cNvPr>
                <p:cNvSpPr>
                  <a:spLocks/>
                </p:cNvSpPr>
                <p:nvPr/>
              </p:nvSpPr>
              <p:spPr bwMode="auto">
                <a:xfrm>
                  <a:off x="1388" y="1872"/>
                  <a:ext cx="208" cy="232"/>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grpSp>
        </p:grpSp>
        <p:grpSp>
          <p:nvGrpSpPr>
            <p:cNvPr id="28" name="Group 27" descr="Satisfactory">
              <a:extLst>
                <a:ext uri="{FF2B5EF4-FFF2-40B4-BE49-F238E27FC236}">
                  <a16:creationId xmlns:a16="http://schemas.microsoft.com/office/drawing/2014/main" id="{0B6CA3F8-1869-405D-8860-6EAE479BFD46}"/>
                </a:ext>
              </a:extLst>
            </p:cNvPr>
            <p:cNvGrpSpPr/>
            <p:nvPr/>
          </p:nvGrpSpPr>
          <p:grpSpPr>
            <a:xfrm>
              <a:off x="2077476" y="4737280"/>
              <a:ext cx="744572" cy="887558"/>
              <a:chOff x="2040704" y="4894097"/>
              <a:chExt cx="744572" cy="887558"/>
            </a:xfrm>
          </p:grpSpPr>
          <p:sp>
            <p:nvSpPr>
              <p:cNvPr id="146" name="Rectangle 8">
                <a:extLst>
                  <a:ext uri="{FF2B5EF4-FFF2-40B4-BE49-F238E27FC236}">
                    <a16:creationId xmlns:a16="http://schemas.microsoft.com/office/drawing/2014/main" id="{674128CB-0F3F-4CDF-B75C-79BCEE9522F8}"/>
                  </a:ext>
                </a:extLst>
              </p:cNvPr>
              <p:cNvSpPr>
                <a:spLocks noChangeAspect="1" noChangeArrowheads="1"/>
              </p:cNvSpPr>
              <p:nvPr/>
            </p:nvSpPr>
            <p:spPr bwMode="auto">
              <a:xfrm>
                <a:off x="2040704" y="4894097"/>
                <a:ext cx="744572" cy="165853"/>
              </a:xfrm>
              <a:prstGeom prst="rect">
                <a:avLst/>
              </a:prstGeom>
              <a:noFill/>
              <a:ln w="6350">
                <a:noFill/>
                <a:miter lim="800000"/>
                <a:headEnd/>
                <a:tailEnd/>
              </a:ln>
              <a:effectLst/>
            </p:spPr>
            <p:txBody>
              <a:bodyPr wrap="none" lIns="0" tIns="0" rIns="0" bIns="0" anchor="ctr">
                <a:spAutoFit/>
              </a:bodyPr>
              <a:lstStyle/>
              <a:p>
                <a:pPr algn="l" eaLnBrk="0" hangingPunct="0">
                  <a:spcBef>
                    <a:spcPct val="0"/>
                  </a:spcBef>
                </a:pPr>
                <a:r>
                  <a:rPr lang="pt-BR" sz="1000" noProof="1">
                    <a:latin typeface="Graphik" panose="020B0503030202060203" pitchFamily="34" charset="77"/>
                  </a:rPr>
                  <a:t>Satisfactory</a:t>
                </a:r>
              </a:p>
            </p:txBody>
          </p:sp>
          <p:sp>
            <p:nvSpPr>
              <p:cNvPr id="148" name="Rectangle 25">
                <a:extLst>
                  <a:ext uri="{FF2B5EF4-FFF2-40B4-BE49-F238E27FC236}">
                    <a16:creationId xmlns:a16="http://schemas.microsoft.com/office/drawing/2014/main" id="{EC2F074A-60AE-4325-A8C6-75D690B8B749}"/>
                  </a:ext>
                </a:extLst>
              </p:cNvPr>
              <p:cNvSpPr>
                <a:spLocks noChangeAspect="1" noChangeArrowheads="1"/>
              </p:cNvSpPr>
              <p:nvPr/>
            </p:nvSpPr>
            <p:spPr bwMode="auto">
              <a:xfrm>
                <a:off x="2146503" y="5615802"/>
                <a:ext cx="504545" cy="165853"/>
              </a:xfrm>
              <a:prstGeom prst="rect">
                <a:avLst/>
              </a:prstGeom>
              <a:noFill/>
              <a:ln w="6350">
                <a:noFill/>
                <a:miter lim="800000"/>
                <a:headEnd/>
                <a:tailEnd/>
              </a:ln>
              <a:effectLst/>
            </p:spPr>
            <p:txBody>
              <a:bodyPr wrap="none" lIns="0" tIns="0" rIns="0" bIns="0" anchor="ctr">
                <a:spAutoFit/>
              </a:bodyPr>
              <a:lstStyle/>
              <a:p>
                <a:pPr algn="l" eaLnBrk="0" hangingPunct="0">
                  <a:spcBef>
                    <a:spcPct val="0"/>
                  </a:spcBef>
                </a:pPr>
                <a:r>
                  <a:rPr lang="pt-BR" sz="1000" noProof="1">
                    <a:latin typeface="Graphik" panose="020B0503030202060203" pitchFamily="34" charset="77"/>
                  </a:rPr>
                  <a:t>Medium</a:t>
                </a:r>
              </a:p>
            </p:txBody>
          </p:sp>
          <p:grpSp>
            <p:nvGrpSpPr>
              <p:cNvPr id="215" name="Group 148">
                <a:extLst>
                  <a:ext uri="{FF2B5EF4-FFF2-40B4-BE49-F238E27FC236}">
                    <a16:creationId xmlns:a16="http://schemas.microsoft.com/office/drawing/2014/main" id="{AA8C55DE-CAF3-E94A-9EBA-38BDC9CD3AFF}"/>
                  </a:ext>
                </a:extLst>
              </p:cNvPr>
              <p:cNvGrpSpPr>
                <a:grpSpLocks/>
              </p:cNvGrpSpPr>
              <p:nvPr/>
            </p:nvGrpSpPr>
            <p:grpSpPr bwMode="auto">
              <a:xfrm>
                <a:off x="2231089" y="5218910"/>
                <a:ext cx="251376" cy="274324"/>
                <a:chOff x="3500" y="1580"/>
                <a:chExt cx="209" cy="232"/>
              </a:xfrm>
            </p:grpSpPr>
            <p:sp>
              <p:nvSpPr>
                <p:cNvPr id="216" name="Oval 149">
                  <a:extLst>
                    <a:ext uri="{FF2B5EF4-FFF2-40B4-BE49-F238E27FC236}">
                      <a16:creationId xmlns:a16="http://schemas.microsoft.com/office/drawing/2014/main" id="{BE14195E-F754-6546-B27F-C9F25DCDBCD7}"/>
                    </a:ext>
                  </a:extLst>
                </p:cNvPr>
                <p:cNvSpPr>
                  <a:spLocks noChangeArrowheads="1"/>
                </p:cNvSpPr>
                <p:nvPr/>
              </p:nvSpPr>
              <p:spPr bwMode="auto">
                <a:xfrm>
                  <a:off x="3500" y="1580"/>
                  <a:ext cx="209" cy="231"/>
                </a:xfrm>
                <a:prstGeom prst="ellipse">
                  <a:avLst/>
                </a:prstGeom>
                <a:solidFill>
                  <a:srgbClr val="FFFFFF"/>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217" name="Arc 150">
                  <a:extLst>
                    <a:ext uri="{FF2B5EF4-FFF2-40B4-BE49-F238E27FC236}">
                      <a16:creationId xmlns:a16="http://schemas.microsoft.com/office/drawing/2014/main" id="{FE05A54D-584C-D94F-B636-A3E66F712FAA}"/>
                    </a:ext>
                  </a:extLst>
                </p:cNvPr>
                <p:cNvSpPr>
                  <a:spLocks/>
                </p:cNvSpPr>
                <p:nvPr/>
              </p:nvSpPr>
              <p:spPr bwMode="auto">
                <a:xfrm>
                  <a:off x="3605" y="1580"/>
                  <a:ext cx="104" cy="232"/>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grpSp>
        </p:grpSp>
        <p:grpSp>
          <p:nvGrpSpPr>
            <p:cNvPr id="29" name="Group 28" descr="Poor">
              <a:extLst>
                <a:ext uri="{FF2B5EF4-FFF2-40B4-BE49-F238E27FC236}">
                  <a16:creationId xmlns:a16="http://schemas.microsoft.com/office/drawing/2014/main" id="{7D4038B6-5DC1-401A-ADBA-46AD1C633675}"/>
                </a:ext>
              </a:extLst>
            </p:cNvPr>
            <p:cNvGrpSpPr/>
            <p:nvPr/>
          </p:nvGrpSpPr>
          <p:grpSpPr>
            <a:xfrm>
              <a:off x="3119471" y="4737280"/>
              <a:ext cx="289500" cy="887558"/>
              <a:chOff x="3082699" y="4894097"/>
              <a:chExt cx="289500" cy="887558"/>
            </a:xfrm>
          </p:grpSpPr>
          <p:sp>
            <p:nvSpPr>
              <p:cNvPr id="143" name="Rectangle 9">
                <a:extLst>
                  <a:ext uri="{FF2B5EF4-FFF2-40B4-BE49-F238E27FC236}">
                    <a16:creationId xmlns:a16="http://schemas.microsoft.com/office/drawing/2014/main" id="{A7EBF1C8-D3FD-40DA-9D4E-4DE3F9D68525}"/>
                  </a:ext>
                </a:extLst>
              </p:cNvPr>
              <p:cNvSpPr>
                <a:spLocks noChangeAspect="1" noChangeArrowheads="1"/>
              </p:cNvSpPr>
              <p:nvPr/>
            </p:nvSpPr>
            <p:spPr bwMode="auto">
              <a:xfrm flipH="1">
                <a:off x="3084820" y="4894097"/>
                <a:ext cx="287379" cy="165853"/>
              </a:xfrm>
              <a:prstGeom prst="rect">
                <a:avLst/>
              </a:prstGeom>
              <a:noFill/>
              <a:ln w="6350">
                <a:noFill/>
                <a:miter lim="800000"/>
                <a:headEnd/>
                <a:tailEnd/>
              </a:ln>
              <a:effectLst/>
            </p:spPr>
            <p:txBody>
              <a:bodyPr wrap="none" lIns="0" tIns="0" rIns="0" bIns="0" anchor="ctr">
                <a:spAutoFit/>
              </a:bodyPr>
              <a:lstStyle/>
              <a:p>
                <a:pPr algn="l" eaLnBrk="0" hangingPunct="0">
                  <a:spcBef>
                    <a:spcPct val="0"/>
                  </a:spcBef>
                </a:pPr>
                <a:r>
                  <a:rPr lang="pt-BR" sz="1000" noProof="1">
                    <a:latin typeface="Graphik" panose="020B0503030202060203" pitchFamily="34" charset="77"/>
                  </a:rPr>
                  <a:t>Poor</a:t>
                </a:r>
              </a:p>
            </p:txBody>
          </p:sp>
          <p:sp>
            <p:nvSpPr>
              <p:cNvPr id="145" name="Rectangle 26">
                <a:extLst>
                  <a:ext uri="{FF2B5EF4-FFF2-40B4-BE49-F238E27FC236}">
                    <a16:creationId xmlns:a16="http://schemas.microsoft.com/office/drawing/2014/main" id="{423DF92F-E5FC-45AB-8A3A-AA65CEEA4EA2}"/>
                  </a:ext>
                </a:extLst>
              </p:cNvPr>
              <p:cNvSpPr>
                <a:spLocks noChangeAspect="1" noChangeArrowheads="1"/>
              </p:cNvSpPr>
              <p:nvPr/>
            </p:nvSpPr>
            <p:spPr bwMode="auto">
              <a:xfrm flipH="1">
                <a:off x="3102454" y="5615802"/>
                <a:ext cx="256355" cy="165853"/>
              </a:xfrm>
              <a:prstGeom prst="rect">
                <a:avLst/>
              </a:prstGeom>
              <a:noFill/>
              <a:ln w="6350">
                <a:noFill/>
                <a:miter lim="800000"/>
                <a:headEnd/>
                <a:tailEnd/>
              </a:ln>
              <a:effectLst/>
            </p:spPr>
            <p:txBody>
              <a:bodyPr wrap="none" lIns="0" tIns="0" rIns="0" bIns="0" anchor="ctr">
                <a:spAutoFit/>
              </a:bodyPr>
              <a:lstStyle/>
              <a:p>
                <a:pPr algn="l" eaLnBrk="0" hangingPunct="0">
                  <a:spcBef>
                    <a:spcPct val="0"/>
                  </a:spcBef>
                </a:pPr>
                <a:r>
                  <a:rPr lang="pt-BR" sz="1000" noProof="1">
                    <a:latin typeface="Graphik" panose="020B0503030202060203" pitchFamily="34" charset="77"/>
                  </a:rPr>
                  <a:t>Low</a:t>
                </a:r>
              </a:p>
            </p:txBody>
          </p:sp>
          <p:grpSp>
            <p:nvGrpSpPr>
              <p:cNvPr id="218" name="Group 154">
                <a:extLst>
                  <a:ext uri="{FF2B5EF4-FFF2-40B4-BE49-F238E27FC236}">
                    <a16:creationId xmlns:a16="http://schemas.microsoft.com/office/drawing/2014/main" id="{75D69BA7-A2AB-4043-A958-83E0F8694570}"/>
                  </a:ext>
                </a:extLst>
              </p:cNvPr>
              <p:cNvGrpSpPr>
                <a:grpSpLocks/>
              </p:cNvGrpSpPr>
              <p:nvPr/>
            </p:nvGrpSpPr>
            <p:grpSpPr bwMode="auto">
              <a:xfrm>
                <a:off x="3082699" y="5218914"/>
                <a:ext cx="251376" cy="274449"/>
                <a:chOff x="2444" y="1871"/>
                <a:chExt cx="209" cy="231"/>
              </a:xfrm>
            </p:grpSpPr>
            <p:sp>
              <p:nvSpPr>
                <p:cNvPr id="219" name="Oval 155">
                  <a:extLst>
                    <a:ext uri="{FF2B5EF4-FFF2-40B4-BE49-F238E27FC236}">
                      <a16:creationId xmlns:a16="http://schemas.microsoft.com/office/drawing/2014/main" id="{AE7364AF-22F7-EA47-A382-4A0907353663}"/>
                    </a:ext>
                  </a:extLst>
                </p:cNvPr>
                <p:cNvSpPr>
                  <a:spLocks noChangeArrowheads="1"/>
                </p:cNvSpPr>
                <p:nvPr/>
              </p:nvSpPr>
              <p:spPr bwMode="auto">
                <a:xfrm>
                  <a:off x="2444" y="1871"/>
                  <a:ext cx="209" cy="231"/>
                </a:xfrm>
                <a:prstGeom prst="ellipse">
                  <a:avLst/>
                </a:prstGeom>
                <a:solidFill>
                  <a:srgbClr val="FFFFFF"/>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220" name="Arc 156">
                  <a:extLst>
                    <a:ext uri="{FF2B5EF4-FFF2-40B4-BE49-F238E27FC236}">
                      <a16:creationId xmlns:a16="http://schemas.microsoft.com/office/drawing/2014/main" id="{5E4329C7-821C-0544-854F-036B3AB11DAE}"/>
                    </a:ext>
                  </a:extLst>
                </p:cNvPr>
                <p:cNvSpPr>
                  <a:spLocks/>
                </p:cNvSpPr>
                <p:nvPr/>
              </p:nvSpPr>
              <p:spPr bwMode="auto">
                <a:xfrm>
                  <a:off x="2549" y="1871"/>
                  <a:ext cx="104" cy="116"/>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grpSp>
        </p:grpSp>
        <p:grpSp>
          <p:nvGrpSpPr>
            <p:cNvPr id="30" name="Group 29" descr="Very Poor">
              <a:extLst>
                <a:ext uri="{FF2B5EF4-FFF2-40B4-BE49-F238E27FC236}">
                  <a16:creationId xmlns:a16="http://schemas.microsoft.com/office/drawing/2014/main" id="{151CB131-583B-4531-BC75-2AC1C412A19C}"/>
                </a:ext>
              </a:extLst>
            </p:cNvPr>
            <p:cNvGrpSpPr/>
            <p:nvPr/>
          </p:nvGrpSpPr>
          <p:grpSpPr>
            <a:xfrm>
              <a:off x="3769664" y="4737280"/>
              <a:ext cx="610680" cy="887558"/>
              <a:chOff x="3732892" y="4894097"/>
              <a:chExt cx="610680" cy="887558"/>
            </a:xfrm>
          </p:grpSpPr>
          <p:sp>
            <p:nvSpPr>
              <p:cNvPr id="150" name="Rectangle 10">
                <a:extLst>
                  <a:ext uri="{FF2B5EF4-FFF2-40B4-BE49-F238E27FC236}">
                    <a16:creationId xmlns:a16="http://schemas.microsoft.com/office/drawing/2014/main" id="{B3754EE3-791D-4688-AA7D-736F92D2019B}"/>
                  </a:ext>
                </a:extLst>
              </p:cNvPr>
              <p:cNvSpPr>
                <a:spLocks noChangeAspect="1" noChangeArrowheads="1"/>
              </p:cNvSpPr>
              <p:nvPr/>
            </p:nvSpPr>
            <p:spPr bwMode="auto">
              <a:xfrm>
                <a:off x="3732892" y="4894097"/>
                <a:ext cx="610680" cy="165853"/>
              </a:xfrm>
              <a:prstGeom prst="rect">
                <a:avLst/>
              </a:prstGeom>
              <a:noFill/>
              <a:ln w="6350">
                <a:noFill/>
                <a:miter lim="800000"/>
                <a:headEnd/>
                <a:tailEnd/>
              </a:ln>
              <a:effectLst/>
            </p:spPr>
            <p:txBody>
              <a:bodyPr wrap="none" lIns="0" tIns="0" rIns="0" bIns="0" anchor="ctr">
                <a:spAutoFit/>
              </a:bodyPr>
              <a:lstStyle/>
              <a:p>
                <a:pPr algn="l" eaLnBrk="0" hangingPunct="0">
                  <a:spcBef>
                    <a:spcPct val="0"/>
                  </a:spcBef>
                </a:pPr>
                <a:r>
                  <a:rPr lang="pt-BR" sz="1000" noProof="1">
                    <a:latin typeface="Graphik" panose="020B0503030202060203" pitchFamily="34" charset="77"/>
                  </a:rPr>
                  <a:t>Very poor</a:t>
                </a:r>
              </a:p>
            </p:txBody>
          </p:sp>
          <p:sp>
            <p:nvSpPr>
              <p:cNvPr id="151" name="Rectangle 27">
                <a:extLst>
                  <a:ext uri="{FF2B5EF4-FFF2-40B4-BE49-F238E27FC236}">
                    <a16:creationId xmlns:a16="http://schemas.microsoft.com/office/drawing/2014/main" id="{A057E81D-9BBC-445E-8C97-EDEA684B2514}"/>
                  </a:ext>
                </a:extLst>
              </p:cNvPr>
              <p:cNvSpPr>
                <a:spLocks noChangeAspect="1" noChangeArrowheads="1"/>
              </p:cNvSpPr>
              <p:nvPr/>
            </p:nvSpPr>
            <p:spPr bwMode="auto">
              <a:xfrm>
                <a:off x="3746519" y="5615802"/>
                <a:ext cx="569860" cy="165853"/>
              </a:xfrm>
              <a:prstGeom prst="rect">
                <a:avLst/>
              </a:prstGeom>
              <a:noFill/>
              <a:ln w="6350">
                <a:noFill/>
                <a:miter lim="800000"/>
                <a:headEnd/>
                <a:tailEnd/>
              </a:ln>
              <a:effectLst/>
            </p:spPr>
            <p:txBody>
              <a:bodyPr wrap="none" lIns="0" tIns="0" rIns="0" bIns="0" anchor="ctr">
                <a:spAutoFit/>
              </a:bodyPr>
              <a:lstStyle/>
              <a:p>
                <a:pPr algn="l" eaLnBrk="0" hangingPunct="0">
                  <a:spcBef>
                    <a:spcPct val="0"/>
                  </a:spcBef>
                </a:pPr>
                <a:r>
                  <a:rPr lang="pt-BR" sz="1000" noProof="1">
                    <a:latin typeface="Graphik" panose="020B0503030202060203" pitchFamily="34" charset="77"/>
                  </a:rPr>
                  <a:t>Very low </a:t>
                </a:r>
              </a:p>
            </p:txBody>
          </p:sp>
          <p:grpSp>
            <p:nvGrpSpPr>
              <p:cNvPr id="206" name="Group 151">
                <a:extLst>
                  <a:ext uri="{FF2B5EF4-FFF2-40B4-BE49-F238E27FC236}">
                    <a16:creationId xmlns:a16="http://schemas.microsoft.com/office/drawing/2014/main" id="{C91572F6-0529-D041-9DCE-E8B9AC17C940}"/>
                  </a:ext>
                </a:extLst>
              </p:cNvPr>
              <p:cNvGrpSpPr>
                <a:grpSpLocks/>
              </p:cNvGrpSpPr>
              <p:nvPr/>
            </p:nvGrpSpPr>
            <p:grpSpPr bwMode="auto">
              <a:xfrm>
                <a:off x="3896116" y="5218913"/>
                <a:ext cx="251376" cy="273142"/>
                <a:chOff x="3500" y="1868"/>
                <a:chExt cx="209" cy="231"/>
              </a:xfrm>
            </p:grpSpPr>
            <p:sp>
              <p:nvSpPr>
                <p:cNvPr id="207" name="Oval 152">
                  <a:extLst>
                    <a:ext uri="{FF2B5EF4-FFF2-40B4-BE49-F238E27FC236}">
                      <a16:creationId xmlns:a16="http://schemas.microsoft.com/office/drawing/2014/main" id="{3D531D3C-925C-644D-93C0-005E1999FA38}"/>
                    </a:ext>
                  </a:extLst>
                </p:cNvPr>
                <p:cNvSpPr>
                  <a:spLocks noChangeArrowheads="1"/>
                </p:cNvSpPr>
                <p:nvPr/>
              </p:nvSpPr>
              <p:spPr bwMode="auto">
                <a:xfrm>
                  <a:off x="3500" y="1868"/>
                  <a:ext cx="209" cy="231"/>
                </a:xfrm>
                <a:prstGeom prst="ellipse">
                  <a:avLst/>
                </a:prstGeom>
                <a:solidFill>
                  <a:srgbClr val="FFFFFF"/>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208" name="Arc 153">
                  <a:extLst>
                    <a:ext uri="{FF2B5EF4-FFF2-40B4-BE49-F238E27FC236}">
                      <a16:creationId xmlns:a16="http://schemas.microsoft.com/office/drawing/2014/main" id="{0962826C-9712-864D-A4CA-3A604EFAC769}"/>
                    </a:ext>
                  </a:extLst>
                </p:cNvPr>
                <p:cNvSpPr>
                  <a:spLocks/>
                </p:cNvSpPr>
                <p:nvPr/>
              </p:nvSpPr>
              <p:spPr bwMode="auto">
                <a:xfrm>
                  <a:off x="3501" y="1868"/>
                  <a:ext cx="208" cy="210"/>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path>
                    <a:path w="43200" h="43200" stroke="0" extrusionOk="0">
                      <a:moveTo>
                        <a:pt x="21599" y="0"/>
                      </a:moveTo>
                      <a:lnTo>
                        <a:pt x="21600" y="21600"/>
                      </a:lnTo>
                      <a:close/>
                    </a:path>
                  </a:pathLst>
                </a:custGeom>
                <a:solidFill>
                  <a:srgbClr val="000000"/>
                </a:solidFill>
                <a:ln w="6350">
                  <a:solidFill>
                    <a:schemeClr val="folHlink"/>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grpSp>
        </p:grpSp>
      </p:grpSp>
    </p:spTree>
    <p:extLst>
      <p:ext uri="{BB962C8B-B14F-4D97-AF65-F5344CB8AC3E}">
        <p14:creationId xmlns:p14="http://schemas.microsoft.com/office/powerpoint/2010/main" val="2950670021"/>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751B896-2A51-B4D8-4138-CAE4C173B4A4}"/>
              </a:ext>
            </a:extLst>
          </p:cNvPr>
          <p:cNvGraphicFramePr>
            <a:graphicFrameLocks noChangeAspect="1"/>
          </p:cNvGraphicFramePr>
          <p:nvPr>
            <p:custDataLst>
              <p:tags r:id="rId1"/>
            </p:custDataLst>
            <p:extLst>
              <p:ext uri="{D42A27DB-BD31-4B8C-83A1-F6EECF244321}">
                <p14:modId xmlns:p14="http://schemas.microsoft.com/office/powerpoint/2010/main" val="2820496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10" name="think-cell data - do not delete" hidden="1">
                        <a:extLst>
                          <a:ext uri="{FF2B5EF4-FFF2-40B4-BE49-F238E27FC236}">
                            <a16:creationId xmlns:a16="http://schemas.microsoft.com/office/drawing/2014/main" id="{E751B896-2A51-B4D8-4138-CAE4C173B4A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vert="horz"/>
          <a:lstStyle/>
          <a:p>
            <a:r>
              <a:rPr lang="pt-BR" noProof="1"/>
              <a:t>Scoring with stars</a:t>
            </a:r>
          </a:p>
        </p:txBody>
      </p:sp>
      <p:grpSp>
        <p:nvGrpSpPr>
          <p:cNvPr id="134" name="Group 133" descr="Example of a star rating scoring matrix. Options are evaluated against multiple criteria using a 5-star rating scale, ranging from 'Very Poor' (1 star) to 'Excellent' (5 stars)">
            <a:extLst>
              <a:ext uri="{FF2B5EF4-FFF2-40B4-BE49-F238E27FC236}">
                <a16:creationId xmlns:a16="http://schemas.microsoft.com/office/drawing/2014/main" id="{64B84429-66E2-484F-979D-210FE78D2BFD}"/>
              </a:ext>
            </a:extLst>
          </p:cNvPr>
          <p:cNvGrpSpPr/>
          <p:nvPr/>
        </p:nvGrpSpPr>
        <p:grpSpPr>
          <a:xfrm>
            <a:off x="556467" y="1293970"/>
            <a:ext cx="10932822" cy="3247978"/>
            <a:chOff x="344775" y="1362569"/>
            <a:chExt cx="11465591" cy="3559627"/>
          </a:xfrm>
        </p:grpSpPr>
        <p:grpSp>
          <p:nvGrpSpPr>
            <p:cNvPr id="3" name="Group 2" descr="Options">
              <a:extLst>
                <a:ext uri="{FF2B5EF4-FFF2-40B4-BE49-F238E27FC236}">
                  <a16:creationId xmlns:a16="http://schemas.microsoft.com/office/drawing/2014/main" id="{BF0F7CF6-BBF7-479B-9C8B-35C05A312EC6}"/>
                </a:ext>
              </a:extLst>
            </p:cNvPr>
            <p:cNvGrpSpPr/>
            <p:nvPr/>
          </p:nvGrpSpPr>
          <p:grpSpPr>
            <a:xfrm>
              <a:off x="344775" y="1362569"/>
              <a:ext cx="2259094" cy="1555730"/>
              <a:chOff x="344775" y="1362569"/>
              <a:chExt cx="2304000" cy="1529012"/>
            </a:xfrm>
          </p:grpSpPr>
          <p:sp>
            <p:nvSpPr>
              <p:cNvPr id="29" name="Rectangle 87">
                <a:extLst>
                  <a:ext uri="{FF2B5EF4-FFF2-40B4-BE49-F238E27FC236}">
                    <a16:creationId xmlns:a16="http://schemas.microsoft.com/office/drawing/2014/main" id="{51469D7F-96D9-4C74-B2EA-088BAD65F295}"/>
                  </a:ext>
                </a:extLst>
              </p:cNvPr>
              <p:cNvSpPr>
                <a:spLocks noChangeArrowheads="1"/>
              </p:cNvSpPr>
              <p:nvPr/>
            </p:nvSpPr>
            <p:spPr bwMode="auto">
              <a:xfrm>
                <a:off x="344775" y="1804009"/>
                <a:ext cx="2304000" cy="540000"/>
              </a:xfrm>
              <a:prstGeom prst="rect">
                <a:avLst/>
              </a:prstGeom>
              <a:solidFill>
                <a:srgbClr val="E4E7E7"/>
              </a:solidFill>
              <a:ln w="6350">
                <a:solidFill>
                  <a:srgbClr val="FFFFFF"/>
                </a:solidFill>
                <a:miter lim="800000"/>
                <a:headEnd/>
                <a:tailEnd/>
              </a:ln>
              <a:effectLst/>
            </p:spPr>
            <p:txBody>
              <a:bodyPr lIns="144000" tIns="72000" rIns="108000" bIns="72000" anchor="ctr"/>
              <a:lstStyle/>
              <a:p>
                <a:pPr eaLnBrk="0" hangingPunct="0">
                  <a:spcBef>
                    <a:spcPct val="0"/>
                  </a:spcBef>
                  <a:defRPr/>
                </a:pPr>
                <a:r>
                  <a:rPr lang="pt-BR" sz="1200" kern="0" noProof="1">
                    <a:solidFill>
                      <a:srgbClr val="000000"/>
                    </a:solidFill>
                    <a:latin typeface="Graphik" panose="020B0503030202060203" pitchFamily="34" charset="77"/>
                  </a:rPr>
                  <a:t>Option 1</a:t>
                </a:r>
              </a:p>
            </p:txBody>
          </p:sp>
          <p:sp>
            <p:nvSpPr>
              <p:cNvPr id="31" name="Rectangle 93">
                <a:extLst>
                  <a:ext uri="{FF2B5EF4-FFF2-40B4-BE49-F238E27FC236}">
                    <a16:creationId xmlns:a16="http://schemas.microsoft.com/office/drawing/2014/main" id="{3CD43278-CBF6-4FD4-BBBC-0D6DA8181D0F}"/>
                  </a:ext>
                </a:extLst>
              </p:cNvPr>
              <p:cNvSpPr>
                <a:spLocks noChangeArrowheads="1"/>
              </p:cNvSpPr>
              <p:nvPr/>
            </p:nvSpPr>
            <p:spPr bwMode="auto">
              <a:xfrm>
                <a:off x="344775" y="2351581"/>
                <a:ext cx="2304000" cy="540000"/>
              </a:xfrm>
              <a:prstGeom prst="rect">
                <a:avLst/>
              </a:prstGeom>
              <a:solidFill>
                <a:srgbClr val="E4E7E7"/>
              </a:solidFill>
              <a:ln w="6350">
                <a:solidFill>
                  <a:srgbClr val="FFFFFF"/>
                </a:solidFill>
                <a:miter lim="800000"/>
                <a:headEnd/>
                <a:tailEnd/>
              </a:ln>
              <a:effectLst/>
            </p:spPr>
            <p:txBody>
              <a:bodyPr lIns="144000" tIns="72000" rIns="108000" bIns="72000" anchor="ctr"/>
              <a:lstStyle/>
              <a:p>
                <a:pPr eaLnBrk="0" hangingPunct="0">
                  <a:spcBef>
                    <a:spcPct val="0"/>
                  </a:spcBef>
                  <a:defRPr/>
                </a:pPr>
                <a:r>
                  <a:rPr lang="pt-BR" sz="1200" kern="0" noProof="1">
                    <a:solidFill>
                      <a:srgbClr val="000000"/>
                    </a:solidFill>
                    <a:latin typeface="Graphik" panose="020B0503030202060203" pitchFamily="34" charset="77"/>
                  </a:rPr>
                  <a:t>Option 2</a:t>
                </a:r>
              </a:p>
            </p:txBody>
          </p:sp>
          <p:sp>
            <p:nvSpPr>
              <p:cNvPr id="183" name="Rectangle 92">
                <a:extLst>
                  <a:ext uri="{FF2B5EF4-FFF2-40B4-BE49-F238E27FC236}">
                    <a16:creationId xmlns:a16="http://schemas.microsoft.com/office/drawing/2014/main" id="{056D1FD5-39AC-487C-9C97-0637DBBE732D}"/>
                  </a:ext>
                </a:extLst>
              </p:cNvPr>
              <p:cNvSpPr>
                <a:spLocks noChangeArrowheads="1"/>
              </p:cNvSpPr>
              <p:nvPr/>
            </p:nvSpPr>
            <p:spPr bwMode="auto">
              <a:xfrm>
                <a:off x="344775" y="1362569"/>
                <a:ext cx="2304000" cy="441441"/>
              </a:xfrm>
              <a:prstGeom prst="rect">
                <a:avLst/>
              </a:prstGeom>
              <a:solidFill>
                <a:schemeClr val="accent3"/>
              </a:solidFill>
              <a:ln w="635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pt-BR" sz="1200" noProof="1">
                    <a:solidFill>
                      <a:srgbClr val="000000"/>
                    </a:solidFill>
                    <a:latin typeface="Graphik" panose="020B0503030202060203" pitchFamily="34" charset="77"/>
                  </a:rPr>
                  <a:t>Options</a:t>
                </a:r>
              </a:p>
            </p:txBody>
          </p:sp>
        </p:grpSp>
        <p:grpSp>
          <p:nvGrpSpPr>
            <p:cNvPr id="4" name="Group 3" descr="Criterion 1">
              <a:extLst>
                <a:ext uri="{FF2B5EF4-FFF2-40B4-BE49-F238E27FC236}">
                  <a16:creationId xmlns:a16="http://schemas.microsoft.com/office/drawing/2014/main" id="{8C32BA34-783A-49E7-A163-94C0E0235CC8}"/>
                </a:ext>
              </a:extLst>
            </p:cNvPr>
            <p:cNvGrpSpPr/>
            <p:nvPr/>
          </p:nvGrpSpPr>
          <p:grpSpPr>
            <a:xfrm>
              <a:off x="2646400" y="1362569"/>
              <a:ext cx="2260721" cy="1555730"/>
              <a:chOff x="2646399" y="1362569"/>
              <a:chExt cx="2305660" cy="1529012"/>
            </a:xfrm>
          </p:grpSpPr>
          <p:sp>
            <p:nvSpPr>
              <p:cNvPr id="23" name="Rectangle 79">
                <a:extLst>
                  <a:ext uri="{FF2B5EF4-FFF2-40B4-BE49-F238E27FC236}">
                    <a16:creationId xmlns:a16="http://schemas.microsoft.com/office/drawing/2014/main" id="{1222E0EE-2FD2-4C6A-9326-FDF09A940984}"/>
                  </a:ext>
                </a:extLst>
              </p:cNvPr>
              <p:cNvSpPr>
                <a:spLocks noChangeArrowheads="1"/>
              </p:cNvSpPr>
              <p:nvPr/>
            </p:nvSpPr>
            <p:spPr bwMode="auto">
              <a:xfrm>
                <a:off x="2646399" y="2351581"/>
                <a:ext cx="2304000" cy="540000"/>
              </a:xfrm>
              <a:prstGeom prst="rect">
                <a:avLst/>
              </a:prstGeom>
              <a:solidFill>
                <a:srgbClr val="E4E7E7"/>
              </a:solidFill>
              <a:ln w="6350">
                <a:solidFill>
                  <a:srgbClr val="FFFFFF"/>
                </a:solidFill>
                <a:miter lim="800000"/>
                <a:headEnd/>
                <a:tailEnd/>
              </a:ln>
              <a:effectLst/>
            </p:spPr>
            <p:txBody>
              <a:bodyPr lIns="684000" tIns="72000" rIns="108000" bIns="72000" anchor="ctr" anchorCtr="0"/>
              <a:lstStyle/>
              <a:p>
                <a:pPr marL="180970" indent="-180970" eaLnBrk="0" hangingPunct="0">
                  <a:spcBef>
                    <a:spcPct val="0"/>
                  </a:spcBef>
                  <a:buFontTx/>
                  <a:buChar char="•"/>
                  <a:defRPr/>
                </a:pPr>
                <a:endParaRPr lang="pt-BR" sz="1051" kern="0" noProof="1">
                  <a:solidFill>
                    <a:srgbClr val="000000"/>
                  </a:solidFill>
                  <a:latin typeface="Graphik" panose="020B0503030202060203" pitchFamily="34" charset="77"/>
                </a:endParaRPr>
              </a:p>
            </p:txBody>
          </p:sp>
          <p:sp>
            <p:nvSpPr>
              <p:cNvPr id="24" name="Rectangle 86">
                <a:extLst>
                  <a:ext uri="{FF2B5EF4-FFF2-40B4-BE49-F238E27FC236}">
                    <a16:creationId xmlns:a16="http://schemas.microsoft.com/office/drawing/2014/main" id="{1C10B9D7-1346-44C0-B198-1A81C3EEA0B9}"/>
                  </a:ext>
                </a:extLst>
              </p:cNvPr>
              <p:cNvSpPr>
                <a:spLocks noChangeArrowheads="1"/>
              </p:cNvSpPr>
              <p:nvPr/>
            </p:nvSpPr>
            <p:spPr bwMode="auto">
              <a:xfrm>
                <a:off x="2648059" y="1832589"/>
                <a:ext cx="2304000" cy="540000"/>
              </a:xfrm>
              <a:prstGeom prst="rect">
                <a:avLst/>
              </a:prstGeom>
              <a:solidFill>
                <a:srgbClr val="E4E7E7"/>
              </a:solidFill>
              <a:ln w="6350">
                <a:solidFill>
                  <a:srgbClr val="FFFFFF"/>
                </a:solidFill>
                <a:miter lim="800000"/>
                <a:headEnd/>
                <a:tailEnd/>
              </a:ln>
              <a:effectLst/>
            </p:spPr>
            <p:txBody>
              <a:bodyPr lIns="684000" tIns="72000" rIns="108000" bIns="72000" anchor="ctr" anchorCtr="0"/>
              <a:lstStyle/>
              <a:p>
                <a:pPr marL="180970" indent="-180970" eaLnBrk="0" hangingPunct="0">
                  <a:spcBef>
                    <a:spcPct val="0"/>
                  </a:spcBef>
                  <a:buFontTx/>
                  <a:buChar char="•"/>
                  <a:defRPr/>
                </a:pPr>
                <a:endParaRPr lang="pt-BR" sz="1051" kern="0" noProof="1">
                  <a:solidFill>
                    <a:srgbClr val="000000"/>
                  </a:solidFill>
                  <a:latin typeface="Graphik" panose="020B0503030202060203" pitchFamily="34" charset="77"/>
                </a:endParaRPr>
              </a:p>
            </p:txBody>
          </p:sp>
          <p:grpSp>
            <p:nvGrpSpPr>
              <p:cNvPr id="70" name="Group 211">
                <a:extLst>
                  <a:ext uri="{FF2B5EF4-FFF2-40B4-BE49-F238E27FC236}">
                    <a16:creationId xmlns:a16="http://schemas.microsoft.com/office/drawing/2014/main" id="{1D31B081-4B35-4482-84F4-B2F95E6D6573}"/>
                  </a:ext>
                </a:extLst>
              </p:cNvPr>
              <p:cNvGrpSpPr>
                <a:grpSpLocks noChangeAspect="1"/>
              </p:cNvGrpSpPr>
              <p:nvPr/>
            </p:nvGrpSpPr>
            <p:grpSpPr bwMode="auto">
              <a:xfrm>
                <a:off x="3087688" y="1946580"/>
                <a:ext cx="1440002" cy="254869"/>
                <a:chOff x="2711" y="3146"/>
                <a:chExt cx="745" cy="121"/>
              </a:xfrm>
            </p:grpSpPr>
            <p:sp>
              <p:nvSpPr>
                <p:cNvPr id="71" name="AutoShape 212">
                  <a:extLst>
                    <a:ext uri="{FF2B5EF4-FFF2-40B4-BE49-F238E27FC236}">
                      <a16:creationId xmlns:a16="http://schemas.microsoft.com/office/drawing/2014/main" id="{88911F13-7281-488F-838C-AC38A1B43D23}"/>
                    </a:ext>
                  </a:extLst>
                </p:cNvPr>
                <p:cNvSpPr>
                  <a:spLocks noChangeArrowheads="1"/>
                </p:cNvSpPr>
                <p:nvPr/>
              </p:nvSpPr>
              <p:spPr bwMode="auto">
                <a:xfrm>
                  <a:off x="2711" y="3146"/>
                  <a:ext cx="135" cy="121"/>
                </a:xfrm>
                <a:prstGeom prst="star5">
                  <a:avLst/>
                </a:pr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72" name="AutoShape 213">
                  <a:extLst>
                    <a:ext uri="{FF2B5EF4-FFF2-40B4-BE49-F238E27FC236}">
                      <a16:creationId xmlns:a16="http://schemas.microsoft.com/office/drawing/2014/main" id="{3BD16CBA-3FC5-4782-878B-9EED7698A561}"/>
                    </a:ext>
                  </a:extLst>
                </p:cNvPr>
                <p:cNvSpPr>
                  <a:spLocks noChangeArrowheads="1"/>
                </p:cNvSpPr>
                <p:nvPr/>
              </p:nvSpPr>
              <p:spPr bwMode="auto">
                <a:xfrm>
                  <a:off x="2863" y="3146"/>
                  <a:ext cx="136" cy="121"/>
                </a:xfrm>
                <a:prstGeom prst="star5">
                  <a:avLst/>
                </a:pr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73" name="AutoShape 214">
                  <a:extLst>
                    <a:ext uri="{FF2B5EF4-FFF2-40B4-BE49-F238E27FC236}">
                      <a16:creationId xmlns:a16="http://schemas.microsoft.com/office/drawing/2014/main" id="{DC8E5DC5-D647-4A23-B418-91F0824049AE}"/>
                    </a:ext>
                  </a:extLst>
                </p:cNvPr>
                <p:cNvSpPr>
                  <a:spLocks noChangeArrowheads="1"/>
                </p:cNvSpPr>
                <p:nvPr/>
              </p:nvSpPr>
              <p:spPr bwMode="auto">
                <a:xfrm>
                  <a:off x="3016" y="3146"/>
                  <a:ext cx="135" cy="121"/>
                </a:xfrm>
                <a:prstGeom prst="star5">
                  <a:avLst/>
                </a:prstGeom>
                <a:noFill/>
                <a:ln w="12700">
                  <a:solidFill>
                    <a:schemeClr val="tx1"/>
                  </a:solidFill>
                  <a:miter lim="800000"/>
                  <a:headEnd/>
                  <a:tailEnd/>
                </a:ln>
                <a:effectLst/>
              </p:spPr>
              <p:txBody>
                <a:bodyPr wrap="none" lIns="0" tIns="0" rIns="0" bIns="0" anchor="ctr"/>
                <a:lstStyle/>
                <a:p>
                  <a:endParaRPr lang="pt-BR" sz="2400" kern="0" noProof="1">
                    <a:solidFill>
                      <a:srgbClr val="000000"/>
                    </a:solidFill>
                    <a:latin typeface="Graphik" panose="020B0503030202060203" pitchFamily="34" charset="77"/>
                  </a:endParaRPr>
                </a:p>
              </p:txBody>
            </p:sp>
            <p:sp>
              <p:nvSpPr>
                <p:cNvPr id="74" name="AutoShape 215">
                  <a:extLst>
                    <a:ext uri="{FF2B5EF4-FFF2-40B4-BE49-F238E27FC236}">
                      <a16:creationId xmlns:a16="http://schemas.microsoft.com/office/drawing/2014/main" id="{ED38E6DF-191E-40B3-8121-7A13A578D43F}"/>
                    </a:ext>
                  </a:extLst>
                </p:cNvPr>
                <p:cNvSpPr>
                  <a:spLocks noChangeArrowheads="1"/>
                </p:cNvSpPr>
                <p:nvPr/>
              </p:nvSpPr>
              <p:spPr bwMode="auto">
                <a:xfrm>
                  <a:off x="3168" y="3146"/>
                  <a:ext cx="136" cy="121"/>
                </a:xfrm>
                <a:prstGeom prst="star5">
                  <a:avLst/>
                </a:prstGeom>
                <a:noFill/>
                <a:ln w="12700">
                  <a:solidFill>
                    <a:schemeClr val="tx1"/>
                  </a:solidFill>
                  <a:miter lim="800000"/>
                  <a:headEnd/>
                  <a:tailEnd/>
                </a:ln>
                <a:effectLst/>
              </p:spPr>
              <p:txBody>
                <a:bodyPr wrap="none" lIns="0" tIns="0" rIns="0" bIns="0" anchor="ctr"/>
                <a:lstStyle/>
                <a:p>
                  <a:endParaRPr lang="pt-BR" sz="2400" kern="0" noProof="1">
                    <a:solidFill>
                      <a:srgbClr val="000000"/>
                    </a:solidFill>
                    <a:latin typeface="Graphik" panose="020B0503030202060203" pitchFamily="34" charset="77"/>
                  </a:endParaRPr>
                </a:p>
              </p:txBody>
            </p:sp>
            <p:sp>
              <p:nvSpPr>
                <p:cNvPr id="75" name="AutoShape 216">
                  <a:extLst>
                    <a:ext uri="{FF2B5EF4-FFF2-40B4-BE49-F238E27FC236}">
                      <a16:creationId xmlns:a16="http://schemas.microsoft.com/office/drawing/2014/main" id="{2A075A53-723C-43FC-8FCD-3CAFE9CA882E}"/>
                    </a:ext>
                  </a:extLst>
                </p:cNvPr>
                <p:cNvSpPr>
                  <a:spLocks noChangeArrowheads="1"/>
                </p:cNvSpPr>
                <p:nvPr/>
              </p:nvSpPr>
              <p:spPr bwMode="auto">
                <a:xfrm>
                  <a:off x="3321" y="3146"/>
                  <a:ext cx="135" cy="121"/>
                </a:xfrm>
                <a:prstGeom prst="star5">
                  <a:avLst/>
                </a:prstGeom>
                <a:noFill/>
                <a:ln w="12700">
                  <a:solidFill>
                    <a:schemeClr val="tx1"/>
                  </a:solidFill>
                  <a:miter lim="800000"/>
                  <a:headEnd/>
                  <a:tailEnd/>
                </a:ln>
                <a:effectLst/>
              </p:spPr>
              <p:txBody>
                <a:bodyPr wrap="none" lIns="0" tIns="0" rIns="0" bIns="0" anchor="ctr"/>
                <a:lstStyle/>
                <a:p>
                  <a:endParaRPr lang="pt-BR" sz="2400" kern="0" noProof="1">
                    <a:solidFill>
                      <a:srgbClr val="000000"/>
                    </a:solidFill>
                    <a:latin typeface="Graphik" panose="020B0503030202060203" pitchFamily="34" charset="77"/>
                  </a:endParaRPr>
                </a:p>
              </p:txBody>
            </p:sp>
          </p:grpSp>
          <p:grpSp>
            <p:nvGrpSpPr>
              <p:cNvPr id="94" name="Group 217">
                <a:extLst>
                  <a:ext uri="{FF2B5EF4-FFF2-40B4-BE49-F238E27FC236}">
                    <a16:creationId xmlns:a16="http://schemas.microsoft.com/office/drawing/2014/main" id="{DCFC9AF8-C9F2-4B64-BB9E-5E15B4065585}"/>
                  </a:ext>
                </a:extLst>
              </p:cNvPr>
              <p:cNvGrpSpPr>
                <a:grpSpLocks noChangeAspect="1"/>
              </p:cNvGrpSpPr>
              <p:nvPr/>
            </p:nvGrpSpPr>
            <p:grpSpPr bwMode="auto">
              <a:xfrm>
                <a:off x="3078406" y="2517532"/>
                <a:ext cx="1440002" cy="254880"/>
                <a:chOff x="2711" y="3146"/>
                <a:chExt cx="745" cy="121"/>
              </a:xfrm>
            </p:grpSpPr>
            <p:sp>
              <p:nvSpPr>
                <p:cNvPr id="95" name="AutoShape 218">
                  <a:extLst>
                    <a:ext uri="{FF2B5EF4-FFF2-40B4-BE49-F238E27FC236}">
                      <a16:creationId xmlns:a16="http://schemas.microsoft.com/office/drawing/2014/main" id="{F1C32A82-6358-409C-8780-1D70CF3A0C60}"/>
                    </a:ext>
                  </a:extLst>
                </p:cNvPr>
                <p:cNvSpPr>
                  <a:spLocks noChangeArrowheads="1"/>
                </p:cNvSpPr>
                <p:nvPr/>
              </p:nvSpPr>
              <p:spPr bwMode="auto">
                <a:xfrm>
                  <a:off x="2711" y="3146"/>
                  <a:ext cx="135" cy="121"/>
                </a:xfrm>
                <a:prstGeom prst="star5">
                  <a:avLst/>
                </a:pr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96" name="AutoShape 219">
                  <a:extLst>
                    <a:ext uri="{FF2B5EF4-FFF2-40B4-BE49-F238E27FC236}">
                      <a16:creationId xmlns:a16="http://schemas.microsoft.com/office/drawing/2014/main" id="{83DCDEFF-A412-4BAB-96FF-7968109D8CBE}"/>
                    </a:ext>
                  </a:extLst>
                </p:cNvPr>
                <p:cNvSpPr>
                  <a:spLocks noChangeArrowheads="1"/>
                </p:cNvSpPr>
                <p:nvPr/>
              </p:nvSpPr>
              <p:spPr bwMode="auto">
                <a:xfrm>
                  <a:off x="2863" y="3146"/>
                  <a:ext cx="136" cy="121"/>
                </a:xfrm>
                <a:prstGeom prst="star5">
                  <a:avLst/>
                </a:pr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97" name="AutoShape 220">
                  <a:extLst>
                    <a:ext uri="{FF2B5EF4-FFF2-40B4-BE49-F238E27FC236}">
                      <a16:creationId xmlns:a16="http://schemas.microsoft.com/office/drawing/2014/main" id="{A58C5E18-DBAE-4BA9-BA7B-148294BFF24A}"/>
                    </a:ext>
                  </a:extLst>
                </p:cNvPr>
                <p:cNvSpPr>
                  <a:spLocks noChangeArrowheads="1"/>
                </p:cNvSpPr>
                <p:nvPr/>
              </p:nvSpPr>
              <p:spPr bwMode="auto">
                <a:xfrm>
                  <a:off x="3016" y="3146"/>
                  <a:ext cx="135" cy="121"/>
                </a:xfrm>
                <a:prstGeom prst="star5">
                  <a:avLst/>
                </a:pr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98" name="AutoShape 221">
                  <a:extLst>
                    <a:ext uri="{FF2B5EF4-FFF2-40B4-BE49-F238E27FC236}">
                      <a16:creationId xmlns:a16="http://schemas.microsoft.com/office/drawing/2014/main" id="{3863431B-8CCD-493F-B55A-7EBDB9ECB978}"/>
                    </a:ext>
                  </a:extLst>
                </p:cNvPr>
                <p:cNvSpPr>
                  <a:spLocks noChangeArrowheads="1"/>
                </p:cNvSpPr>
                <p:nvPr/>
              </p:nvSpPr>
              <p:spPr bwMode="auto">
                <a:xfrm>
                  <a:off x="3168" y="3146"/>
                  <a:ext cx="136" cy="121"/>
                </a:xfrm>
                <a:prstGeom prst="star5">
                  <a:avLst/>
                </a:prstGeom>
                <a:noFill/>
                <a:ln w="12700">
                  <a:solidFill>
                    <a:schemeClr val="tx1"/>
                  </a:solidFill>
                  <a:miter lim="800000"/>
                  <a:headEnd/>
                  <a:tailEnd/>
                </a:ln>
                <a:effectLst/>
              </p:spPr>
              <p:txBody>
                <a:bodyPr wrap="none" lIns="0" tIns="0" rIns="0" bIns="0" anchor="ctr"/>
                <a:lstStyle/>
                <a:p>
                  <a:endParaRPr lang="pt-BR" sz="2400" kern="0" noProof="1">
                    <a:solidFill>
                      <a:srgbClr val="000000"/>
                    </a:solidFill>
                    <a:latin typeface="Graphik" panose="020B0503030202060203" pitchFamily="34" charset="77"/>
                  </a:endParaRPr>
                </a:p>
              </p:txBody>
            </p:sp>
            <p:sp>
              <p:nvSpPr>
                <p:cNvPr id="99" name="AutoShape 222">
                  <a:extLst>
                    <a:ext uri="{FF2B5EF4-FFF2-40B4-BE49-F238E27FC236}">
                      <a16:creationId xmlns:a16="http://schemas.microsoft.com/office/drawing/2014/main" id="{BB7E293A-B06D-499A-95E2-641BF5486A95}"/>
                    </a:ext>
                  </a:extLst>
                </p:cNvPr>
                <p:cNvSpPr>
                  <a:spLocks noChangeArrowheads="1"/>
                </p:cNvSpPr>
                <p:nvPr/>
              </p:nvSpPr>
              <p:spPr bwMode="auto">
                <a:xfrm>
                  <a:off x="3321" y="3146"/>
                  <a:ext cx="135" cy="121"/>
                </a:xfrm>
                <a:prstGeom prst="star5">
                  <a:avLst/>
                </a:prstGeom>
                <a:noFill/>
                <a:ln w="12700">
                  <a:solidFill>
                    <a:schemeClr val="tx1"/>
                  </a:solidFill>
                  <a:miter lim="800000"/>
                  <a:headEnd/>
                  <a:tailEnd/>
                </a:ln>
                <a:effectLst/>
              </p:spPr>
              <p:txBody>
                <a:bodyPr wrap="none" lIns="0" tIns="0" rIns="0" bIns="0" anchor="ctr"/>
                <a:lstStyle/>
                <a:p>
                  <a:endParaRPr lang="pt-BR" sz="2400" kern="0" noProof="1">
                    <a:solidFill>
                      <a:srgbClr val="000000"/>
                    </a:solidFill>
                    <a:latin typeface="Graphik" panose="020B0503030202060203" pitchFamily="34" charset="77"/>
                  </a:endParaRPr>
                </a:p>
              </p:txBody>
            </p:sp>
          </p:grpSp>
          <p:sp>
            <p:nvSpPr>
              <p:cNvPr id="179" name="Rectangle 91">
                <a:extLst>
                  <a:ext uri="{FF2B5EF4-FFF2-40B4-BE49-F238E27FC236}">
                    <a16:creationId xmlns:a16="http://schemas.microsoft.com/office/drawing/2014/main" id="{ACCF39CD-7E62-464A-82FB-3ADAFF4794DE}"/>
                  </a:ext>
                </a:extLst>
              </p:cNvPr>
              <p:cNvSpPr>
                <a:spLocks noChangeArrowheads="1"/>
              </p:cNvSpPr>
              <p:nvPr/>
            </p:nvSpPr>
            <p:spPr bwMode="auto">
              <a:xfrm>
                <a:off x="2646399" y="1362569"/>
                <a:ext cx="2304000" cy="441441"/>
              </a:xfrm>
              <a:prstGeom prst="rect">
                <a:avLst/>
              </a:prstGeom>
              <a:solidFill>
                <a:schemeClr val="accent2"/>
              </a:solidFill>
              <a:ln w="635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pt-BR" sz="1200" noProof="1">
                    <a:solidFill>
                      <a:srgbClr val="000000"/>
                    </a:solidFill>
                    <a:latin typeface="Graphik" panose="020B0503030202060203" pitchFamily="34" charset="77"/>
                  </a:rPr>
                  <a:t>Criterion 1</a:t>
                </a:r>
              </a:p>
            </p:txBody>
          </p:sp>
        </p:grpSp>
        <p:grpSp>
          <p:nvGrpSpPr>
            <p:cNvPr id="13" name="Group 12" descr="Criterion 2">
              <a:extLst>
                <a:ext uri="{FF2B5EF4-FFF2-40B4-BE49-F238E27FC236}">
                  <a16:creationId xmlns:a16="http://schemas.microsoft.com/office/drawing/2014/main" id="{3D39C817-070D-463C-854A-62C447DD1198}"/>
                </a:ext>
              </a:extLst>
            </p:cNvPr>
            <p:cNvGrpSpPr/>
            <p:nvPr/>
          </p:nvGrpSpPr>
          <p:grpSpPr>
            <a:xfrm>
              <a:off x="4948023" y="1362569"/>
              <a:ext cx="2259094" cy="1555730"/>
              <a:chOff x="4948023" y="1362569"/>
              <a:chExt cx="2304000" cy="1529012"/>
            </a:xfrm>
          </p:grpSpPr>
          <p:sp>
            <p:nvSpPr>
              <p:cNvPr id="18" name="Rectangle 81">
                <a:extLst>
                  <a:ext uri="{FF2B5EF4-FFF2-40B4-BE49-F238E27FC236}">
                    <a16:creationId xmlns:a16="http://schemas.microsoft.com/office/drawing/2014/main" id="{A0A9745E-FCEE-4766-8F43-C13CEB468C99}"/>
                  </a:ext>
                </a:extLst>
              </p:cNvPr>
              <p:cNvSpPr>
                <a:spLocks noChangeArrowheads="1"/>
              </p:cNvSpPr>
              <p:nvPr/>
            </p:nvSpPr>
            <p:spPr bwMode="auto">
              <a:xfrm>
                <a:off x="4948023" y="2351581"/>
                <a:ext cx="2304000" cy="540000"/>
              </a:xfrm>
              <a:prstGeom prst="rect">
                <a:avLst/>
              </a:prstGeom>
              <a:solidFill>
                <a:srgbClr val="E4E7E7"/>
              </a:solidFill>
              <a:ln w="6350">
                <a:solidFill>
                  <a:srgbClr val="FFFFFF"/>
                </a:solidFill>
                <a:miter lim="800000"/>
                <a:headEnd/>
                <a:tailEnd/>
              </a:ln>
              <a:effectLst/>
            </p:spPr>
            <p:txBody>
              <a:bodyPr lIns="684000" tIns="72000" rIns="108000" bIns="72000" anchor="ctr" anchorCtr="0"/>
              <a:lstStyle/>
              <a:p>
                <a:pPr marL="180970" indent="-180970" eaLnBrk="0" hangingPunct="0">
                  <a:spcBef>
                    <a:spcPct val="0"/>
                  </a:spcBef>
                  <a:buFontTx/>
                  <a:buChar char="•"/>
                  <a:defRPr/>
                </a:pPr>
                <a:endParaRPr lang="pt-BR" sz="1051" kern="0" noProof="1">
                  <a:solidFill>
                    <a:srgbClr val="000000"/>
                  </a:solidFill>
                  <a:latin typeface="Graphik" panose="020B0503030202060203" pitchFamily="34" charset="77"/>
                </a:endParaRPr>
              </a:p>
            </p:txBody>
          </p:sp>
          <p:sp>
            <p:nvSpPr>
              <p:cNvPr id="17" name="Rectangle 80">
                <a:extLst>
                  <a:ext uri="{FF2B5EF4-FFF2-40B4-BE49-F238E27FC236}">
                    <a16:creationId xmlns:a16="http://schemas.microsoft.com/office/drawing/2014/main" id="{BB86CF0E-0711-4E0E-ACBE-7B12935F5B71}"/>
                  </a:ext>
                </a:extLst>
              </p:cNvPr>
              <p:cNvSpPr>
                <a:spLocks noChangeArrowheads="1"/>
              </p:cNvSpPr>
              <p:nvPr/>
            </p:nvSpPr>
            <p:spPr bwMode="auto">
              <a:xfrm>
                <a:off x="4948023" y="1804009"/>
                <a:ext cx="2304000" cy="540000"/>
              </a:xfrm>
              <a:prstGeom prst="rect">
                <a:avLst/>
              </a:prstGeom>
              <a:solidFill>
                <a:srgbClr val="E4E7E7"/>
              </a:solidFill>
              <a:ln w="6350">
                <a:solidFill>
                  <a:srgbClr val="FFFFFF"/>
                </a:solidFill>
                <a:miter lim="800000"/>
                <a:headEnd/>
                <a:tailEnd/>
              </a:ln>
              <a:effectLst/>
            </p:spPr>
            <p:txBody>
              <a:bodyPr lIns="684000" tIns="72000" rIns="108000" bIns="72000" anchor="ctr" anchorCtr="0"/>
              <a:lstStyle/>
              <a:p>
                <a:pPr marL="180970" indent="-180970" eaLnBrk="0" hangingPunct="0">
                  <a:spcBef>
                    <a:spcPct val="0"/>
                  </a:spcBef>
                  <a:buFontTx/>
                  <a:buChar char="•"/>
                  <a:defRPr/>
                </a:pPr>
                <a:endParaRPr lang="pt-BR" sz="1051" kern="0" noProof="1">
                  <a:solidFill>
                    <a:srgbClr val="000000"/>
                  </a:solidFill>
                  <a:latin typeface="Graphik" panose="020B0503030202060203" pitchFamily="34" charset="77"/>
                </a:endParaRPr>
              </a:p>
            </p:txBody>
          </p:sp>
          <p:grpSp>
            <p:nvGrpSpPr>
              <p:cNvPr id="76" name="Group 205">
                <a:extLst>
                  <a:ext uri="{FF2B5EF4-FFF2-40B4-BE49-F238E27FC236}">
                    <a16:creationId xmlns:a16="http://schemas.microsoft.com/office/drawing/2014/main" id="{0C2D844A-3978-4CAA-8565-B92B22C27C36}"/>
                  </a:ext>
                </a:extLst>
              </p:cNvPr>
              <p:cNvGrpSpPr>
                <a:grpSpLocks noChangeAspect="1"/>
              </p:cNvGrpSpPr>
              <p:nvPr/>
            </p:nvGrpSpPr>
            <p:grpSpPr bwMode="auto">
              <a:xfrm>
                <a:off x="5380030" y="2548898"/>
                <a:ext cx="1440002" cy="254880"/>
                <a:chOff x="2711" y="3146"/>
                <a:chExt cx="745" cy="121"/>
              </a:xfrm>
            </p:grpSpPr>
            <p:sp>
              <p:nvSpPr>
                <p:cNvPr id="77" name="AutoShape 206">
                  <a:extLst>
                    <a:ext uri="{FF2B5EF4-FFF2-40B4-BE49-F238E27FC236}">
                      <a16:creationId xmlns:a16="http://schemas.microsoft.com/office/drawing/2014/main" id="{7A7445B7-17AF-4972-BD86-41ABCCDFF525}"/>
                    </a:ext>
                  </a:extLst>
                </p:cNvPr>
                <p:cNvSpPr>
                  <a:spLocks noChangeArrowheads="1"/>
                </p:cNvSpPr>
                <p:nvPr/>
              </p:nvSpPr>
              <p:spPr bwMode="auto">
                <a:xfrm>
                  <a:off x="2711" y="3146"/>
                  <a:ext cx="135" cy="121"/>
                </a:xfrm>
                <a:prstGeom prst="star5">
                  <a:avLst/>
                </a:pr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78" name="AutoShape 207">
                  <a:extLst>
                    <a:ext uri="{FF2B5EF4-FFF2-40B4-BE49-F238E27FC236}">
                      <a16:creationId xmlns:a16="http://schemas.microsoft.com/office/drawing/2014/main" id="{58B02209-1706-4F6E-ACFC-38376DB54059}"/>
                    </a:ext>
                  </a:extLst>
                </p:cNvPr>
                <p:cNvSpPr>
                  <a:spLocks noChangeArrowheads="1"/>
                </p:cNvSpPr>
                <p:nvPr/>
              </p:nvSpPr>
              <p:spPr bwMode="auto">
                <a:xfrm>
                  <a:off x="2863" y="3146"/>
                  <a:ext cx="136" cy="121"/>
                </a:xfrm>
                <a:prstGeom prst="star5">
                  <a:avLst/>
                </a:prstGeom>
                <a:noFill/>
                <a:ln w="12700">
                  <a:solidFill>
                    <a:schemeClr val="tx1"/>
                  </a:solidFill>
                  <a:miter lim="800000"/>
                  <a:headEnd/>
                  <a:tailEnd/>
                </a:ln>
                <a:effectLst/>
              </p:spPr>
              <p:txBody>
                <a:bodyPr wrap="none" lIns="0" tIns="0" rIns="0" bIns="0" anchor="ctr"/>
                <a:lstStyle/>
                <a:p>
                  <a:endParaRPr lang="pt-BR" sz="2400" kern="0" noProof="1">
                    <a:solidFill>
                      <a:srgbClr val="000000"/>
                    </a:solidFill>
                    <a:latin typeface="Graphik" panose="020B0503030202060203" pitchFamily="34" charset="77"/>
                  </a:endParaRPr>
                </a:p>
              </p:txBody>
            </p:sp>
            <p:sp>
              <p:nvSpPr>
                <p:cNvPr id="79" name="AutoShape 208">
                  <a:extLst>
                    <a:ext uri="{FF2B5EF4-FFF2-40B4-BE49-F238E27FC236}">
                      <a16:creationId xmlns:a16="http://schemas.microsoft.com/office/drawing/2014/main" id="{15E907A9-4079-4E8C-B3D7-3B5290387DF9}"/>
                    </a:ext>
                  </a:extLst>
                </p:cNvPr>
                <p:cNvSpPr>
                  <a:spLocks noChangeArrowheads="1"/>
                </p:cNvSpPr>
                <p:nvPr/>
              </p:nvSpPr>
              <p:spPr bwMode="auto">
                <a:xfrm>
                  <a:off x="3016" y="3146"/>
                  <a:ext cx="135" cy="121"/>
                </a:xfrm>
                <a:prstGeom prst="star5">
                  <a:avLst/>
                </a:prstGeom>
                <a:noFill/>
                <a:ln w="12700">
                  <a:solidFill>
                    <a:schemeClr val="tx1"/>
                  </a:solidFill>
                  <a:miter lim="800000"/>
                  <a:headEnd/>
                  <a:tailEnd/>
                </a:ln>
                <a:effectLst/>
              </p:spPr>
              <p:txBody>
                <a:bodyPr wrap="none" lIns="0" tIns="0" rIns="0" bIns="0" anchor="ctr"/>
                <a:lstStyle/>
                <a:p>
                  <a:endParaRPr lang="pt-BR" sz="2400" kern="0" noProof="1">
                    <a:solidFill>
                      <a:srgbClr val="000000"/>
                    </a:solidFill>
                    <a:latin typeface="Graphik" panose="020B0503030202060203" pitchFamily="34" charset="77"/>
                  </a:endParaRPr>
                </a:p>
              </p:txBody>
            </p:sp>
            <p:sp>
              <p:nvSpPr>
                <p:cNvPr id="80" name="AutoShape 209">
                  <a:extLst>
                    <a:ext uri="{FF2B5EF4-FFF2-40B4-BE49-F238E27FC236}">
                      <a16:creationId xmlns:a16="http://schemas.microsoft.com/office/drawing/2014/main" id="{7B955C72-C0AF-4B65-94AE-673445F996F4}"/>
                    </a:ext>
                  </a:extLst>
                </p:cNvPr>
                <p:cNvSpPr>
                  <a:spLocks noChangeArrowheads="1"/>
                </p:cNvSpPr>
                <p:nvPr/>
              </p:nvSpPr>
              <p:spPr bwMode="auto">
                <a:xfrm>
                  <a:off x="3168" y="3146"/>
                  <a:ext cx="136" cy="121"/>
                </a:xfrm>
                <a:prstGeom prst="star5">
                  <a:avLst/>
                </a:prstGeom>
                <a:noFill/>
                <a:ln w="12700">
                  <a:solidFill>
                    <a:schemeClr val="tx1"/>
                  </a:solidFill>
                  <a:miter lim="800000"/>
                  <a:headEnd/>
                  <a:tailEnd/>
                </a:ln>
                <a:effectLst/>
              </p:spPr>
              <p:txBody>
                <a:bodyPr wrap="none" lIns="0" tIns="0" rIns="0" bIns="0" anchor="ctr"/>
                <a:lstStyle/>
                <a:p>
                  <a:endParaRPr lang="pt-BR" sz="2400" kern="0" noProof="1">
                    <a:solidFill>
                      <a:srgbClr val="000000"/>
                    </a:solidFill>
                    <a:latin typeface="Graphik" panose="020B0503030202060203" pitchFamily="34" charset="77"/>
                  </a:endParaRPr>
                </a:p>
              </p:txBody>
            </p:sp>
            <p:sp>
              <p:nvSpPr>
                <p:cNvPr id="81" name="AutoShape 210">
                  <a:extLst>
                    <a:ext uri="{FF2B5EF4-FFF2-40B4-BE49-F238E27FC236}">
                      <a16:creationId xmlns:a16="http://schemas.microsoft.com/office/drawing/2014/main" id="{7682E358-9C84-4966-B20D-4913C11FC353}"/>
                    </a:ext>
                  </a:extLst>
                </p:cNvPr>
                <p:cNvSpPr>
                  <a:spLocks noChangeArrowheads="1"/>
                </p:cNvSpPr>
                <p:nvPr/>
              </p:nvSpPr>
              <p:spPr bwMode="auto">
                <a:xfrm>
                  <a:off x="3321" y="3146"/>
                  <a:ext cx="135" cy="121"/>
                </a:xfrm>
                <a:prstGeom prst="star5">
                  <a:avLst/>
                </a:prstGeom>
                <a:noFill/>
                <a:ln w="12700">
                  <a:solidFill>
                    <a:schemeClr val="tx1"/>
                  </a:solidFill>
                  <a:miter lim="800000"/>
                  <a:headEnd/>
                  <a:tailEnd/>
                </a:ln>
                <a:effectLst/>
              </p:spPr>
              <p:txBody>
                <a:bodyPr wrap="none" lIns="0" tIns="0" rIns="0" bIns="0" anchor="ctr"/>
                <a:lstStyle/>
                <a:p>
                  <a:endParaRPr lang="pt-BR" sz="2400" kern="0" noProof="1">
                    <a:solidFill>
                      <a:srgbClr val="000000"/>
                    </a:solidFill>
                    <a:latin typeface="Graphik" panose="020B0503030202060203" pitchFamily="34" charset="77"/>
                  </a:endParaRPr>
                </a:p>
              </p:txBody>
            </p:sp>
          </p:grpSp>
          <p:grpSp>
            <p:nvGrpSpPr>
              <p:cNvPr id="82" name="Group 223">
                <a:extLst>
                  <a:ext uri="{FF2B5EF4-FFF2-40B4-BE49-F238E27FC236}">
                    <a16:creationId xmlns:a16="http://schemas.microsoft.com/office/drawing/2014/main" id="{9BC714A2-8C99-46C7-88E1-CAF58F776D90}"/>
                  </a:ext>
                </a:extLst>
              </p:cNvPr>
              <p:cNvGrpSpPr>
                <a:grpSpLocks noChangeAspect="1"/>
              </p:cNvGrpSpPr>
              <p:nvPr/>
            </p:nvGrpSpPr>
            <p:grpSpPr bwMode="auto">
              <a:xfrm>
                <a:off x="5380030" y="1946569"/>
                <a:ext cx="1440002" cy="254880"/>
                <a:chOff x="2711" y="3146"/>
                <a:chExt cx="745" cy="121"/>
              </a:xfrm>
            </p:grpSpPr>
            <p:sp>
              <p:nvSpPr>
                <p:cNvPr id="83" name="AutoShape 224">
                  <a:extLst>
                    <a:ext uri="{FF2B5EF4-FFF2-40B4-BE49-F238E27FC236}">
                      <a16:creationId xmlns:a16="http://schemas.microsoft.com/office/drawing/2014/main" id="{2AAE3AA3-F13F-4293-8D1C-98CF7B7D2581}"/>
                    </a:ext>
                  </a:extLst>
                </p:cNvPr>
                <p:cNvSpPr>
                  <a:spLocks noChangeArrowheads="1"/>
                </p:cNvSpPr>
                <p:nvPr/>
              </p:nvSpPr>
              <p:spPr bwMode="auto">
                <a:xfrm>
                  <a:off x="2711" y="3146"/>
                  <a:ext cx="135" cy="121"/>
                </a:xfrm>
                <a:prstGeom prst="star5">
                  <a:avLst/>
                </a:pr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84" name="AutoShape 225">
                  <a:extLst>
                    <a:ext uri="{FF2B5EF4-FFF2-40B4-BE49-F238E27FC236}">
                      <a16:creationId xmlns:a16="http://schemas.microsoft.com/office/drawing/2014/main" id="{0AE48D56-C510-4ABA-A2A8-0A64BB5815F9}"/>
                    </a:ext>
                  </a:extLst>
                </p:cNvPr>
                <p:cNvSpPr>
                  <a:spLocks noChangeArrowheads="1"/>
                </p:cNvSpPr>
                <p:nvPr/>
              </p:nvSpPr>
              <p:spPr bwMode="auto">
                <a:xfrm>
                  <a:off x="2863" y="3146"/>
                  <a:ext cx="136" cy="121"/>
                </a:xfrm>
                <a:prstGeom prst="star5">
                  <a:avLst/>
                </a:pr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85" name="AutoShape 226">
                  <a:extLst>
                    <a:ext uri="{FF2B5EF4-FFF2-40B4-BE49-F238E27FC236}">
                      <a16:creationId xmlns:a16="http://schemas.microsoft.com/office/drawing/2014/main" id="{EFB41C55-1531-49C1-99C2-47B13DCB35C4}"/>
                    </a:ext>
                  </a:extLst>
                </p:cNvPr>
                <p:cNvSpPr>
                  <a:spLocks noChangeArrowheads="1"/>
                </p:cNvSpPr>
                <p:nvPr/>
              </p:nvSpPr>
              <p:spPr bwMode="auto">
                <a:xfrm>
                  <a:off x="3016" y="3146"/>
                  <a:ext cx="135" cy="121"/>
                </a:xfrm>
                <a:prstGeom prst="star5">
                  <a:avLst/>
                </a:pr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86" name="AutoShape 227">
                  <a:extLst>
                    <a:ext uri="{FF2B5EF4-FFF2-40B4-BE49-F238E27FC236}">
                      <a16:creationId xmlns:a16="http://schemas.microsoft.com/office/drawing/2014/main" id="{A1498E74-3A92-40A7-81C9-08BB1CB83236}"/>
                    </a:ext>
                  </a:extLst>
                </p:cNvPr>
                <p:cNvSpPr>
                  <a:spLocks noChangeArrowheads="1"/>
                </p:cNvSpPr>
                <p:nvPr/>
              </p:nvSpPr>
              <p:spPr bwMode="auto">
                <a:xfrm>
                  <a:off x="3168" y="3146"/>
                  <a:ext cx="136" cy="121"/>
                </a:xfrm>
                <a:prstGeom prst="star5">
                  <a:avLst/>
                </a:pr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87" name="AutoShape 228">
                  <a:extLst>
                    <a:ext uri="{FF2B5EF4-FFF2-40B4-BE49-F238E27FC236}">
                      <a16:creationId xmlns:a16="http://schemas.microsoft.com/office/drawing/2014/main" id="{39355489-0D3E-4CD3-8A71-603970702023}"/>
                    </a:ext>
                  </a:extLst>
                </p:cNvPr>
                <p:cNvSpPr>
                  <a:spLocks noChangeArrowheads="1"/>
                </p:cNvSpPr>
                <p:nvPr/>
              </p:nvSpPr>
              <p:spPr bwMode="auto">
                <a:xfrm>
                  <a:off x="3321" y="3146"/>
                  <a:ext cx="135" cy="121"/>
                </a:xfrm>
                <a:prstGeom prst="star5">
                  <a:avLst/>
                </a:prstGeom>
                <a:noFill/>
                <a:ln w="12700">
                  <a:solidFill>
                    <a:schemeClr val="tx1"/>
                  </a:solidFill>
                  <a:miter lim="800000"/>
                  <a:headEnd/>
                  <a:tailEnd/>
                </a:ln>
                <a:effectLst/>
              </p:spPr>
              <p:txBody>
                <a:bodyPr wrap="none" lIns="0" tIns="0" rIns="0" bIns="0" anchor="ctr"/>
                <a:lstStyle/>
                <a:p>
                  <a:endParaRPr lang="pt-BR" sz="2400" kern="0" noProof="1">
                    <a:solidFill>
                      <a:srgbClr val="000000"/>
                    </a:solidFill>
                    <a:latin typeface="Graphik" panose="020B0503030202060203" pitchFamily="34" charset="77"/>
                  </a:endParaRPr>
                </a:p>
              </p:txBody>
            </p:sp>
          </p:grpSp>
          <p:sp>
            <p:nvSpPr>
              <p:cNvPr id="175" name="Rectangle 90">
                <a:extLst>
                  <a:ext uri="{FF2B5EF4-FFF2-40B4-BE49-F238E27FC236}">
                    <a16:creationId xmlns:a16="http://schemas.microsoft.com/office/drawing/2014/main" id="{5C8BE007-ABF7-45BC-8E23-AB3A0542B722}"/>
                  </a:ext>
                </a:extLst>
              </p:cNvPr>
              <p:cNvSpPr>
                <a:spLocks noChangeArrowheads="1"/>
              </p:cNvSpPr>
              <p:nvPr/>
            </p:nvSpPr>
            <p:spPr bwMode="auto">
              <a:xfrm>
                <a:off x="4948023" y="1362569"/>
                <a:ext cx="2304000" cy="441441"/>
              </a:xfrm>
              <a:prstGeom prst="rect">
                <a:avLst/>
              </a:prstGeom>
              <a:solidFill>
                <a:schemeClr val="accent2">
                  <a:lumMod val="60000"/>
                  <a:lumOff val="40000"/>
                </a:schemeClr>
              </a:solidFill>
              <a:ln w="635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pt-BR" sz="1200" noProof="1">
                    <a:solidFill>
                      <a:srgbClr val="000000"/>
                    </a:solidFill>
                    <a:latin typeface="Graphik" panose="020B0503030202060203" pitchFamily="34" charset="77"/>
                  </a:rPr>
                  <a:t>Criterion 2</a:t>
                </a:r>
              </a:p>
            </p:txBody>
          </p:sp>
        </p:grpSp>
        <p:grpSp>
          <p:nvGrpSpPr>
            <p:cNvPr id="16" name="Group 15" descr="Criterion 3">
              <a:extLst>
                <a:ext uri="{FF2B5EF4-FFF2-40B4-BE49-F238E27FC236}">
                  <a16:creationId xmlns:a16="http://schemas.microsoft.com/office/drawing/2014/main" id="{C4644F03-7D2D-4470-A1D4-34BEEE87BAF4}"/>
                </a:ext>
              </a:extLst>
            </p:cNvPr>
            <p:cNvGrpSpPr/>
            <p:nvPr/>
          </p:nvGrpSpPr>
          <p:grpSpPr>
            <a:xfrm>
              <a:off x="7249647" y="1362569"/>
              <a:ext cx="2259094" cy="1555730"/>
              <a:chOff x="7249647" y="1362569"/>
              <a:chExt cx="2304000" cy="1529012"/>
            </a:xfrm>
          </p:grpSpPr>
          <p:sp>
            <p:nvSpPr>
              <p:cNvPr id="11" name="Rectangle 82">
                <a:extLst>
                  <a:ext uri="{FF2B5EF4-FFF2-40B4-BE49-F238E27FC236}">
                    <a16:creationId xmlns:a16="http://schemas.microsoft.com/office/drawing/2014/main" id="{446BFC38-EADD-421E-BBBB-982094274538}"/>
                  </a:ext>
                </a:extLst>
              </p:cNvPr>
              <p:cNvSpPr>
                <a:spLocks noChangeArrowheads="1"/>
              </p:cNvSpPr>
              <p:nvPr/>
            </p:nvSpPr>
            <p:spPr bwMode="auto">
              <a:xfrm>
                <a:off x="7249647" y="1804009"/>
                <a:ext cx="2304000" cy="540000"/>
              </a:xfrm>
              <a:prstGeom prst="rect">
                <a:avLst/>
              </a:prstGeom>
              <a:solidFill>
                <a:srgbClr val="E4E7E7"/>
              </a:solidFill>
              <a:ln w="6350">
                <a:solidFill>
                  <a:srgbClr val="FFFFFF"/>
                </a:solidFill>
                <a:miter lim="800000"/>
                <a:headEnd/>
                <a:tailEnd/>
              </a:ln>
              <a:effectLst/>
            </p:spPr>
            <p:txBody>
              <a:bodyPr lIns="684000" tIns="72000" rIns="108000" bIns="72000" anchor="ctr" anchorCtr="0"/>
              <a:lstStyle/>
              <a:p>
                <a:pPr marL="180970" indent="-180970" eaLnBrk="0" hangingPunct="0">
                  <a:spcBef>
                    <a:spcPct val="0"/>
                  </a:spcBef>
                  <a:buFontTx/>
                  <a:buChar char="•"/>
                  <a:defRPr/>
                </a:pPr>
                <a:endParaRPr lang="pt-BR" sz="1051" kern="0" noProof="1">
                  <a:solidFill>
                    <a:srgbClr val="000000"/>
                  </a:solidFill>
                  <a:latin typeface="Graphik" panose="020B0503030202060203" pitchFamily="34" charset="77"/>
                </a:endParaRPr>
              </a:p>
            </p:txBody>
          </p:sp>
          <p:sp>
            <p:nvSpPr>
              <p:cNvPr id="12" name="Rectangle 83">
                <a:extLst>
                  <a:ext uri="{FF2B5EF4-FFF2-40B4-BE49-F238E27FC236}">
                    <a16:creationId xmlns:a16="http://schemas.microsoft.com/office/drawing/2014/main" id="{C9F293A2-4622-4970-9C0F-91AF88DAFB47}"/>
                  </a:ext>
                </a:extLst>
              </p:cNvPr>
              <p:cNvSpPr>
                <a:spLocks noChangeArrowheads="1"/>
              </p:cNvSpPr>
              <p:nvPr/>
            </p:nvSpPr>
            <p:spPr bwMode="auto">
              <a:xfrm>
                <a:off x="7249647" y="2351581"/>
                <a:ext cx="2304000" cy="540000"/>
              </a:xfrm>
              <a:prstGeom prst="rect">
                <a:avLst/>
              </a:prstGeom>
              <a:solidFill>
                <a:srgbClr val="E4E7E7"/>
              </a:solidFill>
              <a:ln w="12700">
                <a:solidFill>
                  <a:srgbClr val="FFFFFF"/>
                </a:solidFill>
                <a:miter lim="800000"/>
                <a:headEnd/>
                <a:tailEnd/>
              </a:ln>
              <a:effectLst/>
            </p:spPr>
            <p:txBody>
              <a:bodyPr lIns="684000" tIns="72000" rIns="108000" bIns="72000" anchor="ctr" anchorCtr="0"/>
              <a:lstStyle/>
              <a:p>
                <a:pPr marL="180970" indent="-180970" eaLnBrk="0" hangingPunct="0">
                  <a:spcBef>
                    <a:spcPct val="0"/>
                  </a:spcBef>
                  <a:buFontTx/>
                  <a:buChar char="•"/>
                  <a:defRPr/>
                </a:pPr>
                <a:endParaRPr lang="pt-BR" sz="1051" kern="0" noProof="1">
                  <a:solidFill>
                    <a:srgbClr val="000000"/>
                  </a:solidFill>
                  <a:latin typeface="Graphik" panose="020B0503030202060203" pitchFamily="34" charset="77"/>
                </a:endParaRPr>
              </a:p>
            </p:txBody>
          </p:sp>
          <p:grpSp>
            <p:nvGrpSpPr>
              <p:cNvPr id="100" name="Group 211">
                <a:extLst>
                  <a:ext uri="{FF2B5EF4-FFF2-40B4-BE49-F238E27FC236}">
                    <a16:creationId xmlns:a16="http://schemas.microsoft.com/office/drawing/2014/main" id="{D8620024-3AB7-4212-92BD-055F376AC82A}"/>
                  </a:ext>
                </a:extLst>
              </p:cNvPr>
              <p:cNvGrpSpPr>
                <a:grpSpLocks noChangeAspect="1"/>
              </p:cNvGrpSpPr>
              <p:nvPr/>
            </p:nvGrpSpPr>
            <p:grpSpPr bwMode="auto">
              <a:xfrm>
                <a:off x="7681654" y="2494146"/>
                <a:ext cx="1440002" cy="254869"/>
                <a:chOff x="2711" y="3146"/>
                <a:chExt cx="745" cy="121"/>
              </a:xfrm>
            </p:grpSpPr>
            <p:sp>
              <p:nvSpPr>
                <p:cNvPr id="101" name="AutoShape 212">
                  <a:extLst>
                    <a:ext uri="{FF2B5EF4-FFF2-40B4-BE49-F238E27FC236}">
                      <a16:creationId xmlns:a16="http://schemas.microsoft.com/office/drawing/2014/main" id="{75ACDB5C-705D-4B45-8DA1-EB20F29431C4}"/>
                    </a:ext>
                  </a:extLst>
                </p:cNvPr>
                <p:cNvSpPr>
                  <a:spLocks noChangeArrowheads="1"/>
                </p:cNvSpPr>
                <p:nvPr/>
              </p:nvSpPr>
              <p:spPr bwMode="auto">
                <a:xfrm>
                  <a:off x="2711" y="3146"/>
                  <a:ext cx="135" cy="121"/>
                </a:xfrm>
                <a:prstGeom prst="star5">
                  <a:avLst/>
                </a:pr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102" name="AutoShape 213">
                  <a:extLst>
                    <a:ext uri="{FF2B5EF4-FFF2-40B4-BE49-F238E27FC236}">
                      <a16:creationId xmlns:a16="http://schemas.microsoft.com/office/drawing/2014/main" id="{CE820290-B8C2-4C1E-BBD7-9A5B40ED1C6E}"/>
                    </a:ext>
                  </a:extLst>
                </p:cNvPr>
                <p:cNvSpPr>
                  <a:spLocks noChangeArrowheads="1"/>
                </p:cNvSpPr>
                <p:nvPr/>
              </p:nvSpPr>
              <p:spPr bwMode="auto">
                <a:xfrm>
                  <a:off x="2863" y="3146"/>
                  <a:ext cx="136" cy="121"/>
                </a:xfrm>
                <a:prstGeom prst="star5">
                  <a:avLst/>
                </a:pr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103" name="AutoShape 214">
                  <a:extLst>
                    <a:ext uri="{FF2B5EF4-FFF2-40B4-BE49-F238E27FC236}">
                      <a16:creationId xmlns:a16="http://schemas.microsoft.com/office/drawing/2014/main" id="{998CCE86-2892-4327-B749-CB4FD4025537}"/>
                    </a:ext>
                  </a:extLst>
                </p:cNvPr>
                <p:cNvSpPr>
                  <a:spLocks noChangeArrowheads="1"/>
                </p:cNvSpPr>
                <p:nvPr/>
              </p:nvSpPr>
              <p:spPr bwMode="auto">
                <a:xfrm>
                  <a:off x="3016" y="3146"/>
                  <a:ext cx="135" cy="121"/>
                </a:xfrm>
                <a:prstGeom prst="star5">
                  <a:avLst/>
                </a:prstGeom>
                <a:noFill/>
                <a:ln w="12700">
                  <a:solidFill>
                    <a:schemeClr val="tx1"/>
                  </a:solidFill>
                  <a:miter lim="800000"/>
                  <a:headEnd/>
                  <a:tailEnd/>
                </a:ln>
                <a:effectLst/>
              </p:spPr>
              <p:txBody>
                <a:bodyPr wrap="none" lIns="0" tIns="0" rIns="0" bIns="0" anchor="ctr"/>
                <a:lstStyle/>
                <a:p>
                  <a:endParaRPr lang="pt-BR" sz="2400" kern="0" noProof="1">
                    <a:solidFill>
                      <a:srgbClr val="000000"/>
                    </a:solidFill>
                    <a:latin typeface="Graphik" panose="020B0503030202060203" pitchFamily="34" charset="77"/>
                  </a:endParaRPr>
                </a:p>
              </p:txBody>
            </p:sp>
            <p:sp>
              <p:nvSpPr>
                <p:cNvPr id="104" name="AutoShape 215">
                  <a:extLst>
                    <a:ext uri="{FF2B5EF4-FFF2-40B4-BE49-F238E27FC236}">
                      <a16:creationId xmlns:a16="http://schemas.microsoft.com/office/drawing/2014/main" id="{634438B2-3D7E-4C8D-A98B-10A5AB5C11C7}"/>
                    </a:ext>
                  </a:extLst>
                </p:cNvPr>
                <p:cNvSpPr>
                  <a:spLocks noChangeArrowheads="1"/>
                </p:cNvSpPr>
                <p:nvPr/>
              </p:nvSpPr>
              <p:spPr bwMode="auto">
                <a:xfrm>
                  <a:off x="3168" y="3146"/>
                  <a:ext cx="136" cy="121"/>
                </a:xfrm>
                <a:prstGeom prst="star5">
                  <a:avLst/>
                </a:prstGeom>
                <a:noFill/>
                <a:ln w="12700">
                  <a:solidFill>
                    <a:schemeClr val="tx1"/>
                  </a:solidFill>
                  <a:miter lim="800000"/>
                  <a:headEnd/>
                  <a:tailEnd/>
                </a:ln>
                <a:effectLst/>
              </p:spPr>
              <p:txBody>
                <a:bodyPr wrap="none" lIns="0" tIns="0" rIns="0" bIns="0" anchor="ctr"/>
                <a:lstStyle/>
                <a:p>
                  <a:endParaRPr lang="pt-BR" sz="2400" kern="0" noProof="1">
                    <a:solidFill>
                      <a:srgbClr val="000000"/>
                    </a:solidFill>
                    <a:latin typeface="Graphik" panose="020B0503030202060203" pitchFamily="34" charset="77"/>
                  </a:endParaRPr>
                </a:p>
              </p:txBody>
            </p:sp>
            <p:sp>
              <p:nvSpPr>
                <p:cNvPr id="105" name="AutoShape 216">
                  <a:extLst>
                    <a:ext uri="{FF2B5EF4-FFF2-40B4-BE49-F238E27FC236}">
                      <a16:creationId xmlns:a16="http://schemas.microsoft.com/office/drawing/2014/main" id="{876E94D4-5C45-48CB-9FF6-B04C606DD4AD}"/>
                    </a:ext>
                  </a:extLst>
                </p:cNvPr>
                <p:cNvSpPr>
                  <a:spLocks noChangeArrowheads="1"/>
                </p:cNvSpPr>
                <p:nvPr/>
              </p:nvSpPr>
              <p:spPr bwMode="auto">
                <a:xfrm>
                  <a:off x="3321" y="3146"/>
                  <a:ext cx="135" cy="121"/>
                </a:xfrm>
                <a:prstGeom prst="star5">
                  <a:avLst/>
                </a:prstGeom>
                <a:noFill/>
                <a:ln w="12700">
                  <a:solidFill>
                    <a:schemeClr val="tx1"/>
                  </a:solidFill>
                  <a:miter lim="800000"/>
                  <a:headEnd/>
                  <a:tailEnd/>
                </a:ln>
                <a:effectLst/>
              </p:spPr>
              <p:txBody>
                <a:bodyPr wrap="none" lIns="0" tIns="0" rIns="0" bIns="0" anchor="ctr"/>
                <a:lstStyle/>
                <a:p>
                  <a:endParaRPr lang="pt-BR" sz="2400" kern="0" noProof="1">
                    <a:solidFill>
                      <a:srgbClr val="000000"/>
                    </a:solidFill>
                    <a:latin typeface="Graphik" panose="020B0503030202060203" pitchFamily="34" charset="77"/>
                  </a:endParaRPr>
                </a:p>
              </p:txBody>
            </p:sp>
          </p:grpSp>
          <p:grpSp>
            <p:nvGrpSpPr>
              <p:cNvPr id="106" name="Group 223">
                <a:extLst>
                  <a:ext uri="{FF2B5EF4-FFF2-40B4-BE49-F238E27FC236}">
                    <a16:creationId xmlns:a16="http://schemas.microsoft.com/office/drawing/2014/main" id="{9A27EB39-A269-4E9B-BF5B-87FA1E357250}"/>
                  </a:ext>
                </a:extLst>
              </p:cNvPr>
              <p:cNvGrpSpPr>
                <a:grpSpLocks noChangeAspect="1"/>
              </p:cNvGrpSpPr>
              <p:nvPr/>
            </p:nvGrpSpPr>
            <p:grpSpPr bwMode="auto">
              <a:xfrm>
                <a:off x="7681654" y="1946569"/>
                <a:ext cx="1440002" cy="254880"/>
                <a:chOff x="2711" y="3146"/>
                <a:chExt cx="745" cy="121"/>
              </a:xfrm>
            </p:grpSpPr>
            <p:sp>
              <p:nvSpPr>
                <p:cNvPr id="107" name="AutoShape 224">
                  <a:extLst>
                    <a:ext uri="{FF2B5EF4-FFF2-40B4-BE49-F238E27FC236}">
                      <a16:creationId xmlns:a16="http://schemas.microsoft.com/office/drawing/2014/main" id="{E665A882-94C7-4E5D-B82E-4A999CA4CFC6}"/>
                    </a:ext>
                  </a:extLst>
                </p:cNvPr>
                <p:cNvSpPr>
                  <a:spLocks noChangeArrowheads="1"/>
                </p:cNvSpPr>
                <p:nvPr/>
              </p:nvSpPr>
              <p:spPr bwMode="auto">
                <a:xfrm>
                  <a:off x="2711" y="3146"/>
                  <a:ext cx="135" cy="121"/>
                </a:xfrm>
                <a:prstGeom prst="star5">
                  <a:avLst/>
                </a:pr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108" name="AutoShape 225">
                  <a:extLst>
                    <a:ext uri="{FF2B5EF4-FFF2-40B4-BE49-F238E27FC236}">
                      <a16:creationId xmlns:a16="http://schemas.microsoft.com/office/drawing/2014/main" id="{5F468306-B20D-48C1-A673-CE320F9724B2}"/>
                    </a:ext>
                  </a:extLst>
                </p:cNvPr>
                <p:cNvSpPr>
                  <a:spLocks noChangeArrowheads="1"/>
                </p:cNvSpPr>
                <p:nvPr/>
              </p:nvSpPr>
              <p:spPr bwMode="auto">
                <a:xfrm>
                  <a:off x="2863" y="3146"/>
                  <a:ext cx="136" cy="121"/>
                </a:xfrm>
                <a:prstGeom prst="star5">
                  <a:avLst/>
                </a:pr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109" name="AutoShape 226">
                  <a:extLst>
                    <a:ext uri="{FF2B5EF4-FFF2-40B4-BE49-F238E27FC236}">
                      <a16:creationId xmlns:a16="http://schemas.microsoft.com/office/drawing/2014/main" id="{D7B8BF7E-F95E-4AF0-A52F-9AEF1FBAA9EA}"/>
                    </a:ext>
                  </a:extLst>
                </p:cNvPr>
                <p:cNvSpPr>
                  <a:spLocks noChangeArrowheads="1"/>
                </p:cNvSpPr>
                <p:nvPr/>
              </p:nvSpPr>
              <p:spPr bwMode="auto">
                <a:xfrm>
                  <a:off x="3016" y="3146"/>
                  <a:ext cx="135" cy="121"/>
                </a:xfrm>
                <a:prstGeom prst="star5">
                  <a:avLst/>
                </a:pr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110" name="AutoShape 227">
                  <a:extLst>
                    <a:ext uri="{FF2B5EF4-FFF2-40B4-BE49-F238E27FC236}">
                      <a16:creationId xmlns:a16="http://schemas.microsoft.com/office/drawing/2014/main" id="{421F1277-12B6-48A8-BBC9-E10DD0E5655A}"/>
                    </a:ext>
                  </a:extLst>
                </p:cNvPr>
                <p:cNvSpPr>
                  <a:spLocks noChangeArrowheads="1"/>
                </p:cNvSpPr>
                <p:nvPr/>
              </p:nvSpPr>
              <p:spPr bwMode="auto">
                <a:xfrm>
                  <a:off x="3168" y="3146"/>
                  <a:ext cx="136" cy="121"/>
                </a:xfrm>
                <a:prstGeom prst="star5">
                  <a:avLst/>
                </a:pr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111" name="AutoShape 228">
                  <a:extLst>
                    <a:ext uri="{FF2B5EF4-FFF2-40B4-BE49-F238E27FC236}">
                      <a16:creationId xmlns:a16="http://schemas.microsoft.com/office/drawing/2014/main" id="{EFA39718-7A0B-4CE0-BD57-D60C4583C32C}"/>
                    </a:ext>
                  </a:extLst>
                </p:cNvPr>
                <p:cNvSpPr>
                  <a:spLocks noChangeArrowheads="1"/>
                </p:cNvSpPr>
                <p:nvPr/>
              </p:nvSpPr>
              <p:spPr bwMode="auto">
                <a:xfrm>
                  <a:off x="3321" y="3146"/>
                  <a:ext cx="135" cy="121"/>
                </a:xfrm>
                <a:prstGeom prst="star5">
                  <a:avLst/>
                </a:prstGeom>
                <a:noFill/>
                <a:ln w="12700">
                  <a:solidFill>
                    <a:schemeClr val="tx1"/>
                  </a:solidFill>
                  <a:miter lim="800000"/>
                  <a:headEnd/>
                  <a:tailEnd/>
                </a:ln>
                <a:effectLst/>
              </p:spPr>
              <p:txBody>
                <a:bodyPr wrap="none" lIns="0" tIns="0" rIns="0" bIns="0" anchor="ctr"/>
                <a:lstStyle/>
                <a:p>
                  <a:endParaRPr lang="pt-BR" sz="2400" kern="0" noProof="1">
                    <a:solidFill>
                      <a:srgbClr val="000000"/>
                    </a:solidFill>
                    <a:latin typeface="Graphik" panose="020B0503030202060203" pitchFamily="34" charset="77"/>
                  </a:endParaRPr>
                </a:p>
              </p:txBody>
            </p:sp>
          </p:grpSp>
          <p:sp>
            <p:nvSpPr>
              <p:cNvPr id="171" name="Rectangle 89">
                <a:extLst>
                  <a:ext uri="{FF2B5EF4-FFF2-40B4-BE49-F238E27FC236}">
                    <a16:creationId xmlns:a16="http://schemas.microsoft.com/office/drawing/2014/main" id="{DD67D942-B7DE-4E0E-8CEF-913465DC680F}"/>
                  </a:ext>
                </a:extLst>
              </p:cNvPr>
              <p:cNvSpPr>
                <a:spLocks noChangeArrowheads="1"/>
              </p:cNvSpPr>
              <p:nvPr/>
            </p:nvSpPr>
            <p:spPr bwMode="auto">
              <a:xfrm>
                <a:off x="7249647" y="1362569"/>
                <a:ext cx="2304000" cy="441441"/>
              </a:xfrm>
              <a:prstGeom prst="rect">
                <a:avLst/>
              </a:prstGeom>
              <a:solidFill>
                <a:schemeClr val="accent2">
                  <a:lumMod val="40000"/>
                  <a:lumOff val="60000"/>
                </a:schemeClr>
              </a:solidFill>
              <a:ln w="635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pt-BR" sz="1200" noProof="1">
                    <a:latin typeface="Graphik" panose="020B0503030202060203" pitchFamily="34" charset="77"/>
                  </a:rPr>
                  <a:t>Criterion 3</a:t>
                </a:r>
              </a:p>
            </p:txBody>
          </p:sp>
        </p:grpSp>
        <p:grpSp>
          <p:nvGrpSpPr>
            <p:cNvPr id="19" name="Group 18" descr="Criterion 4">
              <a:extLst>
                <a:ext uri="{FF2B5EF4-FFF2-40B4-BE49-F238E27FC236}">
                  <a16:creationId xmlns:a16="http://schemas.microsoft.com/office/drawing/2014/main" id="{FCC38B1B-66F0-42EA-AE54-2C369F312F74}"/>
                </a:ext>
              </a:extLst>
            </p:cNvPr>
            <p:cNvGrpSpPr/>
            <p:nvPr/>
          </p:nvGrpSpPr>
          <p:grpSpPr>
            <a:xfrm>
              <a:off x="9551272" y="1362569"/>
              <a:ext cx="2259094" cy="1555730"/>
              <a:chOff x="9551272" y="1362569"/>
              <a:chExt cx="2304000" cy="1529012"/>
            </a:xfrm>
          </p:grpSpPr>
          <p:sp>
            <p:nvSpPr>
              <p:cNvPr id="5" name="Rectangle 84">
                <a:extLst>
                  <a:ext uri="{FF2B5EF4-FFF2-40B4-BE49-F238E27FC236}">
                    <a16:creationId xmlns:a16="http://schemas.microsoft.com/office/drawing/2014/main" id="{5E1ADCD3-41D8-4570-84D7-E188D42273B2}"/>
                  </a:ext>
                </a:extLst>
              </p:cNvPr>
              <p:cNvSpPr>
                <a:spLocks noChangeArrowheads="1"/>
              </p:cNvSpPr>
              <p:nvPr/>
            </p:nvSpPr>
            <p:spPr bwMode="auto">
              <a:xfrm>
                <a:off x="9551272" y="1804009"/>
                <a:ext cx="2304000" cy="540000"/>
              </a:xfrm>
              <a:prstGeom prst="rect">
                <a:avLst/>
              </a:prstGeom>
              <a:solidFill>
                <a:srgbClr val="E4E7E7"/>
              </a:solidFill>
              <a:ln w="6350">
                <a:solidFill>
                  <a:srgbClr val="FFFFFF"/>
                </a:solidFill>
                <a:miter lim="800000"/>
                <a:headEnd/>
                <a:tailEnd/>
              </a:ln>
              <a:effectLst/>
            </p:spPr>
            <p:txBody>
              <a:bodyPr lIns="684000" tIns="72000" rIns="108000" bIns="72000" anchor="ctr" anchorCtr="0"/>
              <a:lstStyle/>
              <a:p>
                <a:pPr marL="180970" indent="-180970" eaLnBrk="0" hangingPunct="0">
                  <a:spcBef>
                    <a:spcPct val="0"/>
                  </a:spcBef>
                  <a:buFontTx/>
                  <a:buChar char="•"/>
                  <a:defRPr/>
                </a:pPr>
                <a:endParaRPr lang="pt-BR" sz="1051" kern="0" noProof="1">
                  <a:solidFill>
                    <a:srgbClr val="000000"/>
                  </a:solidFill>
                  <a:latin typeface="Graphik" panose="020B0503030202060203" pitchFamily="34" charset="77"/>
                </a:endParaRPr>
              </a:p>
            </p:txBody>
          </p:sp>
          <p:sp>
            <p:nvSpPr>
              <p:cNvPr id="6" name="Rectangle 85">
                <a:extLst>
                  <a:ext uri="{FF2B5EF4-FFF2-40B4-BE49-F238E27FC236}">
                    <a16:creationId xmlns:a16="http://schemas.microsoft.com/office/drawing/2014/main" id="{F509ED7C-E2F8-4BE5-99EE-42BE07599347}"/>
                  </a:ext>
                </a:extLst>
              </p:cNvPr>
              <p:cNvSpPr>
                <a:spLocks noChangeArrowheads="1"/>
              </p:cNvSpPr>
              <p:nvPr/>
            </p:nvSpPr>
            <p:spPr bwMode="auto">
              <a:xfrm>
                <a:off x="9551272" y="2351581"/>
                <a:ext cx="2304000" cy="540000"/>
              </a:xfrm>
              <a:prstGeom prst="rect">
                <a:avLst/>
              </a:prstGeom>
              <a:solidFill>
                <a:srgbClr val="E4E7E7"/>
              </a:solidFill>
              <a:ln w="6350">
                <a:solidFill>
                  <a:srgbClr val="FFFFFF"/>
                </a:solidFill>
                <a:miter lim="800000"/>
                <a:headEnd/>
                <a:tailEnd/>
              </a:ln>
              <a:effectLst/>
            </p:spPr>
            <p:txBody>
              <a:bodyPr lIns="684000" tIns="72000" rIns="108000" bIns="72000" anchor="ctr" anchorCtr="0"/>
              <a:lstStyle/>
              <a:p>
                <a:pPr marL="180970" indent="-180970" eaLnBrk="0" hangingPunct="0">
                  <a:spcBef>
                    <a:spcPct val="0"/>
                  </a:spcBef>
                  <a:buFontTx/>
                  <a:buChar char="•"/>
                  <a:defRPr/>
                </a:pPr>
                <a:endParaRPr lang="pt-BR" sz="1051" kern="0" noProof="1">
                  <a:solidFill>
                    <a:srgbClr val="000000"/>
                  </a:solidFill>
                  <a:latin typeface="Graphik" panose="020B0503030202060203" pitchFamily="34" charset="77"/>
                </a:endParaRPr>
              </a:p>
            </p:txBody>
          </p:sp>
          <p:grpSp>
            <p:nvGrpSpPr>
              <p:cNvPr id="88" name="Group 199">
                <a:extLst>
                  <a:ext uri="{FF2B5EF4-FFF2-40B4-BE49-F238E27FC236}">
                    <a16:creationId xmlns:a16="http://schemas.microsoft.com/office/drawing/2014/main" id="{588A4764-5A2F-4792-9675-9772B3FAF8DB}"/>
                  </a:ext>
                </a:extLst>
              </p:cNvPr>
              <p:cNvGrpSpPr>
                <a:grpSpLocks noChangeAspect="1"/>
              </p:cNvGrpSpPr>
              <p:nvPr/>
            </p:nvGrpSpPr>
            <p:grpSpPr bwMode="auto">
              <a:xfrm>
                <a:off x="9983279" y="1946569"/>
                <a:ext cx="1440002" cy="254880"/>
                <a:chOff x="2711" y="3146"/>
                <a:chExt cx="745" cy="121"/>
              </a:xfrm>
              <a:solidFill>
                <a:srgbClr val="DCAFFF"/>
              </a:solidFill>
            </p:grpSpPr>
            <p:sp>
              <p:nvSpPr>
                <p:cNvPr id="89" name="AutoShape 200">
                  <a:extLst>
                    <a:ext uri="{FF2B5EF4-FFF2-40B4-BE49-F238E27FC236}">
                      <a16:creationId xmlns:a16="http://schemas.microsoft.com/office/drawing/2014/main" id="{3C2C6A62-46DA-4A9A-967F-085041A857F8}"/>
                    </a:ext>
                  </a:extLst>
                </p:cNvPr>
                <p:cNvSpPr>
                  <a:spLocks noChangeArrowheads="1"/>
                </p:cNvSpPr>
                <p:nvPr/>
              </p:nvSpPr>
              <p:spPr bwMode="auto">
                <a:xfrm>
                  <a:off x="2711" y="3146"/>
                  <a:ext cx="135" cy="121"/>
                </a:xfrm>
                <a:prstGeom prst="star5">
                  <a:avLst/>
                </a:pr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90" name="AutoShape 201">
                  <a:extLst>
                    <a:ext uri="{FF2B5EF4-FFF2-40B4-BE49-F238E27FC236}">
                      <a16:creationId xmlns:a16="http://schemas.microsoft.com/office/drawing/2014/main" id="{7EE7D523-4F24-4FD6-B2E1-0205FD6FC9BA}"/>
                    </a:ext>
                  </a:extLst>
                </p:cNvPr>
                <p:cNvSpPr>
                  <a:spLocks noChangeArrowheads="1"/>
                </p:cNvSpPr>
                <p:nvPr/>
              </p:nvSpPr>
              <p:spPr bwMode="auto">
                <a:xfrm>
                  <a:off x="2863" y="3146"/>
                  <a:ext cx="136" cy="121"/>
                </a:xfrm>
                <a:prstGeom prst="star5">
                  <a:avLst/>
                </a:pr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91" name="AutoShape 202">
                  <a:extLst>
                    <a:ext uri="{FF2B5EF4-FFF2-40B4-BE49-F238E27FC236}">
                      <a16:creationId xmlns:a16="http://schemas.microsoft.com/office/drawing/2014/main" id="{BE239B8C-6AFE-4F88-98BF-45DE507D2D9D}"/>
                    </a:ext>
                  </a:extLst>
                </p:cNvPr>
                <p:cNvSpPr>
                  <a:spLocks noChangeArrowheads="1"/>
                </p:cNvSpPr>
                <p:nvPr/>
              </p:nvSpPr>
              <p:spPr bwMode="auto">
                <a:xfrm>
                  <a:off x="3016" y="3146"/>
                  <a:ext cx="135" cy="121"/>
                </a:xfrm>
                <a:prstGeom prst="star5">
                  <a:avLst/>
                </a:pr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92" name="AutoShape 203">
                  <a:extLst>
                    <a:ext uri="{FF2B5EF4-FFF2-40B4-BE49-F238E27FC236}">
                      <a16:creationId xmlns:a16="http://schemas.microsoft.com/office/drawing/2014/main" id="{2A4C450A-7435-4A9A-BA4C-8EACA616C501}"/>
                    </a:ext>
                  </a:extLst>
                </p:cNvPr>
                <p:cNvSpPr>
                  <a:spLocks noChangeArrowheads="1"/>
                </p:cNvSpPr>
                <p:nvPr/>
              </p:nvSpPr>
              <p:spPr bwMode="auto">
                <a:xfrm>
                  <a:off x="3168" y="3146"/>
                  <a:ext cx="136" cy="121"/>
                </a:xfrm>
                <a:prstGeom prst="star5">
                  <a:avLst/>
                </a:pr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93" name="AutoShape 204">
                  <a:extLst>
                    <a:ext uri="{FF2B5EF4-FFF2-40B4-BE49-F238E27FC236}">
                      <a16:creationId xmlns:a16="http://schemas.microsoft.com/office/drawing/2014/main" id="{E4E15104-061A-4C3D-9FD0-75A39C2F356D}"/>
                    </a:ext>
                  </a:extLst>
                </p:cNvPr>
                <p:cNvSpPr>
                  <a:spLocks noChangeArrowheads="1"/>
                </p:cNvSpPr>
                <p:nvPr/>
              </p:nvSpPr>
              <p:spPr bwMode="auto">
                <a:xfrm>
                  <a:off x="3321" y="3146"/>
                  <a:ext cx="135" cy="121"/>
                </a:xfrm>
                <a:prstGeom prst="star5">
                  <a:avLst/>
                </a:pr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grpSp>
          <p:grpSp>
            <p:nvGrpSpPr>
              <p:cNvPr id="112" name="Group 217">
                <a:extLst>
                  <a:ext uri="{FF2B5EF4-FFF2-40B4-BE49-F238E27FC236}">
                    <a16:creationId xmlns:a16="http://schemas.microsoft.com/office/drawing/2014/main" id="{9409CC46-A906-40D3-999A-D78F16D5E3BB}"/>
                  </a:ext>
                </a:extLst>
              </p:cNvPr>
              <p:cNvGrpSpPr>
                <a:grpSpLocks noChangeAspect="1"/>
              </p:cNvGrpSpPr>
              <p:nvPr/>
            </p:nvGrpSpPr>
            <p:grpSpPr bwMode="auto">
              <a:xfrm>
                <a:off x="9983279" y="2517532"/>
                <a:ext cx="1440002" cy="254880"/>
                <a:chOff x="2711" y="3146"/>
                <a:chExt cx="745" cy="121"/>
              </a:xfrm>
            </p:grpSpPr>
            <p:sp>
              <p:nvSpPr>
                <p:cNvPr id="113" name="AutoShape 218">
                  <a:extLst>
                    <a:ext uri="{FF2B5EF4-FFF2-40B4-BE49-F238E27FC236}">
                      <a16:creationId xmlns:a16="http://schemas.microsoft.com/office/drawing/2014/main" id="{80FF1CF5-8CF4-4304-AD75-37C559BCD8D7}"/>
                    </a:ext>
                  </a:extLst>
                </p:cNvPr>
                <p:cNvSpPr>
                  <a:spLocks noChangeArrowheads="1"/>
                </p:cNvSpPr>
                <p:nvPr/>
              </p:nvSpPr>
              <p:spPr bwMode="auto">
                <a:xfrm>
                  <a:off x="2711" y="3146"/>
                  <a:ext cx="135" cy="121"/>
                </a:xfrm>
                <a:prstGeom prst="star5">
                  <a:avLst/>
                </a:pr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114" name="AutoShape 219">
                  <a:extLst>
                    <a:ext uri="{FF2B5EF4-FFF2-40B4-BE49-F238E27FC236}">
                      <a16:creationId xmlns:a16="http://schemas.microsoft.com/office/drawing/2014/main" id="{7FBF2A04-B28C-4277-B34B-BABA4D098789}"/>
                    </a:ext>
                  </a:extLst>
                </p:cNvPr>
                <p:cNvSpPr>
                  <a:spLocks noChangeArrowheads="1"/>
                </p:cNvSpPr>
                <p:nvPr/>
              </p:nvSpPr>
              <p:spPr bwMode="auto">
                <a:xfrm>
                  <a:off x="2863" y="3146"/>
                  <a:ext cx="136" cy="121"/>
                </a:xfrm>
                <a:prstGeom prst="star5">
                  <a:avLst/>
                </a:pr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115" name="AutoShape 220">
                  <a:extLst>
                    <a:ext uri="{FF2B5EF4-FFF2-40B4-BE49-F238E27FC236}">
                      <a16:creationId xmlns:a16="http://schemas.microsoft.com/office/drawing/2014/main" id="{D12F1A01-632C-4FD1-A093-8F73AE157996}"/>
                    </a:ext>
                  </a:extLst>
                </p:cNvPr>
                <p:cNvSpPr>
                  <a:spLocks noChangeArrowheads="1"/>
                </p:cNvSpPr>
                <p:nvPr/>
              </p:nvSpPr>
              <p:spPr bwMode="auto">
                <a:xfrm>
                  <a:off x="3016" y="3146"/>
                  <a:ext cx="135" cy="121"/>
                </a:xfrm>
                <a:prstGeom prst="star5">
                  <a:avLst/>
                </a:pr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116" name="AutoShape 221">
                  <a:extLst>
                    <a:ext uri="{FF2B5EF4-FFF2-40B4-BE49-F238E27FC236}">
                      <a16:creationId xmlns:a16="http://schemas.microsoft.com/office/drawing/2014/main" id="{1719BCF3-1B00-40AF-BFAE-F9616B62069F}"/>
                    </a:ext>
                  </a:extLst>
                </p:cNvPr>
                <p:cNvSpPr>
                  <a:spLocks noChangeArrowheads="1"/>
                </p:cNvSpPr>
                <p:nvPr/>
              </p:nvSpPr>
              <p:spPr bwMode="auto">
                <a:xfrm>
                  <a:off x="3168" y="3146"/>
                  <a:ext cx="136" cy="121"/>
                </a:xfrm>
                <a:prstGeom prst="star5">
                  <a:avLst/>
                </a:prstGeom>
                <a:noFill/>
                <a:ln w="12700">
                  <a:solidFill>
                    <a:schemeClr val="tx1"/>
                  </a:solidFill>
                  <a:miter lim="800000"/>
                  <a:headEnd/>
                  <a:tailEnd/>
                </a:ln>
                <a:effectLst/>
              </p:spPr>
              <p:txBody>
                <a:bodyPr wrap="none" lIns="0" tIns="0" rIns="0" bIns="0" anchor="ctr"/>
                <a:lstStyle/>
                <a:p>
                  <a:endParaRPr lang="pt-BR" sz="2400" kern="0" noProof="1">
                    <a:solidFill>
                      <a:srgbClr val="000000"/>
                    </a:solidFill>
                    <a:latin typeface="Graphik" panose="020B0503030202060203" pitchFamily="34" charset="77"/>
                  </a:endParaRPr>
                </a:p>
              </p:txBody>
            </p:sp>
            <p:sp>
              <p:nvSpPr>
                <p:cNvPr id="117" name="AutoShape 222">
                  <a:extLst>
                    <a:ext uri="{FF2B5EF4-FFF2-40B4-BE49-F238E27FC236}">
                      <a16:creationId xmlns:a16="http://schemas.microsoft.com/office/drawing/2014/main" id="{68FB2532-0D5A-4B06-8712-CE1F8A847E16}"/>
                    </a:ext>
                  </a:extLst>
                </p:cNvPr>
                <p:cNvSpPr>
                  <a:spLocks noChangeArrowheads="1"/>
                </p:cNvSpPr>
                <p:nvPr/>
              </p:nvSpPr>
              <p:spPr bwMode="auto">
                <a:xfrm>
                  <a:off x="3321" y="3146"/>
                  <a:ext cx="135" cy="121"/>
                </a:xfrm>
                <a:prstGeom prst="star5">
                  <a:avLst/>
                </a:prstGeom>
                <a:noFill/>
                <a:ln w="12700">
                  <a:solidFill>
                    <a:schemeClr val="tx1"/>
                  </a:solidFill>
                  <a:miter lim="800000"/>
                  <a:headEnd/>
                  <a:tailEnd/>
                </a:ln>
                <a:effectLst/>
              </p:spPr>
              <p:txBody>
                <a:bodyPr wrap="none" lIns="0" tIns="0" rIns="0" bIns="0" anchor="ctr"/>
                <a:lstStyle/>
                <a:p>
                  <a:endParaRPr lang="pt-BR" sz="2400" kern="0" noProof="1">
                    <a:solidFill>
                      <a:srgbClr val="000000"/>
                    </a:solidFill>
                    <a:latin typeface="Graphik" panose="020B0503030202060203" pitchFamily="34" charset="77"/>
                  </a:endParaRPr>
                </a:p>
              </p:txBody>
            </p:sp>
          </p:grpSp>
          <p:sp>
            <p:nvSpPr>
              <p:cNvPr id="167" name="Rectangle 88">
                <a:extLst>
                  <a:ext uri="{FF2B5EF4-FFF2-40B4-BE49-F238E27FC236}">
                    <a16:creationId xmlns:a16="http://schemas.microsoft.com/office/drawing/2014/main" id="{834EE302-F301-472D-A760-A805F4D13D9B}"/>
                  </a:ext>
                </a:extLst>
              </p:cNvPr>
              <p:cNvSpPr>
                <a:spLocks noChangeArrowheads="1"/>
              </p:cNvSpPr>
              <p:nvPr/>
            </p:nvSpPr>
            <p:spPr bwMode="auto">
              <a:xfrm>
                <a:off x="9551272" y="1362569"/>
                <a:ext cx="2304000" cy="441441"/>
              </a:xfrm>
              <a:prstGeom prst="rect">
                <a:avLst/>
              </a:prstGeom>
              <a:solidFill>
                <a:schemeClr val="accent2">
                  <a:lumMod val="20000"/>
                  <a:lumOff val="80000"/>
                </a:schemeClr>
              </a:solidFill>
              <a:ln w="635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pt-BR" sz="1200" noProof="1">
                    <a:latin typeface="Graphik" panose="020B0503030202060203" pitchFamily="34" charset="77"/>
                  </a:rPr>
                  <a:t>Criterion 4</a:t>
                </a:r>
              </a:p>
            </p:txBody>
          </p:sp>
        </p:grpSp>
        <p:grpSp>
          <p:nvGrpSpPr>
            <p:cNvPr id="22" name="Group 21" descr="Criteria">
              <a:extLst>
                <a:ext uri="{FF2B5EF4-FFF2-40B4-BE49-F238E27FC236}">
                  <a16:creationId xmlns:a16="http://schemas.microsoft.com/office/drawing/2014/main" id="{B543D393-6A5F-4DE5-B1CD-589A2DEBAE88}"/>
                </a:ext>
              </a:extLst>
            </p:cNvPr>
            <p:cNvGrpSpPr/>
            <p:nvPr/>
          </p:nvGrpSpPr>
          <p:grpSpPr>
            <a:xfrm>
              <a:off x="344775" y="3302060"/>
              <a:ext cx="2259094" cy="1620135"/>
              <a:chOff x="342399" y="3966420"/>
              <a:chExt cx="2304000" cy="1529012"/>
            </a:xfrm>
          </p:grpSpPr>
          <p:sp>
            <p:nvSpPr>
              <p:cNvPr id="32" name="Rectangle 129">
                <a:extLst>
                  <a:ext uri="{FF2B5EF4-FFF2-40B4-BE49-F238E27FC236}">
                    <a16:creationId xmlns:a16="http://schemas.microsoft.com/office/drawing/2014/main" id="{42D02B0E-04AE-4CB3-8763-3CAF88BD3E22}"/>
                  </a:ext>
                </a:extLst>
              </p:cNvPr>
              <p:cNvSpPr>
                <a:spLocks noChangeArrowheads="1"/>
              </p:cNvSpPr>
              <p:nvPr/>
            </p:nvSpPr>
            <p:spPr bwMode="auto">
              <a:xfrm>
                <a:off x="342399" y="4407860"/>
                <a:ext cx="2304000" cy="540000"/>
              </a:xfrm>
              <a:prstGeom prst="rect">
                <a:avLst/>
              </a:prstGeom>
              <a:solidFill>
                <a:srgbClr val="E4E7E7"/>
              </a:solidFill>
              <a:ln w="6350">
                <a:solidFill>
                  <a:srgbClr val="FFFFFF"/>
                </a:solidFill>
                <a:miter lim="800000"/>
                <a:headEnd/>
                <a:tailEnd/>
              </a:ln>
              <a:effectLst/>
            </p:spPr>
            <p:txBody>
              <a:bodyPr lIns="144000" tIns="72000" rIns="108000" bIns="72000" anchor="ctr"/>
              <a:lstStyle/>
              <a:p>
                <a:pPr eaLnBrk="0" hangingPunct="0">
                  <a:spcBef>
                    <a:spcPct val="0"/>
                  </a:spcBef>
                  <a:defRPr/>
                </a:pPr>
                <a:r>
                  <a:rPr lang="pt-BR" sz="1200" kern="0" noProof="1">
                    <a:solidFill>
                      <a:srgbClr val="000000"/>
                    </a:solidFill>
                    <a:latin typeface="Graphik" panose="020B0503030202060203" pitchFamily="34" charset="77"/>
                  </a:rPr>
                  <a:t>Criterion 1</a:t>
                </a:r>
              </a:p>
            </p:txBody>
          </p:sp>
          <p:sp>
            <p:nvSpPr>
              <p:cNvPr id="34" name="Rectangle 135">
                <a:extLst>
                  <a:ext uri="{FF2B5EF4-FFF2-40B4-BE49-F238E27FC236}">
                    <a16:creationId xmlns:a16="http://schemas.microsoft.com/office/drawing/2014/main" id="{06C81705-028D-43FA-A160-8CDB57B2596E}"/>
                  </a:ext>
                </a:extLst>
              </p:cNvPr>
              <p:cNvSpPr>
                <a:spLocks noChangeArrowheads="1"/>
              </p:cNvSpPr>
              <p:nvPr/>
            </p:nvSpPr>
            <p:spPr bwMode="auto">
              <a:xfrm>
                <a:off x="342399" y="4955432"/>
                <a:ext cx="2304000" cy="540000"/>
              </a:xfrm>
              <a:prstGeom prst="rect">
                <a:avLst/>
              </a:prstGeom>
              <a:solidFill>
                <a:srgbClr val="E4E7E7"/>
              </a:solidFill>
              <a:ln w="6350">
                <a:solidFill>
                  <a:srgbClr val="FFFFFF"/>
                </a:solidFill>
                <a:miter lim="800000"/>
                <a:headEnd/>
                <a:tailEnd/>
              </a:ln>
              <a:effectLst/>
            </p:spPr>
            <p:txBody>
              <a:bodyPr lIns="144000" tIns="72000" rIns="108000" bIns="72000" anchor="ctr"/>
              <a:lstStyle/>
              <a:p>
                <a:pPr eaLnBrk="0" hangingPunct="0">
                  <a:spcBef>
                    <a:spcPct val="0"/>
                  </a:spcBef>
                  <a:defRPr/>
                </a:pPr>
                <a:r>
                  <a:rPr lang="pt-BR" sz="1200" kern="0" noProof="1">
                    <a:solidFill>
                      <a:srgbClr val="000000"/>
                    </a:solidFill>
                    <a:latin typeface="Graphik" panose="020B0503030202060203" pitchFamily="34" charset="77"/>
                  </a:rPr>
                  <a:t>Criterion 2</a:t>
                </a:r>
              </a:p>
            </p:txBody>
          </p:sp>
          <p:sp>
            <p:nvSpPr>
              <p:cNvPr id="185" name="Rectangle 134">
                <a:extLst>
                  <a:ext uri="{FF2B5EF4-FFF2-40B4-BE49-F238E27FC236}">
                    <a16:creationId xmlns:a16="http://schemas.microsoft.com/office/drawing/2014/main" id="{DBC87270-3B4D-4973-987D-F0A8492C2199}"/>
                  </a:ext>
                </a:extLst>
              </p:cNvPr>
              <p:cNvSpPr>
                <a:spLocks noChangeArrowheads="1"/>
              </p:cNvSpPr>
              <p:nvPr/>
            </p:nvSpPr>
            <p:spPr bwMode="auto">
              <a:xfrm>
                <a:off x="342399" y="3966420"/>
                <a:ext cx="2304000" cy="441441"/>
              </a:xfrm>
              <a:prstGeom prst="rect">
                <a:avLst/>
              </a:prstGeom>
              <a:solidFill>
                <a:schemeClr val="accent3"/>
              </a:solidFill>
              <a:ln w="635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pt-BR" sz="1200" noProof="1">
                    <a:solidFill>
                      <a:srgbClr val="000000"/>
                    </a:solidFill>
                    <a:latin typeface="Graphik" panose="020B0503030202060203" pitchFamily="34" charset="77"/>
                  </a:rPr>
                  <a:t>Criteria</a:t>
                </a:r>
              </a:p>
            </p:txBody>
          </p:sp>
        </p:grpSp>
        <p:grpSp>
          <p:nvGrpSpPr>
            <p:cNvPr id="25" name="Group 24" descr="Option 1">
              <a:extLst>
                <a:ext uri="{FF2B5EF4-FFF2-40B4-BE49-F238E27FC236}">
                  <a16:creationId xmlns:a16="http://schemas.microsoft.com/office/drawing/2014/main" id="{07A1C4DA-263D-44AA-9EE5-6763356B11D9}"/>
                </a:ext>
              </a:extLst>
            </p:cNvPr>
            <p:cNvGrpSpPr/>
            <p:nvPr/>
          </p:nvGrpSpPr>
          <p:grpSpPr>
            <a:xfrm>
              <a:off x="2646399" y="3302061"/>
              <a:ext cx="2259094" cy="1620135"/>
              <a:chOff x="2644023" y="3966420"/>
              <a:chExt cx="2304000" cy="1529012"/>
            </a:xfrm>
          </p:grpSpPr>
          <p:sp>
            <p:nvSpPr>
              <p:cNvPr id="26" name="Rectangle 121">
                <a:extLst>
                  <a:ext uri="{FF2B5EF4-FFF2-40B4-BE49-F238E27FC236}">
                    <a16:creationId xmlns:a16="http://schemas.microsoft.com/office/drawing/2014/main" id="{A99EDEF2-5924-493D-97B3-8B7BCB7660B2}"/>
                  </a:ext>
                </a:extLst>
              </p:cNvPr>
              <p:cNvSpPr>
                <a:spLocks noChangeArrowheads="1"/>
              </p:cNvSpPr>
              <p:nvPr/>
            </p:nvSpPr>
            <p:spPr bwMode="auto">
              <a:xfrm>
                <a:off x="2644023" y="4955432"/>
                <a:ext cx="2304000" cy="540000"/>
              </a:xfrm>
              <a:prstGeom prst="rect">
                <a:avLst/>
              </a:prstGeom>
              <a:solidFill>
                <a:srgbClr val="E4E7E7"/>
              </a:solidFill>
              <a:ln w="6350">
                <a:solidFill>
                  <a:srgbClr val="FFFFFF"/>
                </a:solidFill>
                <a:miter lim="800000"/>
                <a:headEnd/>
                <a:tailEnd/>
              </a:ln>
              <a:effectLst/>
            </p:spPr>
            <p:txBody>
              <a:bodyPr lIns="684000" tIns="72000" rIns="108000" bIns="72000" anchor="ctr" anchorCtr="0"/>
              <a:lstStyle/>
              <a:p>
                <a:pPr marL="180970" indent="-180970" eaLnBrk="0" hangingPunct="0">
                  <a:spcBef>
                    <a:spcPct val="0"/>
                  </a:spcBef>
                  <a:buFontTx/>
                  <a:buChar char="•"/>
                  <a:defRPr/>
                </a:pPr>
                <a:endParaRPr lang="pt-BR" sz="1051" kern="0" noProof="1">
                  <a:solidFill>
                    <a:srgbClr val="000000"/>
                  </a:solidFill>
                  <a:latin typeface="Graphik" panose="020B0503030202060203" pitchFamily="34" charset="77"/>
                </a:endParaRPr>
              </a:p>
            </p:txBody>
          </p:sp>
          <p:sp>
            <p:nvSpPr>
              <p:cNvPr id="27" name="Rectangle 128">
                <a:extLst>
                  <a:ext uri="{FF2B5EF4-FFF2-40B4-BE49-F238E27FC236}">
                    <a16:creationId xmlns:a16="http://schemas.microsoft.com/office/drawing/2014/main" id="{B468771C-4D9B-49DB-B0F7-4CA39EF3B8AB}"/>
                  </a:ext>
                </a:extLst>
              </p:cNvPr>
              <p:cNvSpPr>
                <a:spLocks noChangeArrowheads="1"/>
              </p:cNvSpPr>
              <p:nvPr/>
            </p:nvSpPr>
            <p:spPr bwMode="auto">
              <a:xfrm>
                <a:off x="2644023" y="4407860"/>
                <a:ext cx="2304000" cy="540000"/>
              </a:xfrm>
              <a:prstGeom prst="rect">
                <a:avLst/>
              </a:prstGeom>
              <a:solidFill>
                <a:srgbClr val="E4E7E7"/>
              </a:solidFill>
              <a:ln w="6350">
                <a:solidFill>
                  <a:srgbClr val="FFFFFF"/>
                </a:solidFill>
                <a:miter lim="800000"/>
                <a:headEnd/>
                <a:tailEnd/>
              </a:ln>
              <a:effectLst/>
            </p:spPr>
            <p:txBody>
              <a:bodyPr lIns="684000" tIns="72000" rIns="108000" bIns="72000" anchor="ctr" anchorCtr="0"/>
              <a:lstStyle/>
              <a:p>
                <a:pPr marL="180970" indent="-180970" eaLnBrk="0" hangingPunct="0">
                  <a:spcBef>
                    <a:spcPct val="0"/>
                  </a:spcBef>
                  <a:buFontTx/>
                  <a:buChar char="•"/>
                  <a:defRPr/>
                </a:pPr>
                <a:endParaRPr lang="pt-BR" sz="1051" kern="0" noProof="1">
                  <a:solidFill>
                    <a:srgbClr val="000000"/>
                  </a:solidFill>
                  <a:latin typeface="Graphik" panose="020B0503030202060203" pitchFamily="34" charset="77"/>
                </a:endParaRPr>
              </a:p>
            </p:txBody>
          </p:sp>
          <p:grpSp>
            <p:nvGrpSpPr>
              <p:cNvPr id="118" name="Group 211">
                <a:extLst>
                  <a:ext uri="{FF2B5EF4-FFF2-40B4-BE49-F238E27FC236}">
                    <a16:creationId xmlns:a16="http://schemas.microsoft.com/office/drawing/2014/main" id="{BB8447AE-5833-49D1-B4E8-008DEFAC5B91}"/>
                  </a:ext>
                </a:extLst>
              </p:cNvPr>
              <p:cNvGrpSpPr>
                <a:grpSpLocks noChangeAspect="1"/>
              </p:cNvGrpSpPr>
              <p:nvPr/>
            </p:nvGrpSpPr>
            <p:grpSpPr bwMode="auto">
              <a:xfrm>
                <a:off x="3076030" y="4509206"/>
                <a:ext cx="1440002" cy="254869"/>
                <a:chOff x="2711" y="3146"/>
                <a:chExt cx="745" cy="121"/>
              </a:xfrm>
            </p:grpSpPr>
            <p:sp>
              <p:nvSpPr>
                <p:cNvPr id="119" name="AutoShape 212">
                  <a:extLst>
                    <a:ext uri="{FF2B5EF4-FFF2-40B4-BE49-F238E27FC236}">
                      <a16:creationId xmlns:a16="http://schemas.microsoft.com/office/drawing/2014/main" id="{900FC672-946B-469B-A4CC-C66C3D4F2688}"/>
                    </a:ext>
                  </a:extLst>
                </p:cNvPr>
                <p:cNvSpPr>
                  <a:spLocks noChangeArrowheads="1"/>
                </p:cNvSpPr>
                <p:nvPr/>
              </p:nvSpPr>
              <p:spPr bwMode="auto">
                <a:xfrm>
                  <a:off x="2711" y="3146"/>
                  <a:ext cx="135" cy="121"/>
                </a:xfrm>
                <a:prstGeom prst="star5">
                  <a:avLst/>
                </a:pr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120" name="AutoShape 213">
                  <a:extLst>
                    <a:ext uri="{FF2B5EF4-FFF2-40B4-BE49-F238E27FC236}">
                      <a16:creationId xmlns:a16="http://schemas.microsoft.com/office/drawing/2014/main" id="{64F6307B-D1ED-4F45-9E83-B39E74A68D69}"/>
                    </a:ext>
                  </a:extLst>
                </p:cNvPr>
                <p:cNvSpPr>
                  <a:spLocks noChangeArrowheads="1"/>
                </p:cNvSpPr>
                <p:nvPr/>
              </p:nvSpPr>
              <p:spPr bwMode="auto">
                <a:xfrm>
                  <a:off x="2863" y="3146"/>
                  <a:ext cx="136" cy="121"/>
                </a:xfrm>
                <a:prstGeom prst="star5">
                  <a:avLst/>
                </a:pr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121" name="AutoShape 214">
                  <a:extLst>
                    <a:ext uri="{FF2B5EF4-FFF2-40B4-BE49-F238E27FC236}">
                      <a16:creationId xmlns:a16="http://schemas.microsoft.com/office/drawing/2014/main" id="{8486AA4E-68D1-4515-BC43-76EA67957D9E}"/>
                    </a:ext>
                  </a:extLst>
                </p:cNvPr>
                <p:cNvSpPr>
                  <a:spLocks noChangeArrowheads="1"/>
                </p:cNvSpPr>
                <p:nvPr/>
              </p:nvSpPr>
              <p:spPr bwMode="auto">
                <a:xfrm>
                  <a:off x="3016" y="3146"/>
                  <a:ext cx="135" cy="121"/>
                </a:xfrm>
                <a:prstGeom prst="star5">
                  <a:avLst/>
                </a:prstGeom>
                <a:noFill/>
                <a:ln w="12700">
                  <a:solidFill>
                    <a:schemeClr val="tx1"/>
                  </a:solidFill>
                  <a:miter lim="800000"/>
                  <a:headEnd/>
                  <a:tailEnd/>
                </a:ln>
                <a:effectLst/>
              </p:spPr>
              <p:txBody>
                <a:bodyPr wrap="none" lIns="0" tIns="0" rIns="0" bIns="0" anchor="ctr"/>
                <a:lstStyle/>
                <a:p>
                  <a:endParaRPr lang="pt-BR" sz="2400" kern="0" noProof="1">
                    <a:solidFill>
                      <a:srgbClr val="000000"/>
                    </a:solidFill>
                    <a:latin typeface="Graphik" panose="020B0503030202060203" pitchFamily="34" charset="77"/>
                  </a:endParaRPr>
                </a:p>
              </p:txBody>
            </p:sp>
            <p:sp>
              <p:nvSpPr>
                <p:cNvPr id="122" name="AutoShape 215">
                  <a:extLst>
                    <a:ext uri="{FF2B5EF4-FFF2-40B4-BE49-F238E27FC236}">
                      <a16:creationId xmlns:a16="http://schemas.microsoft.com/office/drawing/2014/main" id="{7418F68C-2BB3-4B7B-BBE6-A6FC1E889456}"/>
                    </a:ext>
                  </a:extLst>
                </p:cNvPr>
                <p:cNvSpPr>
                  <a:spLocks noChangeArrowheads="1"/>
                </p:cNvSpPr>
                <p:nvPr/>
              </p:nvSpPr>
              <p:spPr bwMode="auto">
                <a:xfrm>
                  <a:off x="3168" y="3146"/>
                  <a:ext cx="136" cy="121"/>
                </a:xfrm>
                <a:prstGeom prst="star5">
                  <a:avLst/>
                </a:prstGeom>
                <a:noFill/>
                <a:ln w="12700">
                  <a:solidFill>
                    <a:schemeClr val="tx1"/>
                  </a:solidFill>
                  <a:miter lim="800000"/>
                  <a:headEnd/>
                  <a:tailEnd/>
                </a:ln>
                <a:effectLst/>
              </p:spPr>
              <p:txBody>
                <a:bodyPr wrap="none" lIns="0" tIns="0" rIns="0" bIns="0" anchor="ctr"/>
                <a:lstStyle/>
                <a:p>
                  <a:endParaRPr lang="pt-BR" sz="2400" kern="0" noProof="1">
                    <a:solidFill>
                      <a:srgbClr val="000000"/>
                    </a:solidFill>
                    <a:latin typeface="Graphik" panose="020B0503030202060203" pitchFamily="34" charset="77"/>
                  </a:endParaRPr>
                </a:p>
              </p:txBody>
            </p:sp>
            <p:sp>
              <p:nvSpPr>
                <p:cNvPr id="123" name="AutoShape 216">
                  <a:extLst>
                    <a:ext uri="{FF2B5EF4-FFF2-40B4-BE49-F238E27FC236}">
                      <a16:creationId xmlns:a16="http://schemas.microsoft.com/office/drawing/2014/main" id="{66D45AEC-1317-4E96-95C6-599C234CD96A}"/>
                    </a:ext>
                  </a:extLst>
                </p:cNvPr>
                <p:cNvSpPr>
                  <a:spLocks noChangeArrowheads="1"/>
                </p:cNvSpPr>
                <p:nvPr/>
              </p:nvSpPr>
              <p:spPr bwMode="auto">
                <a:xfrm>
                  <a:off x="3321" y="3146"/>
                  <a:ext cx="135" cy="121"/>
                </a:xfrm>
                <a:prstGeom prst="star5">
                  <a:avLst/>
                </a:prstGeom>
                <a:noFill/>
                <a:ln w="12700">
                  <a:solidFill>
                    <a:schemeClr val="tx1"/>
                  </a:solidFill>
                  <a:miter lim="800000"/>
                  <a:headEnd/>
                  <a:tailEnd/>
                </a:ln>
                <a:effectLst/>
              </p:spPr>
              <p:txBody>
                <a:bodyPr wrap="none" lIns="0" tIns="0" rIns="0" bIns="0" anchor="ctr"/>
                <a:lstStyle/>
                <a:p>
                  <a:endParaRPr lang="pt-BR" sz="2400" kern="0" noProof="1">
                    <a:solidFill>
                      <a:srgbClr val="000000"/>
                    </a:solidFill>
                    <a:latin typeface="Graphik" panose="020B0503030202060203" pitchFamily="34" charset="77"/>
                  </a:endParaRPr>
                </a:p>
              </p:txBody>
            </p:sp>
          </p:grpSp>
          <p:grpSp>
            <p:nvGrpSpPr>
              <p:cNvPr id="142" name="Group 217">
                <a:extLst>
                  <a:ext uri="{FF2B5EF4-FFF2-40B4-BE49-F238E27FC236}">
                    <a16:creationId xmlns:a16="http://schemas.microsoft.com/office/drawing/2014/main" id="{0B0578EF-9746-4DA8-BAA1-31FCF10A6F92}"/>
                  </a:ext>
                </a:extLst>
              </p:cNvPr>
              <p:cNvGrpSpPr>
                <a:grpSpLocks noChangeAspect="1"/>
              </p:cNvGrpSpPr>
              <p:nvPr/>
            </p:nvGrpSpPr>
            <p:grpSpPr bwMode="auto">
              <a:xfrm>
                <a:off x="3076030" y="5080163"/>
                <a:ext cx="1440002" cy="254880"/>
                <a:chOff x="2711" y="3146"/>
                <a:chExt cx="745" cy="121"/>
              </a:xfrm>
            </p:grpSpPr>
            <p:sp>
              <p:nvSpPr>
                <p:cNvPr id="143" name="AutoShape 218">
                  <a:extLst>
                    <a:ext uri="{FF2B5EF4-FFF2-40B4-BE49-F238E27FC236}">
                      <a16:creationId xmlns:a16="http://schemas.microsoft.com/office/drawing/2014/main" id="{A18222D9-88D7-4D43-BF3A-3DA25B8A3DBE}"/>
                    </a:ext>
                  </a:extLst>
                </p:cNvPr>
                <p:cNvSpPr>
                  <a:spLocks noChangeArrowheads="1"/>
                </p:cNvSpPr>
                <p:nvPr/>
              </p:nvSpPr>
              <p:spPr bwMode="auto">
                <a:xfrm>
                  <a:off x="2711" y="3146"/>
                  <a:ext cx="135" cy="121"/>
                </a:xfrm>
                <a:prstGeom prst="star5">
                  <a:avLst/>
                </a:pr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144" name="AutoShape 219">
                  <a:extLst>
                    <a:ext uri="{FF2B5EF4-FFF2-40B4-BE49-F238E27FC236}">
                      <a16:creationId xmlns:a16="http://schemas.microsoft.com/office/drawing/2014/main" id="{EA1F508F-0664-42C4-A43B-88F0A302CF13}"/>
                    </a:ext>
                  </a:extLst>
                </p:cNvPr>
                <p:cNvSpPr>
                  <a:spLocks noChangeArrowheads="1"/>
                </p:cNvSpPr>
                <p:nvPr/>
              </p:nvSpPr>
              <p:spPr bwMode="auto">
                <a:xfrm>
                  <a:off x="2863" y="3146"/>
                  <a:ext cx="136" cy="121"/>
                </a:xfrm>
                <a:prstGeom prst="star5">
                  <a:avLst/>
                </a:pr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145" name="AutoShape 220">
                  <a:extLst>
                    <a:ext uri="{FF2B5EF4-FFF2-40B4-BE49-F238E27FC236}">
                      <a16:creationId xmlns:a16="http://schemas.microsoft.com/office/drawing/2014/main" id="{725EA0F7-5CA3-48C0-A6D1-B5CAE1E3CC27}"/>
                    </a:ext>
                  </a:extLst>
                </p:cNvPr>
                <p:cNvSpPr>
                  <a:spLocks noChangeArrowheads="1"/>
                </p:cNvSpPr>
                <p:nvPr/>
              </p:nvSpPr>
              <p:spPr bwMode="auto">
                <a:xfrm>
                  <a:off x="3016" y="3146"/>
                  <a:ext cx="135" cy="121"/>
                </a:xfrm>
                <a:prstGeom prst="star5">
                  <a:avLst/>
                </a:pr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146" name="AutoShape 221">
                  <a:extLst>
                    <a:ext uri="{FF2B5EF4-FFF2-40B4-BE49-F238E27FC236}">
                      <a16:creationId xmlns:a16="http://schemas.microsoft.com/office/drawing/2014/main" id="{231F85B5-0EEF-47BC-9609-9F1B75A57FFA}"/>
                    </a:ext>
                  </a:extLst>
                </p:cNvPr>
                <p:cNvSpPr>
                  <a:spLocks noChangeArrowheads="1"/>
                </p:cNvSpPr>
                <p:nvPr/>
              </p:nvSpPr>
              <p:spPr bwMode="auto">
                <a:xfrm>
                  <a:off x="3168" y="3146"/>
                  <a:ext cx="136" cy="121"/>
                </a:xfrm>
                <a:prstGeom prst="star5">
                  <a:avLst/>
                </a:prstGeom>
                <a:noFill/>
                <a:ln w="12700">
                  <a:solidFill>
                    <a:schemeClr val="tx1"/>
                  </a:solidFill>
                  <a:miter lim="800000"/>
                  <a:headEnd/>
                  <a:tailEnd/>
                </a:ln>
                <a:effectLst/>
              </p:spPr>
              <p:txBody>
                <a:bodyPr wrap="none" lIns="0" tIns="0" rIns="0" bIns="0" anchor="ctr"/>
                <a:lstStyle/>
                <a:p>
                  <a:endParaRPr lang="pt-BR" sz="2400" kern="0" noProof="1">
                    <a:solidFill>
                      <a:srgbClr val="000000"/>
                    </a:solidFill>
                    <a:latin typeface="Graphik" panose="020B0503030202060203" pitchFamily="34" charset="77"/>
                  </a:endParaRPr>
                </a:p>
              </p:txBody>
            </p:sp>
            <p:sp>
              <p:nvSpPr>
                <p:cNvPr id="147" name="AutoShape 222">
                  <a:extLst>
                    <a:ext uri="{FF2B5EF4-FFF2-40B4-BE49-F238E27FC236}">
                      <a16:creationId xmlns:a16="http://schemas.microsoft.com/office/drawing/2014/main" id="{DD1782A1-58E0-41FE-9D8C-49FD90D7C655}"/>
                    </a:ext>
                  </a:extLst>
                </p:cNvPr>
                <p:cNvSpPr>
                  <a:spLocks noChangeArrowheads="1"/>
                </p:cNvSpPr>
                <p:nvPr/>
              </p:nvSpPr>
              <p:spPr bwMode="auto">
                <a:xfrm>
                  <a:off x="3321" y="3146"/>
                  <a:ext cx="135" cy="121"/>
                </a:xfrm>
                <a:prstGeom prst="star5">
                  <a:avLst/>
                </a:prstGeom>
                <a:noFill/>
                <a:ln w="12700">
                  <a:solidFill>
                    <a:schemeClr val="tx1"/>
                  </a:solidFill>
                  <a:miter lim="800000"/>
                  <a:headEnd/>
                  <a:tailEnd/>
                </a:ln>
                <a:effectLst/>
              </p:spPr>
              <p:txBody>
                <a:bodyPr wrap="none" lIns="0" tIns="0" rIns="0" bIns="0" anchor="ctr"/>
                <a:lstStyle/>
                <a:p>
                  <a:endParaRPr lang="pt-BR" sz="2400" kern="0" noProof="1">
                    <a:solidFill>
                      <a:srgbClr val="000000"/>
                    </a:solidFill>
                    <a:latin typeface="Graphik" panose="020B0503030202060203" pitchFamily="34" charset="77"/>
                  </a:endParaRPr>
                </a:p>
              </p:txBody>
            </p:sp>
          </p:grpSp>
          <p:sp>
            <p:nvSpPr>
              <p:cNvPr id="181" name="Rectangle 133">
                <a:extLst>
                  <a:ext uri="{FF2B5EF4-FFF2-40B4-BE49-F238E27FC236}">
                    <a16:creationId xmlns:a16="http://schemas.microsoft.com/office/drawing/2014/main" id="{CA4E285A-DBF7-4B98-A089-019CA899DC6C}"/>
                  </a:ext>
                </a:extLst>
              </p:cNvPr>
              <p:cNvSpPr>
                <a:spLocks noChangeArrowheads="1"/>
              </p:cNvSpPr>
              <p:nvPr/>
            </p:nvSpPr>
            <p:spPr bwMode="auto">
              <a:xfrm>
                <a:off x="2644023" y="3966420"/>
                <a:ext cx="2304000" cy="441441"/>
              </a:xfrm>
              <a:prstGeom prst="rect">
                <a:avLst/>
              </a:prstGeom>
              <a:solidFill>
                <a:schemeClr val="accent1"/>
              </a:solidFill>
              <a:ln w="635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pt-BR" sz="1200" noProof="1">
                    <a:solidFill>
                      <a:schemeClr val="bg1"/>
                    </a:solidFill>
                    <a:latin typeface="Graphik" panose="020B0503030202060203" pitchFamily="34" charset="77"/>
                  </a:rPr>
                  <a:t>Option 1</a:t>
                </a:r>
              </a:p>
            </p:txBody>
          </p:sp>
        </p:grpSp>
        <p:grpSp>
          <p:nvGrpSpPr>
            <p:cNvPr id="28" name="Group 27" descr="Option 2">
              <a:extLst>
                <a:ext uri="{FF2B5EF4-FFF2-40B4-BE49-F238E27FC236}">
                  <a16:creationId xmlns:a16="http://schemas.microsoft.com/office/drawing/2014/main" id="{4EF8AB05-09A8-4F2E-A846-086CF2E980AF}"/>
                </a:ext>
              </a:extLst>
            </p:cNvPr>
            <p:cNvGrpSpPr/>
            <p:nvPr/>
          </p:nvGrpSpPr>
          <p:grpSpPr>
            <a:xfrm>
              <a:off x="4948022" y="3302060"/>
              <a:ext cx="2259095" cy="1620135"/>
              <a:chOff x="4945646" y="3966420"/>
              <a:chExt cx="2304001" cy="1529012"/>
            </a:xfrm>
          </p:grpSpPr>
          <p:sp>
            <p:nvSpPr>
              <p:cNvPr id="20" name="Rectangle 122">
                <a:extLst>
                  <a:ext uri="{FF2B5EF4-FFF2-40B4-BE49-F238E27FC236}">
                    <a16:creationId xmlns:a16="http://schemas.microsoft.com/office/drawing/2014/main" id="{BC62A930-C249-4B3F-A3CC-3FBD9FAF0DB7}"/>
                  </a:ext>
                </a:extLst>
              </p:cNvPr>
              <p:cNvSpPr>
                <a:spLocks noChangeArrowheads="1"/>
              </p:cNvSpPr>
              <p:nvPr/>
            </p:nvSpPr>
            <p:spPr bwMode="auto">
              <a:xfrm>
                <a:off x="4945647" y="4407860"/>
                <a:ext cx="2304000" cy="540000"/>
              </a:xfrm>
              <a:prstGeom prst="rect">
                <a:avLst/>
              </a:prstGeom>
              <a:solidFill>
                <a:srgbClr val="E4E7E7"/>
              </a:solidFill>
              <a:ln w="6350">
                <a:solidFill>
                  <a:srgbClr val="FFFFFF"/>
                </a:solidFill>
                <a:miter lim="800000"/>
                <a:headEnd/>
                <a:tailEnd/>
              </a:ln>
              <a:effectLst/>
            </p:spPr>
            <p:txBody>
              <a:bodyPr lIns="684000" tIns="72000" rIns="108000" bIns="72000" anchor="ctr" anchorCtr="0"/>
              <a:lstStyle/>
              <a:p>
                <a:pPr marL="180970" indent="-180970" eaLnBrk="0" hangingPunct="0">
                  <a:spcBef>
                    <a:spcPct val="0"/>
                  </a:spcBef>
                  <a:buFontTx/>
                  <a:buChar char="•"/>
                  <a:defRPr/>
                </a:pPr>
                <a:endParaRPr lang="pt-BR" sz="1051" kern="0" noProof="1">
                  <a:solidFill>
                    <a:srgbClr val="000000"/>
                  </a:solidFill>
                  <a:latin typeface="Graphik" panose="020B0503030202060203" pitchFamily="34" charset="77"/>
                </a:endParaRPr>
              </a:p>
            </p:txBody>
          </p:sp>
          <p:sp>
            <p:nvSpPr>
              <p:cNvPr id="21" name="Rectangle 123">
                <a:extLst>
                  <a:ext uri="{FF2B5EF4-FFF2-40B4-BE49-F238E27FC236}">
                    <a16:creationId xmlns:a16="http://schemas.microsoft.com/office/drawing/2014/main" id="{4C49012F-8054-414F-9888-2A2DFCFD714C}"/>
                  </a:ext>
                </a:extLst>
              </p:cNvPr>
              <p:cNvSpPr>
                <a:spLocks noChangeArrowheads="1"/>
              </p:cNvSpPr>
              <p:nvPr/>
            </p:nvSpPr>
            <p:spPr bwMode="auto">
              <a:xfrm>
                <a:off x="4945646" y="4955432"/>
                <a:ext cx="2304000" cy="540000"/>
              </a:xfrm>
              <a:prstGeom prst="rect">
                <a:avLst/>
              </a:prstGeom>
              <a:solidFill>
                <a:srgbClr val="E4E7E7"/>
              </a:solidFill>
              <a:ln w="6350">
                <a:solidFill>
                  <a:srgbClr val="FFFFFF"/>
                </a:solidFill>
                <a:miter lim="800000"/>
                <a:headEnd/>
                <a:tailEnd/>
              </a:ln>
              <a:effectLst/>
            </p:spPr>
            <p:txBody>
              <a:bodyPr lIns="684000" tIns="72000" rIns="108000" bIns="72000" anchor="ctr" anchorCtr="0"/>
              <a:lstStyle/>
              <a:p>
                <a:pPr marL="180970" indent="-180970" eaLnBrk="0" hangingPunct="0">
                  <a:spcBef>
                    <a:spcPct val="0"/>
                  </a:spcBef>
                  <a:buFontTx/>
                  <a:buChar char="•"/>
                  <a:defRPr/>
                </a:pPr>
                <a:endParaRPr lang="pt-BR" sz="1051" kern="0" noProof="1">
                  <a:solidFill>
                    <a:srgbClr val="000000"/>
                  </a:solidFill>
                  <a:latin typeface="Graphik" panose="020B0503030202060203" pitchFamily="34" charset="77"/>
                </a:endParaRPr>
              </a:p>
            </p:txBody>
          </p:sp>
          <p:grpSp>
            <p:nvGrpSpPr>
              <p:cNvPr id="124" name="Group 205">
                <a:extLst>
                  <a:ext uri="{FF2B5EF4-FFF2-40B4-BE49-F238E27FC236}">
                    <a16:creationId xmlns:a16="http://schemas.microsoft.com/office/drawing/2014/main" id="{8BFD1E9E-194E-4ED4-9913-A6BE1816F994}"/>
                  </a:ext>
                </a:extLst>
              </p:cNvPr>
              <p:cNvGrpSpPr>
                <a:grpSpLocks noChangeAspect="1"/>
              </p:cNvGrpSpPr>
              <p:nvPr/>
            </p:nvGrpSpPr>
            <p:grpSpPr bwMode="auto">
              <a:xfrm>
                <a:off x="5377654" y="5111529"/>
                <a:ext cx="1440002" cy="254880"/>
                <a:chOff x="2711" y="3146"/>
                <a:chExt cx="745" cy="121"/>
              </a:xfrm>
            </p:grpSpPr>
            <p:sp>
              <p:nvSpPr>
                <p:cNvPr id="125" name="AutoShape 206">
                  <a:extLst>
                    <a:ext uri="{FF2B5EF4-FFF2-40B4-BE49-F238E27FC236}">
                      <a16:creationId xmlns:a16="http://schemas.microsoft.com/office/drawing/2014/main" id="{7770A580-83EF-4FCD-BB23-88F2E17BADD3}"/>
                    </a:ext>
                  </a:extLst>
                </p:cNvPr>
                <p:cNvSpPr>
                  <a:spLocks noChangeArrowheads="1"/>
                </p:cNvSpPr>
                <p:nvPr/>
              </p:nvSpPr>
              <p:spPr bwMode="auto">
                <a:xfrm>
                  <a:off x="2711" y="3146"/>
                  <a:ext cx="135" cy="121"/>
                </a:xfrm>
                <a:prstGeom prst="star5">
                  <a:avLst/>
                </a:pr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126" name="AutoShape 207">
                  <a:extLst>
                    <a:ext uri="{FF2B5EF4-FFF2-40B4-BE49-F238E27FC236}">
                      <a16:creationId xmlns:a16="http://schemas.microsoft.com/office/drawing/2014/main" id="{0F62552B-6B00-4BCE-8718-F95BCB0CBE79}"/>
                    </a:ext>
                  </a:extLst>
                </p:cNvPr>
                <p:cNvSpPr>
                  <a:spLocks noChangeArrowheads="1"/>
                </p:cNvSpPr>
                <p:nvPr/>
              </p:nvSpPr>
              <p:spPr bwMode="auto">
                <a:xfrm>
                  <a:off x="2863" y="3146"/>
                  <a:ext cx="136" cy="121"/>
                </a:xfrm>
                <a:prstGeom prst="star5">
                  <a:avLst/>
                </a:prstGeom>
                <a:noFill/>
                <a:ln w="12700">
                  <a:solidFill>
                    <a:schemeClr val="tx1"/>
                  </a:solidFill>
                  <a:miter lim="800000"/>
                  <a:headEnd/>
                  <a:tailEnd/>
                </a:ln>
                <a:effectLst/>
              </p:spPr>
              <p:txBody>
                <a:bodyPr wrap="none" lIns="0" tIns="0" rIns="0" bIns="0" anchor="ctr"/>
                <a:lstStyle/>
                <a:p>
                  <a:endParaRPr lang="pt-BR" sz="2400" kern="0" noProof="1">
                    <a:solidFill>
                      <a:srgbClr val="000000"/>
                    </a:solidFill>
                    <a:latin typeface="Graphik" panose="020B0503030202060203" pitchFamily="34" charset="77"/>
                  </a:endParaRPr>
                </a:p>
              </p:txBody>
            </p:sp>
            <p:sp>
              <p:nvSpPr>
                <p:cNvPr id="127" name="AutoShape 208">
                  <a:extLst>
                    <a:ext uri="{FF2B5EF4-FFF2-40B4-BE49-F238E27FC236}">
                      <a16:creationId xmlns:a16="http://schemas.microsoft.com/office/drawing/2014/main" id="{3C6D5FAF-2FF2-4728-AAF1-593A1F4C9CDF}"/>
                    </a:ext>
                  </a:extLst>
                </p:cNvPr>
                <p:cNvSpPr>
                  <a:spLocks noChangeArrowheads="1"/>
                </p:cNvSpPr>
                <p:nvPr/>
              </p:nvSpPr>
              <p:spPr bwMode="auto">
                <a:xfrm>
                  <a:off x="3016" y="3146"/>
                  <a:ext cx="135" cy="121"/>
                </a:xfrm>
                <a:prstGeom prst="star5">
                  <a:avLst/>
                </a:prstGeom>
                <a:noFill/>
                <a:ln w="12700">
                  <a:solidFill>
                    <a:schemeClr val="tx1"/>
                  </a:solidFill>
                  <a:miter lim="800000"/>
                  <a:headEnd/>
                  <a:tailEnd/>
                </a:ln>
                <a:effectLst/>
              </p:spPr>
              <p:txBody>
                <a:bodyPr wrap="none" lIns="0" tIns="0" rIns="0" bIns="0" anchor="ctr"/>
                <a:lstStyle/>
                <a:p>
                  <a:endParaRPr lang="pt-BR" sz="2400" kern="0" noProof="1">
                    <a:solidFill>
                      <a:srgbClr val="000000"/>
                    </a:solidFill>
                    <a:latin typeface="Graphik" panose="020B0503030202060203" pitchFamily="34" charset="77"/>
                  </a:endParaRPr>
                </a:p>
              </p:txBody>
            </p:sp>
            <p:sp>
              <p:nvSpPr>
                <p:cNvPr id="128" name="AutoShape 209">
                  <a:extLst>
                    <a:ext uri="{FF2B5EF4-FFF2-40B4-BE49-F238E27FC236}">
                      <a16:creationId xmlns:a16="http://schemas.microsoft.com/office/drawing/2014/main" id="{4A691FC4-332A-4DA2-A17C-37228E570DF8}"/>
                    </a:ext>
                  </a:extLst>
                </p:cNvPr>
                <p:cNvSpPr>
                  <a:spLocks noChangeArrowheads="1"/>
                </p:cNvSpPr>
                <p:nvPr/>
              </p:nvSpPr>
              <p:spPr bwMode="auto">
                <a:xfrm>
                  <a:off x="3168" y="3146"/>
                  <a:ext cx="136" cy="121"/>
                </a:xfrm>
                <a:prstGeom prst="star5">
                  <a:avLst/>
                </a:prstGeom>
                <a:noFill/>
                <a:ln w="12700">
                  <a:solidFill>
                    <a:schemeClr val="tx1"/>
                  </a:solidFill>
                  <a:miter lim="800000"/>
                  <a:headEnd/>
                  <a:tailEnd/>
                </a:ln>
                <a:effectLst/>
              </p:spPr>
              <p:txBody>
                <a:bodyPr wrap="none" lIns="0" tIns="0" rIns="0" bIns="0" anchor="ctr"/>
                <a:lstStyle/>
                <a:p>
                  <a:endParaRPr lang="pt-BR" sz="2400" kern="0" noProof="1">
                    <a:solidFill>
                      <a:srgbClr val="000000"/>
                    </a:solidFill>
                    <a:latin typeface="Graphik" panose="020B0503030202060203" pitchFamily="34" charset="77"/>
                  </a:endParaRPr>
                </a:p>
              </p:txBody>
            </p:sp>
            <p:sp>
              <p:nvSpPr>
                <p:cNvPr id="129" name="AutoShape 210">
                  <a:extLst>
                    <a:ext uri="{FF2B5EF4-FFF2-40B4-BE49-F238E27FC236}">
                      <a16:creationId xmlns:a16="http://schemas.microsoft.com/office/drawing/2014/main" id="{771E233B-0263-41F3-99AF-8ADE7E50D4FE}"/>
                    </a:ext>
                  </a:extLst>
                </p:cNvPr>
                <p:cNvSpPr>
                  <a:spLocks noChangeArrowheads="1"/>
                </p:cNvSpPr>
                <p:nvPr/>
              </p:nvSpPr>
              <p:spPr bwMode="auto">
                <a:xfrm>
                  <a:off x="3321" y="3146"/>
                  <a:ext cx="135" cy="121"/>
                </a:xfrm>
                <a:prstGeom prst="star5">
                  <a:avLst/>
                </a:prstGeom>
                <a:noFill/>
                <a:ln w="12700">
                  <a:solidFill>
                    <a:schemeClr val="tx1"/>
                  </a:solidFill>
                  <a:miter lim="800000"/>
                  <a:headEnd/>
                  <a:tailEnd/>
                </a:ln>
                <a:effectLst/>
              </p:spPr>
              <p:txBody>
                <a:bodyPr wrap="none" lIns="0" tIns="0" rIns="0" bIns="0" anchor="ctr"/>
                <a:lstStyle/>
                <a:p>
                  <a:endParaRPr lang="pt-BR" sz="2400" kern="0" noProof="1">
                    <a:solidFill>
                      <a:srgbClr val="000000"/>
                    </a:solidFill>
                    <a:latin typeface="Graphik" panose="020B0503030202060203" pitchFamily="34" charset="77"/>
                  </a:endParaRPr>
                </a:p>
              </p:txBody>
            </p:sp>
          </p:grpSp>
          <p:grpSp>
            <p:nvGrpSpPr>
              <p:cNvPr id="130" name="Group 223">
                <a:extLst>
                  <a:ext uri="{FF2B5EF4-FFF2-40B4-BE49-F238E27FC236}">
                    <a16:creationId xmlns:a16="http://schemas.microsoft.com/office/drawing/2014/main" id="{1A91A53F-3042-400F-B566-78B1C9D027BE}"/>
                  </a:ext>
                </a:extLst>
              </p:cNvPr>
              <p:cNvGrpSpPr>
                <a:grpSpLocks noChangeAspect="1"/>
              </p:cNvGrpSpPr>
              <p:nvPr/>
            </p:nvGrpSpPr>
            <p:grpSpPr bwMode="auto">
              <a:xfrm>
                <a:off x="5377654" y="4542903"/>
                <a:ext cx="850471" cy="254880"/>
                <a:chOff x="2711" y="3162"/>
                <a:chExt cx="440" cy="121"/>
              </a:xfrm>
            </p:grpSpPr>
            <p:sp>
              <p:nvSpPr>
                <p:cNvPr id="131" name="AutoShape 224">
                  <a:extLst>
                    <a:ext uri="{FF2B5EF4-FFF2-40B4-BE49-F238E27FC236}">
                      <a16:creationId xmlns:a16="http://schemas.microsoft.com/office/drawing/2014/main" id="{727D2526-403A-4F33-B191-0D37EFFC1899}"/>
                    </a:ext>
                  </a:extLst>
                </p:cNvPr>
                <p:cNvSpPr>
                  <a:spLocks noChangeArrowheads="1"/>
                </p:cNvSpPr>
                <p:nvPr/>
              </p:nvSpPr>
              <p:spPr bwMode="auto">
                <a:xfrm>
                  <a:off x="2711" y="3162"/>
                  <a:ext cx="135" cy="121"/>
                </a:xfrm>
                <a:prstGeom prst="star5">
                  <a:avLst/>
                </a:pr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132" name="AutoShape 225">
                  <a:extLst>
                    <a:ext uri="{FF2B5EF4-FFF2-40B4-BE49-F238E27FC236}">
                      <a16:creationId xmlns:a16="http://schemas.microsoft.com/office/drawing/2014/main" id="{DAB93122-5964-4CC8-8373-B63E1505F429}"/>
                    </a:ext>
                  </a:extLst>
                </p:cNvPr>
                <p:cNvSpPr>
                  <a:spLocks noChangeArrowheads="1"/>
                </p:cNvSpPr>
                <p:nvPr/>
              </p:nvSpPr>
              <p:spPr bwMode="auto">
                <a:xfrm>
                  <a:off x="2863" y="3162"/>
                  <a:ext cx="136" cy="121"/>
                </a:xfrm>
                <a:prstGeom prst="star5">
                  <a:avLst/>
                </a:pr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133" name="AutoShape 226">
                  <a:extLst>
                    <a:ext uri="{FF2B5EF4-FFF2-40B4-BE49-F238E27FC236}">
                      <a16:creationId xmlns:a16="http://schemas.microsoft.com/office/drawing/2014/main" id="{7536E15A-9E72-495C-8A50-0103042F02DC}"/>
                    </a:ext>
                  </a:extLst>
                </p:cNvPr>
                <p:cNvSpPr>
                  <a:spLocks noChangeArrowheads="1"/>
                </p:cNvSpPr>
                <p:nvPr/>
              </p:nvSpPr>
              <p:spPr bwMode="auto">
                <a:xfrm>
                  <a:off x="3016" y="3162"/>
                  <a:ext cx="135" cy="121"/>
                </a:xfrm>
                <a:prstGeom prst="star5">
                  <a:avLst/>
                </a:pr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grpSp>
          <p:sp>
            <p:nvSpPr>
              <p:cNvPr id="177" name="Rectangle 132">
                <a:extLst>
                  <a:ext uri="{FF2B5EF4-FFF2-40B4-BE49-F238E27FC236}">
                    <a16:creationId xmlns:a16="http://schemas.microsoft.com/office/drawing/2014/main" id="{E80F4484-4A44-40EA-AA87-EFCD2E5CA733}"/>
                  </a:ext>
                </a:extLst>
              </p:cNvPr>
              <p:cNvSpPr>
                <a:spLocks noChangeArrowheads="1"/>
              </p:cNvSpPr>
              <p:nvPr/>
            </p:nvSpPr>
            <p:spPr bwMode="auto">
              <a:xfrm>
                <a:off x="4945647" y="3966420"/>
                <a:ext cx="2304000" cy="441441"/>
              </a:xfrm>
              <a:prstGeom prst="rect">
                <a:avLst/>
              </a:prstGeom>
              <a:solidFill>
                <a:schemeClr val="accent1">
                  <a:lumMod val="60000"/>
                  <a:lumOff val="40000"/>
                </a:schemeClr>
              </a:solidFill>
              <a:ln w="635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pt-BR" sz="1200" noProof="1">
                    <a:solidFill>
                      <a:srgbClr val="000000"/>
                    </a:solidFill>
                    <a:latin typeface="Graphik" panose="020B0503030202060203" pitchFamily="34" charset="77"/>
                  </a:rPr>
                  <a:t>Option 2</a:t>
                </a:r>
              </a:p>
            </p:txBody>
          </p:sp>
          <p:grpSp>
            <p:nvGrpSpPr>
              <p:cNvPr id="180" name="Group 223">
                <a:extLst>
                  <a:ext uri="{FF2B5EF4-FFF2-40B4-BE49-F238E27FC236}">
                    <a16:creationId xmlns:a16="http://schemas.microsoft.com/office/drawing/2014/main" id="{B16479B7-41A9-4C5B-A7CD-A026D0327BA8}"/>
                  </a:ext>
                </a:extLst>
              </p:cNvPr>
              <p:cNvGrpSpPr>
                <a:grpSpLocks noChangeAspect="1"/>
              </p:cNvGrpSpPr>
              <p:nvPr/>
            </p:nvGrpSpPr>
            <p:grpSpPr bwMode="auto">
              <a:xfrm>
                <a:off x="6260964" y="4542695"/>
                <a:ext cx="556670" cy="254880"/>
                <a:chOff x="3168" y="3146"/>
                <a:chExt cx="288" cy="121"/>
              </a:xfrm>
            </p:grpSpPr>
            <p:sp>
              <p:nvSpPr>
                <p:cNvPr id="187" name="AutoShape 227">
                  <a:extLst>
                    <a:ext uri="{FF2B5EF4-FFF2-40B4-BE49-F238E27FC236}">
                      <a16:creationId xmlns:a16="http://schemas.microsoft.com/office/drawing/2014/main" id="{A6C749F8-9A51-4EB8-AEC7-B2FBBA3ACA12}"/>
                    </a:ext>
                  </a:extLst>
                </p:cNvPr>
                <p:cNvSpPr>
                  <a:spLocks noChangeArrowheads="1"/>
                </p:cNvSpPr>
                <p:nvPr/>
              </p:nvSpPr>
              <p:spPr bwMode="auto">
                <a:xfrm>
                  <a:off x="3168" y="3146"/>
                  <a:ext cx="136" cy="121"/>
                </a:xfrm>
                <a:prstGeom prst="star5">
                  <a:avLst/>
                </a:pr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188" name="AutoShape 228">
                  <a:extLst>
                    <a:ext uri="{FF2B5EF4-FFF2-40B4-BE49-F238E27FC236}">
                      <a16:creationId xmlns:a16="http://schemas.microsoft.com/office/drawing/2014/main" id="{BB2B6A05-26CC-4A65-80DD-5DE056486C6E}"/>
                    </a:ext>
                  </a:extLst>
                </p:cNvPr>
                <p:cNvSpPr>
                  <a:spLocks noChangeArrowheads="1"/>
                </p:cNvSpPr>
                <p:nvPr/>
              </p:nvSpPr>
              <p:spPr bwMode="auto">
                <a:xfrm>
                  <a:off x="3321" y="3146"/>
                  <a:ext cx="135" cy="121"/>
                </a:xfrm>
                <a:prstGeom prst="star5">
                  <a:avLst/>
                </a:prstGeom>
                <a:noFill/>
                <a:ln w="12700">
                  <a:solidFill>
                    <a:schemeClr val="tx1"/>
                  </a:solidFill>
                  <a:miter lim="800000"/>
                  <a:headEnd/>
                  <a:tailEnd/>
                </a:ln>
                <a:effectLst/>
              </p:spPr>
              <p:txBody>
                <a:bodyPr wrap="none" lIns="0" tIns="0" rIns="0" bIns="0" anchor="ctr"/>
                <a:lstStyle/>
                <a:p>
                  <a:endParaRPr lang="pt-BR" sz="2400" kern="0" noProof="1">
                    <a:solidFill>
                      <a:srgbClr val="000000"/>
                    </a:solidFill>
                    <a:latin typeface="Graphik" panose="020B0503030202060203" pitchFamily="34" charset="77"/>
                  </a:endParaRPr>
                </a:p>
              </p:txBody>
            </p:sp>
          </p:grpSp>
        </p:grpSp>
        <p:grpSp>
          <p:nvGrpSpPr>
            <p:cNvPr id="30" name="Group 29" descr="Option 3">
              <a:extLst>
                <a:ext uri="{FF2B5EF4-FFF2-40B4-BE49-F238E27FC236}">
                  <a16:creationId xmlns:a16="http://schemas.microsoft.com/office/drawing/2014/main" id="{957F27FC-ACB8-4F0B-9A40-C597CE20CCE6}"/>
                </a:ext>
              </a:extLst>
            </p:cNvPr>
            <p:cNvGrpSpPr/>
            <p:nvPr/>
          </p:nvGrpSpPr>
          <p:grpSpPr>
            <a:xfrm>
              <a:off x="7249647" y="3302060"/>
              <a:ext cx="2259094" cy="1620135"/>
              <a:chOff x="7247271" y="3966420"/>
              <a:chExt cx="2304000" cy="1529012"/>
            </a:xfrm>
          </p:grpSpPr>
          <p:sp>
            <p:nvSpPr>
              <p:cNvPr id="14" name="Rectangle 124">
                <a:extLst>
                  <a:ext uri="{FF2B5EF4-FFF2-40B4-BE49-F238E27FC236}">
                    <a16:creationId xmlns:a16="http://schemas.microsoft.com/office/drawing/2014/main" id="{2CDE9B77-768E-4CAD-BB7A-8EBB44823021}"/>
                  </a:ext>
                </a:extLst>
              </p:cNvPr>
              <p:cNvSpPr>
                <a:spLocks noChangeArrowheads="1"/>
              </p:cNvSpPr>
              <p:nvPr/>
            </p:nvSpPr>
            <p:spPr bwMode="auto">
              <a:xfrm>
                <a:off x="7247271" y="4407860"/>
                <a:ext cx="2304000" cy="540000"/>
              </a:xfrm>
              <a:prstGeom prst="rect">
                <a:avLst/>
              </a:prstGeom>
              <a:solidFill>
                <a:srgbClr val="E4E7E7"/>
              </a:solidFill>
              <a:ln w="6350">
                <a:solidFill>
                  <a:srgbClr val="FFFFFF"/>
                </a:solidFill>
                <a:miter lim="800000"/>
                <a:headEnd/>
                <a:tailEnd/>
              </a:ln>
              <a:effectLst/>
            </p:spPr>
            <p:txBody>
              <a:bodyPr lIns="684000" tIns="72000" rIns="108000" bIns="72000" anchor="ctr" anchorCtr="0"/>
              <a:lstStyle/>
              <a:p>
                <a:pPr marL="180970" indent="-180970" eaLnBrk="0" hangingPunct="0">
                  <a:spcBef>
                    <a:spcPct val="0"/>
                  </a:spcBef>
                  <a:buFontTx/>
                  <a:buChar char="•"/>
                  <a:defRPr/>
                </a:pPr>
                <a:endParaRPr lang="pt-BR" sz="1051" kern="0" noProof="1">
                  <a:solidFill>
                    <a:srgbClr val="000000"/>
                  </a:solidFill>
                  <a:latin typeface="Graphik" panose="020B0503030202060203" pitchFamily="34" charset="77"/>
                </a:endParaRPr>
              </a:p>
            </p:txBody>
          </p:sp>
          <p:sp>
            <p:nvSpPr>
              <p:cNvPr id="15" name="Rectangle 125">
                <a:extLst>
                  <a:ext uri="{FF2B5EF4-FFF2-40B4-BE49-F238E27FC236}">
                    <a16:creationId xmlns:a16="http://schemas.microsoft.com/office/drawing/2014/main" id="{B4470BE9-8FE2-4384-AA9E-D36EBBCABDB4}"/>
                  </a:ext>
                </a:extLst>
              </p:cNvPr>
              <p:cNvSpPr>
                <a:spLocks noChangeArrowheads="1"/>
              </p:cNvSpPr>
              <p:nvPr/>
            </p:nvSpPr>
            <p:spPr bwMode="auto">
              <a:xfrm>
                <a:off x="7247271" y="4955432"/>
                <a:ext cx="2304000" cy="540000"/>
              </a:xfrm>
              <a:prstGeom prst="rect">
                <a:avLst/>
              </a:prstGeom>
              <a:solidFill>
                <a:srgbClr val="E4E7E7"/>
              </a:solidFill>
              <a:ln w="6350">
                <a:solidFill>
                  <a:srgbClr val="FFFFFF"/>
                </a:solidFill>
                <a:miter lim="800000"/>
                <a:headEnd/>
                <a:tailEnd/>
              </a:ln>
              <a:effectLst/>
            </p:spPr>
            <p:txBody>
              <a:bodyPr lIns="684000" tIns="72000" rIns="108000" bIns="72000" anchor="ctr" anchorCtr="0"/>
              <a:lstStyle/>
              <a:p>
                <a:pPr marL="180970" indent="-180970" eaLnBrk="0" hangingPunct="0">
                  <a:spcBef>
                    <a:spcPct val="0"/>
                  </a:spcBef>
                  <a:buFontTx/>
                  <a:buChar char="•"/>
                  <a:defRPr/>
                </a:pPr>
                <a:endParaRPr lang="pt-BR" sz="1051" kern="0" noProof="1">
                  <a:solidFill>
                    <a:srgbClr val="000000"/>
                  </a:solidFill>
                  <a:latin typeface="Graphik" panose="020B0503030202060203" pitchFamily="34" charset="77"/>
                </a:endParaRPr>
              </a:p>
            </p:txBody>
          </p:sp>
          <p:grpSp>
            <p:nvGrpSpPr>
              <p:cNvPr id="148" name="Group 211">
                <a:extLst>
                  <a:ext uri="{FF2B5EF4-FFF2-40B4-BE49-F238E27FC236}">
                    <a16:creationId xmlns:a16="http://schemas.microsoft.com/office/drawing/2014/main" id="{56979BE9-EA54-4B0A-A398-3527F57ED5FE}"/>
                  </a:ext>
                </a:extLst>
              </p:cNvPr>
              <p:cNvGrpSpPr>
                <a:grpSpLocks noChangeAspect="1"/>
              </p:cNvGrpSpPr>
              <p:nvPr/>
            </p:nvGrpSpPr>
            <p:grpSpPr bwMode="auto">
              <a:xfrm>
                <a:off x="7679278" y="5056777"/>
                <a:ext cx="1440002" cy="254869"/>
                <a:chOff x="2711" y="3146"/>
                <a:chExt cx="745" cy="121"/>
              </a:xfrm>
            </p:grpSpPr>
            <p:sp>
              <p:nvSpPr>
                <p:cNvPr id="149" name="AutoShape 212">
                  <a:extLst>
                    <a:ext uri="{FF2B5EF4-FFF2-40B4-BE49-F238E27FC236}">
                      <a16:creationId xmlns:a16="http://schemas.microsoft.com/office/drawing/2014/main" id="{5DAA56AB-006C-4701-8B24-A882B2E1CAFD}"/>
                    </a:ext>
                  </a:extLst>
                </p:cNvPr>
                <p:cNvSpPr>
                  <a:spLocks noChangeArrowheads="1"/>
                </p:cNvSpPr>
                <p:nvPr/>
              </p:nvSpPr>
              <p:spPr bwMode="auto">
                <a:xfrm>
                  <a:off x="2711" y="3146"/>
                  <a:ext cx="135" cy="121"/>
                </a:xfrm>
                <a:prstGeom prst="star5">
                  <a:avLst/>
                </a:pr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150" name="AutoShape 213">
                  <a:extLst>
                    <a:ext uri="{FF2B5EF4-FFF2-40B4-BE49-F238E27FC236}">
                      <a16:creationId xmlns:a16="http://schemas.microsoft.com/office/drawing/2014/main" id="{971D3652-23C4-4481-B18F-0AFD97505293}"/>
                    </a:ext>
                  </a:extLst>
                </p:cNvPr>
                <p:cNvSpPr>
                  <a:spLocks noChangeArrowheads="1"/>
                </p:cNvSpPr>
                <p:nvPr/>
              </p:nvSpPr>
              <p:spPr bwMode="auto">
                <a:xfrm>
                  <a:off x="2863" y="3146"/>
                  <a:ext cx="136" cy="121"/>
                </a:xfrm>
                <a:prstGeom prst="star5">
                  <a:avLst/>
                </a:pr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151" name="AutoShape 214">
                  <a:extLst>
                    <a:ext uri="{FF2B5EF4-FFF2-40B4-BE49-F238E27FC236}">
                      <a16:creationId xmlns:a16="http://schemas.microsoft.com/office/drawing/2014/main" id="{7E29C959-EE9A-4F11-8541-7AD1D754B6E6}"/>
                    </a:ext>
                  </a:extLst>
                </p:cNvPr>
                <p:cNvSpPr>
                  <a:spLocks noChangeArrowheads="1"/>
                </p:cNvSpPr>
                <p:nvPr/>
              </p:nvSpPr>
              <p:spPr bwMode="auto">
                <a:xfrm>
                  <a:off x="3016" y="3146"/>
                  <a:ext cx="135" cy="121"/>
                </a:xfrm>
                <a:prstGeom prst="star5">
                  <a:avLst/>
                </a:prstGeom>
                <a:noFill/>
                <a:ln w="12700">
                  <a:solidFill>
                    <a:schemeClr val="tx1"/>
                  </a:solidFill>
                  <a:miter lim="800000"/>
                  <a:headEnd/>
                  <a:tailEnd/>
                </a:ln>
                <a:effectLst/>
              </p:spPr>
              <p:txBody>
                <a:bodyPr wrap="none" lIns="0" tIns="0" rIns="0" bIns="0" anchor="ctr"/>
                <a:lstStyle/>
                <a:p>
                  <a:endParaRPr lang="pt-BR" sz="2400" kern="0" noProof="1">
                    <a:solidFill>
                      <a:srgbClr val="000000"/>
                    </a:solidFill>
                    <a:latin typeface="Graphik" panose="020B0503030202060203" pitchFamily="34" charset="77"/>
                  </a:endParaRPr>
                </a:p>
              </p:txBody>
            </p:sp>
            <p:sp>
              <p:nvSpPr>
                <p:cNvPr id="152" name="AutoShape 215">
                  <a:extLst>
                    <a:ext uri="{FF2B5EF4-FFF2-40B4-BE49-F238E27FC236}">
                      <a16:creationId xmlns:a16="http://schemas.microsoft.com/office/drawing/2014/main" id="{C208FA36-384C-4C10-990E-3FCA80974BF0}"/>
                    </a:ext>
                  </a:extLst>
                </p:cNvPr>
                <p:cNvSpPr>
                  <a:spLocks noChangeArrowheads="1"/>
                </p:cNvSpPr>
                <p:nvPr/>
              </p:nvSpPr>
              <p:spPr bwMode="auto">
                <a:xfrm>
                  <a:off x="3168" y="3146"/>
                  <a:ext cx="136" cy="121"/>
                </a:xfrm>
                <a:prstGeom prst="star5">
                  <a:avLst/>
                </a:prstGeom>
                <a:noFill/>
                <a:ln w="12700">
                  <a:solidFill>
                    <a:schemeClr val="tx1"/>
                  </a:solidFill>
                  <a:miter lim="800000"/>
                  <a:headEnd/>
                  <a:tailEnd/>
                </a:ln>
                <a:effectLst/>
              </p:spPr>
              <p:txBody>
                <a:bodyPr wrap="none" lIns="0" tIns="0" rIns="0" bIns="0" anchor="ctr"/>
                <a:lstStyle/>
                <a:p>
                  <a:endParaRPr lang="pt-BR" sz="2400" kern="0" noProof="1">
                    <a:solidFill>
                      <a:srgbClr val="000000"/>
                    </a:solidFill>
                    <a:latin typeface="Graphik" panose="020B0503030202060203" pitchFamily="34" charset="77"/>
                  </a:endParaRPr>
                </a:p>
              </p:txBody>
            </p:sp>
            <p:sp>
              <p:nvSpPr>
                <p:cNvPr id="153" name="AutoShape 216">
                  <a:extLst>
                    <a:ext uri="{FF2B5EF4-FFF2-40B4-BE49-F238E27FC236}">
                      <a16:creationId xmlns:a16="http://schemas.microsoft.com/office/drawing/2014/main" id="{26AF11BC-14D8-4FEC-AA64-5C85072CAB57}"/>
                    </a:ext>
                  </a:extLst>
                </p:cNvPr>
                <p:cNvSpPr>
                  <a:spLocks noChangeArrowheads="1"/>
                </p:cNvSpPr>
                <p:nvPr/>
              </p:nvSpPr>
              <p:spPr bwMode="auto">
                <a:xfrm>
                  <a:off x="3321" y="3146"/>
                  <a:ext cx="135" cy="121"/>
                </a:xfrm>
                <a:prstGeom prst="star5">
                  <a:avLst/>
                </a:prstGeom>
                <a:noFill/>
                <a:ln w="12700">
                  <a:solidFill>
                    <a:schemeClr val="tx1"/>
                  </a:solidFill>
                  <a:miter lim="800000"/>
                  <a:headEnd/>
                  <a:tailEnd/>
                </a:ln>
                <a:effectLst/>
              </p:spPr>
              <p:txBody>
                <a:bodyPr wrap="none" lIns="0" tIns="0" rIns="0" bIns="0" anchor="ctr"/>
                <a:lstStyle/>
                <a:p>
                  <a:endParaRPr lang="pt-BR" sz="2400" kern="0" noProof="1">
                    <a:solidFill>
                      <a:srgbClr val="000000"/>
                    </a:solidFill>
                    <a:latin typeface="Graphik" panose="020B0503030202060203" pitchFamily="34" charset="77"/>
                  </a:endParaRPr>
                </a:p>
              </p:txBody>
            </p:sp>
          </p:grpSp>
          <p:grpSp>
            <p:nvGrpSpPr>
              <p:cNvPr id="154" name="Group 223">
                <a:extLst>
                  <a:ext uri="{FF2B5EF4-FFF2-40B4-BE49-F238E27FC236}">
                    <a16:creationId xmlns:a16="http://schemas.microsoft.com/office/drawing/2014/main" id="{D39496F1-F03B-44B1-ACD4-9302C332B1FA}"/>
                  </a:ext>
                </a:extLst>
              </p:cNvPr>
              <p:cNvGrpSpPr>
                <a:grpSpLocks noChangeAspect="1"/>
              </p:cNvGrpSpPr>
              <p:nvPr/>
            </p:nvGrpSpPr>
            <p:grpSpPr bwMode="auto">
              <a:xfrm>
                <a:off x="7679278" y="4509200"/>
                <a:ext cx="1440002" cy="254880"/>
                <a:chOff x="2711" y="3146"/>
                <a:chExt cx="745" cy="121"/>
              </a:xfrm>
            </p:grpSpPr>
            <p:sp>
              <p:nvSpPr>
                <p:cNvPr id="155" name="AutoShape 224">
                  <a:extLst>
                    <a:ext uri="{FF2B5EF4-FFF2-40B4-BE49-F238E27FC236}">
                      <a16:creationId xmlns:a16="http://schemas.microsoft.com/office/drawing/2014/main" id="{5D2E60A4-DA76-4905-A412-F1E5C13B1011}"/>
                    </a:ext>
                  </a:extLst>
                </p:cNvPr>
                <p:cNvSpPr>
                  <a:spLocks noChangeArrowheads="1"/>
                </p:cNvSpPr>
                <p:nvPr/>
              </p:nvSpPr>
              <p:spPr bwMode="auto">
                <a:xfrm>
                  <a:off x="2711" y="3146"/>
                  <a:ext cx="135" cy="121"/>
                </a:xfrm>
                <a:prstGeom prst="star5">
                  <a:avLst/>
                </a:pr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156" name="AutoShape 225">
                  <a:extLst>
                    <a:ext uri="{FF2B5EF4-FFF2-40B4-BE49-F238E27FC236}">
                      <a16:creationId xmlns:a16="http://schemas.microsoft.com/office/drawing/2014/main" id="{5630AC40-1225-46B2-A600-F6484FEDB6F4}"/>
                    </a:ext>
                  </a:extLst>
                </p:cNvPr>
                <p:cNvSpPr>
                  <a:spLocks noChangeArrowheads="1"/>
                </p:cNvSpPr>
                <p:nvPr/>
              </p:nvSpPr>
              <p:spPr bwMode="auto">
                <a:xfrm>
                  <a:off x="2863" y="3146"/>
                  <a:ext cx="136" cy="121"/>
                </a:xfrm>
                <a:prstGeom prst="star5">
                  <a:avLst/>
                </a:pr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157" name="AutoShape 226">
                  <a:extLst>
                    <a:ext uri="{FF2B5EF4-FFF2-40B4-BE49-F238E27FC236}">
                      <a16:creationId xmlns:a16="http://schemas.microsoft.com/office/drawing/2014/main" id="{D487BD9E-D0BE-4937-ADB8-F3ED8C6F41F9}"/>
                    </a:ext>
                  </a:extLst>
                </p:cNvPr>
                <p:cNvSpPr>
                  <a:spLocks noChangeArrowheads="1"/>
                </p:cNvSpPr>
                <p:nvPr/>
              </p:nvSpPr>
              <p:spPr bwMode="auto">
                <a:xfrm>
                  <a:off x="3016" y="3146"/>
                  <a:ext cx="135" cy="121"/>
                </a:xfrm>
                <a:prstGeom prst="star5">
                  <a:avLst/>
                </a:pr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158" name="AutoShape 227">
                  <a:extLst>
                    <a:ext uri="{FF2B5EF4-FFF2-40B4-BE49-F238E27FC236}">
                      <a16:creationId xmlns:a16="http://schemas.microsoft.com/office/drawing/2014/main" id="{1FD9787C-CA2E-4D6D-AFF8-1AAE934757C1}"/>
                    </a:ext>
                  </a:extLst>
                </p:cNvPr>
                <p:cNvSpPr>
                  <a:spLocks noChangeArrowheads="1"/>
                </p:cNvSpPr>
                <p:nvPr/>
              </p:nvSpPr>
              <p:spPr bwMode="auto">
                <a:xfrm>
                  <a:off x="3168" y="3146"/>
                  <a:ext cx="136" cy="121"/>
                </a:xfrm>
                <a:prstGeom prst="star5">
                  <a:avLst/>
                </a:pr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159" name="AutoShape 228">
                  <a:extLst>
                    <a:ext uri="{FF2B5EF4-FFF2-40B4-BE49-F238E27FC236}">
                      <a16:creationId xmlns:a16="http://schemas.microsoft.com/office/drawing/2014/main" id="{7CD0C498-5F8D-4378-B992-518AEE5F86F6}"/>
                    </a:ext>
                  </a:extLst>
                </p:cNvPr>
                <p:cNvSpPr>
                  <a:spLocks noChangeArrowheads="1"/>
                </p:cNvSpPr>
                <p:nvPr/>
              </p:nvSpPr>
              <p:spPr bwMode="auto">
                <a:xfrm>
                  <a:off x="3321" y="3146"/>
                  <a:ext cx="135" cy="121"/>
                </a:xfrm>
                <a:prstGeom prst="star5">
                  <a:avLst/>
                </a:prstGeom>
                <a:noFill/>
                <a:ln w="12700">
                  <a:solidFill>
                    <a:schemeClr val="tx1"/>
                  </a:solidFill>
                  <a:miter lim="800000"/>
                  <a:headEnd/>
                  <a:tailEnd/>
                </a:ln>
                <a:effectLst/>
              </p:spPr>
              <p:txBody>
                <a:bodyPr wrap="none" lIns="0" tIns="0" rIns="0" bIns="0" anchor="ctr"/>
                <a:lstStyle/>
                <a:p>
                  <a:endParaRPr lang="pt-BR" sz="2400" kern="0" noProof="1">
                    <a:solidFill>
                      <a:srgbClr val="000000"/>
                    </a:solidFill>
                    <a:latin typeface="Graphik" panose="020B0503030202060203" pitchFamily="34" charset="77"/>
                  </a:endParaRPr>
                </a:p>
              </p:txBody>
            </p:sp>
          </p:grpSp>
          <p:sp>
            <p:nvSpPr>
              <p:cNvPr id="173" name="Rectangle 131">
                <a:extLst>
                  <a:ext uri="{FF2B5EF4-FFF2-40B4-BE49-F238E27FC236}">
                    <a16:creationId xmlns:a16="http://schemas.microsoft.com/office/drawing/2014/main" id="{D39653E9-5554-4406-B3FB-A5C411B09597}"/>
                  </a:ext>
                </a:extLst>
              </p:cNvPr>
              <p:cNvSpPr>
                <a:spLocks noChangeArrowheads="1"/>
              </p:cNvSpPr>
              <p:nvPr/>
            </p:nvSpPr>
            <p:spPr bwMode="auto">
              <a:xfrm>
                <a:off x="7247271" y="3966420"/>
                <a:ext cx="2304000" cy="441441"/>
              </a:xfrm>
              <a:prstGeom prst="rect">
                <a:avLst/>
              </a:prstGeom>
              <a:solidFill>
                <a:schemeClr val="accent1">
                  <a:lumMod val="40000"/>
                  <a:lumOff val="60000"/>
                </a:schemeClr>
              </a:solidFill>
              <a:ln w="635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pt-BR" sz="1200" noProof="1">
                    <a:latin typeface="Graphik" panose="020B0503030202060203" pitchFamily="34" charset="77"/>
                  </a:rPr>
                  <a:t>Option 3</a:t>
                </a:r>
              </a:p>
            </p:txBody>
          </p:sp>
        </p:grpSp>
        <p:grpSp>
          <p:nvGrpSpPr>
            <p:cNvPr id="33" name="Group 32" descr="Option 4">
              <a:extLst>
                <a:ext uri="{FF2B5EF4-FFF2-40B4-BE49-F238E27FC236}">
                  <a16:creationId xmlns:a16="http://schemas.microsoft.com/office/drawing/2014/main" id="{AE07CCE1-36BD-45BA-A865-675CA874624E}"/>
                </a:ext>
              </a:extLst>
            </p:cNvPr>
            <p:cNvGrpSpPr/>
            <p:nvPr/>
          </p:nvGrpSpPr>
          <p:grpSpPr>
            <a:xfrm>
              <a:off x="9551272" y="3302060"/>
              <a:ext cx="2259094" cy="1620135"/>
              <a:chOff x="9548896" y="3966420"/>
              <a:chExt cx="2304000" cy="1529012"/>
            </a:xfrm>
          </p:grpSpPr>
          <p:sp>
            <p:nvSpPr>
              <p:cNvPr id="8" name="Rectangle 126">
                <a:extLst>
                  <a:ext uri="{FF2B5EF4-FFF2-40B4-BE49-F238E27FC236}">
                    <a16:creationId xmlns:a16="http://schemas.microsoft.com/office/drawing/2014/main" id="{A81C6A4E-82D4-496A-B3AB-C81F8C5644C0}"/>
                  </a:ext>
                </a:extLst>
              </p:cNvPr>
              <p:cNvSpPr>
                <a:spLocks noChangeArrowheads="1"/>
              </p:cNvSpPr>
              <p:nvPr/>
            </p:nvSpPr>
            <p:spPr bwMode="auto">
              <a:xfrm>
                <a:off x="9548896" y="4407860"/>
                <a:ext cx="2304000" cy="540000"/>
              </a:xfrm>
              <a:prstGeom prst="rect">
                <a:avLst/>
              </a:prstGeom>
              <a:solidFill>
                <a:srgbClr val="E4E7E7"/>
              </a:solidFill>
              <a:ln w="6350">
                <a:solidFill>
                  <a:srgbClr val="FFFFFF"/>
                </a:solidFill>
                <a:miter lim="800000"/>
                <a:headEnd/>
                <a:tailEnd/>
              </a:ln>
              <a:effectLst/>
            </p:spPr>
            <p:txBody>
              <a:bodyPr lIns="684000" tIns="72000" rIns="108000" bIns="72000" anchor="ctr" anchorCtr="0"/>
              <a:lstStyle/>
              <a:p>
                <a:pPr marL="180970" indent="-180970" eaLnBrk="0" hangingPunct="0">
                  <a:spcBef>
                    <a:spcPct val="0"/>
                  </a:spcBef>
                  <a:buFontTx/>
                  <a:buChar char="•"/>
                  <a:defRPr/>
                </a:pPr>
                <a:endParaRPr lang="pt-BR" sz="1051" kern="0" noProof="1">
                  <a:solidFill>
                    <a:srgbClr val="000000"/>
                  </a:solidFill>
                  <a:latin typeface="Graphik" panose="020B0503030202060203" pitchFamily="34" charset="77"/>
                </a:endParaRPr>
              </a:p>
            </p:txBody>
          </p:sp>
          <p:sp>
            <p:nvSpPr>
              <p:cNvPr id="9" name="Rectangle 127">
                <a:extLst>
                  <a:ext uri="{FF2B5EF4-FFF2-40B4-BE49-F238E27FC236}">
                    <a16:creationId xmlns:a16="http://schemas.microsoft.com/office/drawing/2014/main" id="{51EA9E0E-959E-4FFD-8B94-4AE4EF1B0CE6}"/>
                  </a:ext>
                </a:extLst>
              </p:cNvPr>
              <p:cNvSpPr>
                <a:spLocks noChangeArrowheads="1"/>
              </p:cNvSpPr>
              <p:nvPr/>
            </p:nvSpPr>
            <p:spPr bwMode="auto">
              <a:xfrm>
                <a:off x="9548896" y="4955432"/>
                <a:ext cx="2304000" cy="540000"/>
              </a:xfrm>
              <a:prstGeom prst="rect">
                <a:avLst/>
              </a:prstGeom>
              <a:solidFill>
                <a:srgbClr val="E4E7E7"/>
              </a:solidFill>
              <a:ln w="6350">
                <a:solidFill>
                  <a:srgbClr val="FFFFFF"/>
                </a:solidFill>
                <a:miter lim="800000"/>
                <a:headEnd/>
                <a:tailEnd/>
              </a:ln>
              <a:effectLst/>
            </p:spPr>
            <p:txBody>
              <a:bodyPr lIns="684000" tIns="72000" rIns="108000" bIns="72000" anchor="ctr" anchorCtr="0"/>
              <a:lstStyle/>
              <a:p>
                <a:pPr marL="180970" indent="-180970" eaLnBrk="0" hangingPunct="0">
                  <a:spcBef>
                    <a:spcPct val="0"/>
                  </a:spcBef>
                  <a:buFontTx/>
                  <a:buChar char="•"/>
                  <a:defRPr/>
                </a:pPr>
                <a:endParaRPr lang="pt-BR" sz="1051" kern="0" noProof="1">
                  <a:solidFill>
                    <a:srgbClr val="000000"/>
                  </a:solidFill>
                  <a:latin typeface="Graphik" panose="020B0503030202060203" pitchFamily="34" charset="77"/>
                </a:endParaRPr>
              </a:p>
            </p:txBody>
          </p:sp>
          <p:grpSp>
            <p:nvGrpSpPr>
              <p:cNvPr id="136" name="Group 199">
                <a:extLst>
                  <a:ext uri="{FF2B5EF4-FFF2-40B4-BE49-F238E27FC236}">
                    <a16:creationId xmlns:a16="http://schemas.microsoft.com/office/drawing/2014/main" id="{E9E86D30-366A-414C-B6F3-57E64A72871F}"/>
                  </a:ext>
                </a:extLst>
              </p:cNvPr>
              <p:cNvGrpSpPr>
                <a:grpSpLocks noChangeAspect="1"/>
              </p:cNvGrpSpPr>
              <p:nvPr/>
            </p:nvGrpSpPr>
            <p:grpSpPr bwMode="auto">
              <a:xfrm>
                <a:off x="9980903" y="4509200"/>
                <a:ext cx="1440002" cy="254880"/>
                <a:chOff x="2711" y="3146"/>
                <a:chExt cx="745" cy="121"/>
              </a:xfrm>
              <a:solidFill>
                <a:srgbClr val="DCAFFF"/>
              </a:solidFill>
            </p:grpSpPr>
            <p:sp>
              <p:nvSpPr>
                <p:cNvPr id="137" name="AutoShape 200">
                  <a:extLst>
                    <a:ext uri="{FF2B5EF4-FFF2-40B4-BE49-F238E27FC236}">
                      <a16:creationId xmlns:a16="http://schemas.microsoft.com/office/drawing/2014/main" id="{62607573-6D2A-4EBA-8C69-D9FD91E932D1}"/>
                    </a:ext>
                  </a:extLst>
                </p:cNvPr>
                <p:cNvSpPr>
                  <a:spLocks noChangeArrowheads="1"/>
                </p:cNvSpPr>
                <p:nvPr/>
              </p:nvSpPr>
              <p:spPr bwMode="auto">
                <a:xfrm>
                  <a:off x="2711" y="3146"/>
                  <a:ext cx="135" cy="121"/>
                </a:xfrm>
                <a:prstGeom prst="star5">
                  <a:avLst/>
                </a:pr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138" name="AutoShape 201">
                  <a:extLst>
                    <a:ext uri="{FF2B5EF4-FFF2-40B4-BE49-F238E27FC236}">
                      <a16:creationId xmlns:a16="http://schemas.microsoft.com/office/drawing/2014/main" id="{CA91904C-613F-4905-96A9-B10091057DCE}"/>
                    </a:ext>
                  </a:extLst>
                </p:cNvPr>
                <p:cNvSpPr>
                  <a:spLocks noChangeArrowheads="1"/>
                </p:cNvSpPr>
                <p:nvPr/>
              </p:nvSpPr>
              <p:spPr bwMode="auto">
                <a:xfrm>
                  <a:off x="2863" y="3146"/>
                  <a:ext cx="136" cy="121"/>
                </a:xfrm>
                <a:prstGeom prst="star5">
                  <a:avLst/>
                </a:pr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139" name="AutoShape 202">
                  <a:extLst>
                    <a:ext uri="{FF2B5EF4-FFF2-40B4-BE49-F238E27FC236}">
                      <a16:creationId xmlns:a16="http://schemas.microsoft.com/office/drawing/2014/main" id="{81DF9AEF-E7B0-414B-BB46-41EDDB4B4035}"/>
                    </a:ext>
                  </a:extLst>
                </p:cNvPr>
                <p:cNvSpPr>
                  <a:spLocks noChangeArrowheads="1"/>
                </p:cNvSpPr>
                <p:nvPr/>
              </p:nvSpPr>
              <p:spPr bwMode="auto">
                <a:xfrm>
                  <a:off x="3016" y="3146"/>
                  <a:ext cx="135" cy="121"/>
                </a:xfrm>
                <a:prstGeom prst="star5">
                  <a:avLst/>
                </a:pr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140" name="AutoShape 203">
                  <a:extLst>
                    <a:ext uri="{FF2B5EF4-FFF2-40B4-BE49-F238E27FC236}">
                      <a16:creationId xmlns:a16="http://schemas.microsoft.com/office/drawing/2014/main" id="{7FA61E4E-945F-4AFC-84CA-119E75EC95D0}"/>
                    </a:ext>
                  </a:extLst>
                </p:cNvPr>
                <p:cNvSpPr>
                  <a:spLocks noChangeArrowheads="1"/>
                </p:cNvSpPr>
                <p:nvPr/>
              </p:nvSpPr>
              <p:spPr bwMode="auto">
                <a:xfrm>
                  <a:off x="3168" y="3146"/>
                  <a:ext cx="136" cy="121"/>
                </a:xfrm>
                <a:prstGeom prst="star5">
                  <a:avLst/>
                </a:pr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141" name="AutoShape 204">
                  <a:extLst>
                    <a:ext uri="{FF2B5EF4-FFF2-40B4-BE49-F238E27FC236}">
                      <a16:creationId xmlns:a16="http://schemas.microsoft.com/office/drawing/2014/main" id="{D55A5D7E-06AC-4617-8134-8653DC40C67B}"/>
                    </a:ext>
                  </a:extLst>
                </p:cNvPr>
                <p:cNvSpPr>
                  <a:spLocks noChangeArrowheads="1"/>
                </p:cNvSpPr>
                <p:nvPr/>
              </p:nvSpPr>
              <p:spPr bwMode="auto">
                <a:xfrm>
                  <a:off x="3321" y="3146"/>
                  <a:ext cx="135" cy="121"/>
                </a:xfrm>
                <a:prstGeom prst="star5">
                  <a:avLst/>
                </a:pr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grpSp>
          <p:grpSp>
            <p:nvGrpSpPr>
              <p:cNvPr id="160" name="Group 217">
                <a:extLst>
                  <a:ext uri="{FF2B5EF4-FFF2-40B4-BE49-F238E27FC236}">
                    <a16:creationId xmlns:a16="http://schemas.microsoft.com/office/drawing/2014/main" id="{A0097EF5-389D-481D-B172-C7A719BF2681}"/>
                  </a:ext>
                </a:extLst>
              </p:cNvPr>
              <p:cNvGrpSpPr>
                <a:grpSpLocks noChangeAspect="1"/>
              </p:cNvGrpSpPr>
              <p:nvPr/>
            </p:nvGrpSpPr>
            <p:grpSpPr bwMode="auto">
              <a:xfrm>
                <a:off x="9980903" y="5080163"/>
                <a:ext cx="1440002" cy="254880"/>
                <a:chOff x="2711" y="3146"/>
                <a:chExt cx="745" cy="121"/>
              </a:xfrm>
            </p:grpSpPr>
            <p:sp>
              <p:nvSpPr>
                <p:cNvPr id="161" name="AutoShape 218">
                  <a:extLst>
                    <a:ext uri="{FF2B5EF4-FFF2-40B4-BE49-F238E27FC236}">
                      <a16:creationId xmlns:a16="http://schemas.microsoft.com/office/drawing/2014/main" id="{92E00E90-E95C-45C5-ACB4-4D84E4211F47}"/>
                    </a:ext>
                  </a:extLst>
                </p:cNvPr>
                <p:cNvSpPr>
                  <a:spLocks noChangeArrowheads="1"/>
                </p:cNvSpPr>
                <p:nvPr/>
              </p:nvSpPr>
              <p:spPr bwMode="auto">
                <a:xfrm>
                  <a:off x="2711" y="3146"/>
                  <a:ext cx="135" cy="121"/>
                </a:xfrm>
                <a:prstGeom prst="star5">
                  <a:avLst/>
                </a:pr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162" name="AutoShape 219">
                  <a:extLst>
                    <a:ext uri="{FF2B5EF4-FFF2-40B4-BE49-F238E27FC236}">
                      <a16:creationId xmlns:a16="http://schemas.microsoft.com/office/drawing/2014/main" id="{91FADC3D-BE56-4A4C-A43A-226123F17AF2}"/>
                    </a:ext>
                  </a:extLst>
                </p:cNvPr>
                <p:cNvSpPr>
                  <a:spLocks noChangeArrowheads="1"/>
                </p:cNvSpPr>
                <p:nvPr/>
              </p:nvSpPr>
              <p:spPr bwMode="auto">
                <a:xfrm>
                  <a:off x="2863" y="3146"/>
                  <a:ext cx="136" cy="121"/>
                </a:xfrm>
                <a:prstGeom prst="star5">
                  <a:avLst/>
                </a:pr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163" name="AutoShape 220">
                  <a:extLst>
                    <a:ext uri="{FF2B5EF4-FFF2-40B4-BE49-F238E27FC236}">
                      <a16:creationId xmlns:a16="http://schemas.microsoft.com/office/drawing/2014/main" id="{9C89EAE9-19C1-49D4-8D3D-EEDD249D47AA}"/>
                    </a:ext>
                  </a:extLst>
                </p:cNvPr>
                <p:cNvSpPr>
                  <a:spLocks noChangeArrowheads="1"/>
                </p:cNvSpPr>
                <p:nvPr/>
              </p:nvSpPr>
              <p:spPr bwMode="auto">
                <a:xfrm>
                  <a:off x="3016" y="3146"/>
                  <a:ext cx="135" cy="121"/>
                </a:xfrm>
                <a:prstGeom prst="star5">
                  <a:avLst/>
                </a:pr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164" name="AutoShape 221">
                  <a:extLst>
                    <a:ext uri="{FF2B5EF4-FFF2-40B4-BE49-F238E27FC236}">
                      <a16:creationId xmlns:a16="http://schemas.microsoft.com/office/drawing/2014/main" id="{4B0967B3-62B0-49CA-88BF-1988B5744EDD}"/>
                    </a:ext>
                  </a:extLst>
                </p:cNvPr>
                <p:cNvSpPr>
                  <a:spLocks noChangeArrowheads="1"/>
                </p:cNvSpPr>
                <p:nvPr/>
              </p:nvSpPr>
              <p:spPr bwMode="auto">
                <a:xfrm>
                  <a:off x="3168" y="3146"/>
                  <a:ext cx="136" cy="121"/>
                </a:xfrm>
                <a:prstGeom prst="star5">
                  <a:avLst/>
                </a:prstGeom>
                <a:noFill/>
                <a:ln w="12700">
                  <a:solidFill>
                    <a:schemeClr val="tx1"/>
                  </a:solidFill>
                  <a:miter lim="800000"/>
                  <a:headEnd/>
                  <a:tailEnd/>
                </a:ln>
                <a:effectLst/>
              </p:spPr>
              <p:txBody>
                <a:bodyPr wrap="none" lIns="0" tIns="0" rIns="0" bIns="0" anchor="ctr"/>
                <a:lstStyle/>
                <a:p>
                  <a:endParaRPr lang="pt-BR" sz="2400" kern="0" noProof="1">
                    <a:solidFill>
                      <a:srgbClr val="000000"/>
                    </a:solidFill>
                    <a:latin typeface="Graphik" panose="020B0503030202060203" pitchFamily="34" charset="77"/>
                  </a:endParaRPr>
                </a:p>
              </p:txBody>
            </p:sp>
            <p:sp>
              <p:nvSpPr>
                <p:cNvPr id="165" name="AutoShape 222">
                  <a:extLst>
                    <a:ext uri="{FF2B5EF4-FFF2-40B4-BE49-F238E27FC236}">
                      <a16:creationId xmlns:a16="http://schemas.microsoft.com/office/drawing/2014/main" id="{6D939935-CAD8-471F-9F63-5DDBB48A09C3}"/>
                    </a:ext>
                  </a:extLst>
                </p:cNvPr>
                <p:cNvSpPr>
                  <a:spLocks noChangeArrowheads="1"/>
                </p:cNvSpPr>
                <p:nvPr/>
              </p:nvSpPr>
              <p:spPr bwMode="auto">
                <a:xfrm>
                  <a:off x="3321" y="3146"/>
                  <a:ext cx="135" cy="121"/>
                </a:xfrm>
                <a:prstGeom prst="star5">
                  <a:avLst/>
                </a:prstGeom>
                <a:noFill/>
                <a:ln w="12700">
                  <a:solidFill>
                    <a:schemeClr val="tx1"/>
                  </a:solidFill>
                  <a:miter lim="800000"/>
                  <a:headEnd/>
                  <a:tailEnd/>
                </a:ln>
                <a:effectLst/>
              </p:spPr>
              <p:txBody>
                <a:bodyPr wrap="none" lIns="0" tIns="0" rIns="0" bIns="0" anchor="ctr"/>
                <a:lstStyle/>
                <a:p>
                  <a:endParaRPr lang="pt-BR" sz="2400" kern="0" noProof="1">
                    <a:solidFill>
                      <a:srgbClr val="000000"/>
                    </a:solidFill>
                    <a:latin typeface="Graphik" panose="020B0503030202060203" pitchFamily="34" charset="77"/>
                  </a:endParaRPr>
                </a:p>
              </p:txBody>
            </p:sp>
          </p:grpSp>
          <p:sp>
            <p:nvSpPr>
              <p:cNvPr id="169" name="Rectangle 130">
                <a:extLst>
                  <a:ext uri="{FF2B5EF4-FFF2-40B4-BE49-F238E27FC236}">
                    <a16:creationId xmlns:a16="http://schemas.microsoft.com/office/drawing/2014/main" id="{B4EE9576-4018-43E2-9301-D2BB0961C790}"/>
                  </a:ext>
                </a:extLst>
              </p:cNvPr>
              <p:cNvSpPr>
                <a:spLocks noChangeArrowheads="1"/>
              </p:cNvSpPr>
              <p:nvPr/>
            </p:nvSpPr>
            <p:spPr bwMode="auto">
              <a:xfrm>
                <a:off x="9548896" y="3966420"/>
                <a:ext cx="2304000" cy="441441"/>
              </a:xfrm>
              <a:prstGeom prst="rect">
                <a:avLst/>
              </a:prstGeom>
              <a:solidFill>
                <a:schemeClr val="accent1">
                  <a:lumMod val="20000"/>
                  <a:lumOff val="80000"/>
                </a:schemeClr>
              </a:solidFill>
              <a:ln w="635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pt-BR" sz="1200" noProof="1">
                    <a:latin typeface="Graphik" panose="020B0503030202060203" pitchFamily="34" charset="77"/>
                  </a:rPr>
                  <a:t>Option 4</a:t>
                </a:r>
              </a:p>
            </p:txBody>
          </p:sp>
        </p:grpSp>
      </p:grpSp>
      <p:grpSp>
        <p:nvGrpSpPr>
          <p:cNvPr id="135" name="Group 134" descr="Scoring 1 – Stars diagram key">
            <a:extLst>
              <a:ext uri="{FF2B5EF4-FFF2-40B4-BE49-F238E27FC236}">
                <a16:creationId xmlns:a16="http://schemas.microsoft.com/office/drawing/2014/main" id="{58654EC9-CB80-44C9-9632-01586B572CD3}"/>
              </a:ext>
            </a:extLst>
          </p:cNvPr>
          <p:cNvGrpSpPr/>
          <p:nvPr/>
        </p:nvGrpSpPr>
        <p:grpSpPr>
          <a:xfrm>
            <a:off x="646703" y="4957237"/>
            <a:ext cx="3778897" cy="341261"/>
            <a:chOff x="435014" y="5552097"/>
            <a:chExt cx="3963048" cy="374004"/>
          </a:xfrm>
        </p:grpSpPr>
        <p:grpSp>
          <p:nvGrpSpPr>
            <p:cNvPr id="195" name="Group 194" descr="Excellent">
              <a:extLst>
                <a:ext uri="{FF2B5EF4-FFF2-40B4-BE49-F238E27FC236}">
                  <a16:creationId xmlns:a16="http://schemas.microsoft.com/office/drawing/2014/main" id="{8632B923-E1F8-4A55-99F9-3B149C5AF808}"/>
                </a:ext>
              </a:extLst>
            </p:cNvPr>
            <p:cNvGrpSpPr/>
            <p:nvPr/>
          </p:nvGrpSpPr>
          <p:grpSpPr>
            <a:xfrm>
              <a:off x="435014" y="5552097"/>
              <a:ext cx="593257" cy="374004"/>
              <a:chOff x="331253" y="5986600"/>
              <a:chExt cx="593257" cy="374004"/>
            </a:xfrm>
          </p:grpSpPr>
          <p:sp>
            <p:nvSpPr>
              <p:cNvPr id="35" name="Rectangle 6">
                <a:extLst>
                  <a:ext uri="{FF2B5EF4-FFF2-40B4-BE49-F238E27FC236}">
                    <a16:creationId xmlns:a16="http://schemas.microsoft.com/office/drawing/2014/main" id="{ABD8BECE-9867-451E-88BB-A0EF8740F98B}"/>
                  </a:ext>
                </a:extLst>
              </p:cNvPr>
              <p:cNvSpPr>
                <a:spLocks noChangeAspect="1" noChangeArrowheads="1"/>
              </p:cNvSpPr>
              <p:nvPr/>
            </p:nvSpPr>
            <p:spPr bwMode="auto">
              <a:xfrm>
                <a:off x="339480" y="5986600"/>
                <a:ext cx="585030" cy="168653"/>
              </a:xfrm>
              <a:prstGeom prst="rect">
                <a:avLst/>
              </a:prstGeom>
              <a:noFill/>
              <a:ln w="6350">
                <a:noFill/>
                <a:miter lim="800000"/>
                <a:headEnd/>
                <a:tailEnd/>
              </a:ln>
              <a:effectLst/>
            </p:spPr>
            <p:txBody>
              <a:bodyPr wrap="none" lIns="0" tIns="0" rIns="0" bIns="0" anchor="ctr">
                <a:spAutoFit/>
              </a:bodyPr>
              <a:lstStyle/>
              <a:p>
                <a:pPr eaLnBrk="0" hangingPunct="0">
                  <a:spcBef>
                    <a:spcPct val="0"/>
                  </a:spcBef>
                  <a:defRPr/>
                </a:pPr>
                <a:r>
                  <a:rPr lang="pt-BR" sz="1000" kern="0" noProof="1">
                    <a:solidFill>
                      <a:srgbClr val="000000"/>
                    </a:solidFill>
                    <a:latin typeface="Graphik" panose="020B0503030202060203" pitchFamily="34" charset="77"/>
                  </a:rPr>
                  <a:t>Excellent</a:t>
                </a:r>
              </a:p>
            </p:txBody>
          </p:sp>
          <p:grpSp>
            <p:nvGrpSpPr>
              <p:cNvPr id="40" name="Group 199">
                <a:extLst>
                  <a:ext uri="{FF2B5EF4-FFF2-40B4-BE49-F238E27FC236}">
                    <a16:creationId xmlns:a16="http://schemas.microsoft.com/office/drawing/2014/main" id="{275E024E-E427-47AE-97DF-E413CB2D7689}"/>
                  </a:ext>
                </a:extLst>
              </p:cNvPr>
              <p:cNvGrpSpPr>
                <a:grpSpLocks noChangeAspect="1"/>
              </p:cNvGrpSpPr>
              <p:nvPr/>
            </p:nvGrpSpPr>
            <p:grpSpPr bwMode="auto">
              <a:xfrm>
                <a:off x="331253" y="6268705"/>
                <a:ext cx="519231" cy="91899"/>
                <a:chOff x="2711" y="3146"/>
                <a:chExt cx="745" cy="121"/>
              </a:xfrm>
              <a:solidFill>
                <a:srgbClr val="DCAFFF"/>
              </a:solidFill>
            </p:grpSpPr>
            <p:sp>
              <p:nvSpPr>
                <p:cNvPr id="41" name="AutoShape 200">
                  <a:extLst>
                    <a:ext uri="{FF2B5EF4-FFF2-40B4-BE49-F238E27FC236}">
                      <a16:creationId xmlns:a16="http://schemas.microsoft.com/office/drawing/2014/main" id="{D0625773-16BC-4EE5-9B6D-E69CC4851862}"/>
                    </a:ext>
                  </a:extLst>
                </p:cNvPr>
                <p:cNvSpPr>
                  <a:spLocks noChangeArrowheads="1"/>
                </p:cNvSpPr>
                <p:nvPr/>
              </p:nvSpPr>
              <p:spPr bwMode="auto">
                <a:xfrm>
                  <a:off x="2711" y="3146"/>
                  <a:ext cx="135" cy="121"/>
                </a:xfrm>
                <a:prstGeom prst="star5">
                  <a:avLst/>
                </a:pr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42" name="AutoShape 201">
                  <a:extLst>
                    <a:ext uri="{FF2B5EF4-FFF2-40B4-BE49-F238E27FC236}">
                      <a16:creationId xmlns:a16="http://schemas.microsoft.com/office/drawing/2014/main" id="{0803AB35-92EB-4C37-AC04-7EA68E370299}"/>
                    </a:ext>
                  </a:extLst>
                </p:cNvPr>
                <p:cNvSpPr>
                  <a:spLocks noChangeArrowheads="1"/>
                </p:cNvSpPr>
                <p:nvPr/>
              </p:nvSpPr>
              <p:spPr bwMode="auto">
                <a:xfrm>
                  <a:off x="2863" y="3146"/>
                  <a:ext cx="136" cy="121"/>
                </a:xfrm>
                <a:prstGeom prst="star5">
                  <a:avLst/>
                </a:pr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43" name="AutoShape 202">
                  <a:extLst>
                    <a:ext uri="{FF2B5EF4-FFF2-40B4-BE49-F238E27FC236}">
                      <a16:creationId xmlns:a16="http://schemas.microsoft.com/office/drawing/2014/main" id="{73791BDB-7F26-4FFA-A793-4192143C5742}"/>
                    </a:ext>
                  </a:extLst>
                </p:cNvPr>
                <p:cNvSpPr>
                  <a:spLocks noChangeArrowheads="1"/>
                </p:cNvSpPr>
                <p:nvPr/>
              </p:nvSpPr>
              <p:spPr bwMode="auto">
                <a:xfrm>
                  <a:off x="3016" y="3146"/>
                  <a:ext cx="135" cy="121"/>
                </a:xfrm>
                <a:prstGeom prst="star5">
                  <a:avLst/>
                </a:pr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44" name="AutoShape 203">
                  <a:extLst>
                    <a:ext uri="{FF2B5EF4-FFF2-40B4-BE49-F238E27FC236}">
                      <a16:creationId xmlns:a16="http://schemas.microsoft.com/office/drawing/2014/main" id="{A930B3ED-4B54-4A4F-B99E-911F9E34DE48}"/>
                    </a:ext>
                  </a:extLst>
                </p:cNvPr>
                <p:cNvSpPr>
                  <a:spLocks noChangeArrowheads="1"/>
                </p:cNvSpPr>
                <p:nvPr/>
              </p:nvSpPr>
              <p:spPr bwMode="auto">
                <a:xfrm>
                  <a:off x="3168" y="3146"/>
                  <a:ext cx="136" cy="121"/>
                </a:xfrm>
                <a:prstGeom prst="star5">
                  <a:avLst/>
                </a:pr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45" name="AutoShape 204">
                  <a:extLst>
                    <a:ext uri="{FF2B5EF4-FFF2-40B4-BE49-F238E27FC236}">
                      <a16:creationId xmlns:a16="http://schemas.microsoft.com/office/drawing/2014/main" id="{60F4C23F-76C5-4C07-8B65-314A38C29681}"/>
                    </a:ext>
                  </a:extLst>
                </p:cNvPr>
                <p:cNvSpPr>
                  <a:spLocks noChangeArrowheads="1"/>
                </p:cNvSpPr>
                <p:nvPr/>
              </p:nvSpPr>
              <p:spPr bwMode="auto">
                <a:xfrm>
                  <a:off x="3321" y="3146"/>
                  <a:ext cx="135" cy="121"/>
                </a:xfrm>
                <a:prstGeom prst="star5">
                  <a:avLst/>
                </a:pr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grpSp>
        </p:grpSp>
        <p:grpSp>
          <p:nvGrpSpPr>
            <p:cNvPr id="196" name="Group 195" descr="Good">
              <a:extLst>
                <a:ext uri="{FF2B5EF4-FFF2-40B4-BE49-F238E27FC236}">
                  <a16:creationId xmlns:a16="http://schemas.microsoft.com/office/drawing/2014/main" id="{16C04A1C-0108-4BC1-8BB4-50C8D2CE60F7}"/>
                </a:ext>
              </a:extLst>
            </p:cNvPr>
            <p:cNvGrpSpPr/>
            <p:nvPr/>
          </p:nvGrpSpPr>
          <p:grpSpPr>
            <a:xfrm>
              <a:off x="1277046" y="5552097"/>
              <a:ext cx="519231" cy="374004"/>
              <a:chOff x="1173285" y="5986600"/>
              <a:chExt cx="519231" cy="374004"/>
            </a:xfrm>
          </p:grpSpPr>
          <p:sp>
            <p:nvSpPr>
              <p:cNvPr id="36" name="Rectangle 11">
                <a:extLst>
                  <a:ext uri="{FF2B5EF4-FFF2-40B4-BE49-F238E27FC236}">
                    <a16:creationId xmlns:a16="http://schemas.microsoft.com/office/drawing/2014/main" id="{A32466E9-B7CB-4879-9BB8-CB8E8F4577EF}"/>
                  </a:ext>
                </a:extLst>
              </p:cNvPr>
              <p:cNvSpPr>
                <a:spLocks noChangeAspect="1" noChangeArrowheads="1"/>
              </p:cNvSpPr>
              <p:nvPr/>
            </p:nvSpPr>
            <p:spPr bwMode="auto">
              <a:xfrm>
                <a:off x="1289298" y="5986600"/>
                <a:ext cx="354717" cy="168653"/>
              </a:xfrm>
              <a:prstGeom prst="rect">
                <a:avLst/>
              </a:prstGeom>
              <a:noFill/>
              <a:ln w="6350">
                <a:noFill/>
                <a:miter lim="800000"/>
                <a:headEnd/>
                <a:tailEnd/>
              </a:ln>
              <a:effectLst/>
            </p:spPr>
            <p:txBody>
              <a:bodyPr wrap="none" lIns="0" tIns="0" rIns="0" bIns="0" anchor="ctr">
                <a:spAutoFit/>
              </a:bodyPr>
              <a:lstStyle/>
              <a:p>
                <a:pPr eaLnBrk="0" hangingPunct="0">
                  <a:spcBef>
                    <a:spcPct val="0"/>
                  </a:spcBef>
                  <a:defRPr/>
                </a:pPr>
                <a:r>
                  <a:rPr lang="pt-BR" sz="1000" kern="0" noProof="1">
                    <a:solidFill>
                      <a:srgbClr val="000000"/>
                    </a:solidFill>
                    <a:latin typeface="Graphik" panose="020B0503030202060203" pitchFamily="34" charset="77"/>
                  </a:rPr>
                  <a:t>Good</a:t>
                </a:r>
              </a:p>
            </p:txBody>
          </p:sp>
          <p:grpSp>
            <p:nvGrpSpPr>
              <p:cNvPr id="64" name="Group 223">
                <a:extLst>
                  <a:ext uri="{FF2B5EF4-FFF2-40B4-BE49-F238E27FC236}">
                    <a16:creationId xmlns:a16="http://schemas.microsoft.com/office/drawing/2014/main" id="{07F83AB8-249D-46BB-A07D-E3B27583D06F}"/>
                  </a:ext>
                </a:extLst>
              </p:cNvPr>
              <p:cNvGrpSpPr>
                <a:grpSpLocks noChangeAspect="1"/>
              </p:cNvGrpSpPr>
              <p:nvPr/>
            </p:nvGrpSpPr>
            <p:grpSpPr bwMode="auto">
              <a:xfrm>
                <a:off x="1173285" y="6268705"/>
                <a:ext cx="519231" cy="91899"/>
                <a:chOff x="2711" y="3146"/>
                <a:chExt cx="745" cy="121"/>
              </a:xfrm>
            </p:grpSpPr>
            <p:sp>
              <p:nvSpPr>
                <p:cNvPr id="65" name="AutoShape 224">
                  <a:extLst>
                    <a:ext uri="{FF2B5EF4-FFF2-40B4-BE49-F238E27FC236}">
                      <a16:creationId xmlns:a16="http://schemas.microsoft.com/office/drawing/2014/main" id="{2FD1ABD6-1905-4BD2-B122-6A99271B2DFF}"/>
                    </a:ext>
                  </a:extLst>
                </p:cNvPr>
                <p:cNvSpPr>
                  <a:spLocks noChangeArrowheads="1"/>
                </p:cNvSpPr>
                <p:nvPr/>
              </p:nvSpPr>
              <p:spPr bwMode="auto">
                <a:xfrm>
                  <a:off x="2711" y="3146"/>
                  <a:ext cx="135" cy="121"/>
                </a:xfrm>
                <a:prstGeom prst="star5">
                  <a:avLst/>
                </a:pr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66" name="AutoShape 225">
                  <a:extLst>
                    <a:ext uri="{FF2B5EF4-FFF2-40B4-BE49-F238E27FC236}">
                      <a16:creationId xmlns:a16="http://schemas.microsoft.com/office/drawing/2014/main" id="{1571D76C-79AD-4C02-9EDE-E3DF41BF7B4B}"/>
                    </a:ext>
                  </a:extLst>
                </p:cNvPr>
                <p:cNvSpPr>
                  <a:spLocks noChangeArrowheads="1"/>
                </p:cNvSpPr>
                <p:nvPr/>
              </p:nvSpPr>
              <p:spPr bwMode="auto">
                <a:xfrm>
                  <a:off x="2863" y="3146"/>
                  <a:ext cx="136" cy="121"/>
                </a:xfrm>
                <a:prstGeom prst="star5">
                  <a:avLst/>
                </a:pr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67" name="AutoShape 226">
                  <a:extLst>
                    <a:ext uri="{FF2B5EF4-FFF2-40B4-BE49-F238E27FC236}">
                      <a16:creationId xmlns:a16="http://schemas.microsoft.com/office/drawing/2014/main" id="{D6F424B0-F58D-427C-AAF9-0BC20C60B264}"/>
                    </a:ext>
                  </a:extLst>
                </p:cNvPr>
                <p:cNvSpPr>
                  <a:spLocks noChangeArrowheads="1"/>
                </p:cNvSpPr>
                <p:nvPr/>
              </p:nvSpPr>
              <p:spPr bwMode="auto">
                <a:xfrm>
                  <a:off x="3016" y="3146"/>
                  <a:ext cx="135" cy="121"/>
                </a:xfrm>
                <a:prstGeom prst="star5">
                  <a:avLst/>
                </a:pr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68" name="AutoShape 227">
                  <a:extLst>
                    <a:ext uri="{FF2B5EF4-FFF2-40B4-BE49-F238E27FC236}">
                      <a16:creationId xmlns:a16="http://schemas.microsoft.com/office/drawing/2014/main" id="{0990BD36-F168-4640-B01B-BD14DF9EC800}"/>
                    </a:ext>
                  </a:extLst>
                </p:cNvPr>
                <p:cNvSpPr>
                  <a:spLocks noChangeArrowheads="1"/>
                </p:cNvSpPr>
                <p:nvPr/>
              </p:nvSpPr>
              <p:spPr bwMode="auto">
                <a:xfrm>
                  <a:off x="3168" y="3146"/>
                  <a:ext cx="136" cy="121"/>
                </a:xfrm>
                <a:prstGeom prst="star5">
                  <a:avLst/>
                </a:pr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69" name="AutoShape 228">
                  <a:extLst>
                    <a:ext uri="{FF2B5EF4-FFF2-40B4-BE49-F238E27FC236}">
                      <a16:creationId xmlns:a16="http://schemas.microsoft.com/office/drawing/2014/main" id="{17EBDFEB-8C9A-4ECD-AA83-28AB41353207}"/>
                    </a:ext>
                  </a:extLst>
                </p:cNvPr>
                <p:cNvSpPr>
                  <a:spLocks noChangeArrowheads="1"/>
                </p:cNvSpPr>
                <p:nvPr/>
              </p:nvSpPr>
              <p:spPr bwMode="auto">
                <a:xfrm>
                  <a:off x="3321" y="3146"/>
                  <a:ext cx="135" cy="121"/>
                </a:xfrm>
                <a:prstGeom prst="star5">
                  <a:avLst/>
                </a:prstGeom>
                <a:noFill/>
                <a:ln w="6350">
                  <a:solidFill>
                    <a:schemeClr val="tx1"/>
                  </a:solidFill>
                  <a:miter lim="800000"/>
                  <a:headEnd/>
                  <a:tailEnd/>
                </a:ln>
                <a:effectLst/>
              </p:spPr>
              <p:txBody>
                <a:bodyPr wrap="none" lIns="0" tIns="0" rIns="0" bIns="0" anchor="ctr"/>
                <a:lstStyle/>
                <a:p>
                  <a:pPr>
                    <a:defRPr/>
                  </a:pPr>
                  <a:endParaRPr lang="pt-BR" sz="2400" kern="0" noProof="1">
                    <a:solidFill>
                      <a:srgbClr val="000000"/>
                    </a:solidFill>
                    <a:latin typeface="Graphik" panose="020B0503030202060203" pitchFamily="34" charset="77"/>
                  </a:endParaRPr>
                </a:p>
              </p:txBody>
            </p:sp>
          </p:grpSp>
        </p:grpSp>
        <p:grpSp>
          <p:nvGrpSpPr>
            <p:cNvPr id="197" name="Group 196" descr="Satisfactory">
              <a:extLst>
                <a:ext uri="{FF2B5EF4-FFF2-40B4-BE49-F238E27FC236}">
                  <a16:creationId xmlns:a16="http://schemas.microsoft.com/office/drawing/2014/main" id="{D7D9E6C3-0E78-42B0-9C17-DA019B19E800}"/>
                </a:ext>
              </a:extLst>
            </p:cNvPr>
            <p:cNvGrpSpPr/>
            <p:nvPr/>
          </p:nvGrpSpPr>
          <p:grpSpPr>
            <a:xfrm>
              <a:off x="2077135" y="5552097"/>
              <a:ext cx="766590" cy="374004"/>
              <a:chOff x="1973374" y="5986600"/>
              <a:chExt cx="766590" cy="374004"/>
            </a:xfrm>
          </p:grpSpPr>
          <p:sp>
            <p:nvSpPr>
              <p:cNvPr id="38" name="Rectangle 8">
                <a:extLst>
                  <a:ext uri="{FF2B5EF4-FFF2-40B4-BE49-F238E27FC236}">
                    <a16:creationId xmlns:a16="http://schemas.microsoft.com/office/drawing/2014/main" id="{AA5CAD1F-0159-4273-925A-DA4E45054F0D}"/>
                  </a:ext>
                </a:extLst>
              </p:cNvPr>
              <p:cNvSpPr>
                <a:spLocks noChangeAspect="1" noChangeArrowheads="1"/>
              </p:cNvSpPr>
              <p:nvPr/>
            </p:nvSpPr>
            <p:spPr bwMode="auto">
              <a:xfrm>
                <a:off x="1973374" y="5986600"/>
                <a:ext cx="766590" cy="168653"/>
              </a:xfrm>
              <a:prstGeom prst="rect">
                <a:avLst/>
              </a:prstGeom>
              <a:noFill/>
              <a:ln w="6350">
                <a:noFill/>
                <a:miter lim="800000"/>
                <a:headEnd/>
                <a:tailEnd/>
              </a:ln>
              <a:effectLst/>
            </p:spPr>
            <p:txBody>
              <a:bodyPr wrap="none" lIns="0" tIns="0" rIns="0" bIns="0" anchor="ctr">
                <a:spAutoFit/>
              </a:bodyPr>
              <a:lstStyle/>
              <a:p>
                <a:pPr eaLnBrk="0" hangingPunct="0">
                  <a:spcBef>
                    <a:spcPct val="0"/>
                  </a:spcBef>
                  <a:defRPr/>
                </a:pPr>
                <a:r>
                  <a:rPr lang="pt-BR" sz="1000" kern="0" noProof="1">
                    <a:solidFill>
                      <a:srgbClr val="000000"/>
                    </a:solidFill>
                    <a:latin typeface="Graphik" panose="020B0503030202060203" pitchFamily="34" charset="77"/>
                  </a:rPr>
                  <a:t>Satisfactory</a:t>
                </a:r>
              </a:p>
            </p:txBody>
          </p:sp>
          <p:grpSp>
            <p:nvGrpSpPr>
              <p:cNvPr id="58" name="Group 217">
                <a:extLst>
                  <a:ext uri="{FF2B5EF4-FFF2-40B4-BE49-F238E27FC236}">
                    <a16:creationId xmlns:a16="http://schemas.microsoft.com/office/drawing/2014/main" id="{F0DBE5EC-4B38-4A48-AC4F-5399B91BEE0C}"/>
                  </a:ext>
                </a:extLst>
              </p:cNvPr>
              <p:cNvGrpSpPr>
                <a:grpSpLocks noChangeAspect="1"/>
              </p:cNvGrpSpPr>
              <p:nvPr/>
            </p:nvGrpSpPr>
            <p:grpSpPr bwMode="auto">
              <a:xfrm>
                <a:off x="2018110" y="6268705"/>
                <a:ext cx="519231" cy="91899"/>
                <a:chOff x="2711" y="3146"/>
                <a:chExt cx="745" cy="121"/>
              </a:xfrm>
            </p:grpSpPr>
            <p:sp>
              <p:nvSpPr>
                <p:cNvPr id="59" name="AutoShape 218">
                  <a:extLst>
                    <a:ext uri="{FF2B5EF4-FFF2-40B4-BE49-F238E27FC236}">
                      <a16:creationId xmlns:a16="http://schemas.microsoft.com/office/drawing/2014/main" id="{C207360F-1EAB-4E19-9E31-19ABC83E0175}"/>
                    </a:ext>
                  </a:extLst>
                </p:cNvPr>
                <p:cNvSpPr>
                  <a:spLocks noChangeArrowheads="1"/>
                </p:cNvSpPr>
                <p:nvPr/>
              </p:nvSpPr>
              <p:spPr bwMode="auto">
                <a:xfrm>
                  <a:off x="2711" y="3146"/>
                  <a:ext cx="135" cy="121"/>
                </a:xfrm>
                <a:prstGeom prst="star5">
                  <a:avLst/>
                </a:pr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60" name="AutoShape 219">
                  <a:extLst>
                    <a:ext uri="{FF2B5EF4-FFF2-40B4-BE49-F238E27FC236}">
                      <a16:creationId xmlns:a16="http://schemas.microsoft.com/office/drawing/2014/main" id="{BBA6321C-BDDB-43CB-B425-94BCCB95A372}"/>
                    </a:ext>
                  </a:extLst>
                </p:cNvPr>
                <p:cNvSpPr>
                  <a:spLocks noChangeArrowheads="1"/>
                </p:cNvSpPr>
                <p:nvPr/>
              </p:nvSpPr>
              <p:spPr bwMode="auto">
                <a:xfrm>
                  <a:off x="2863" y="3146"/>
                  <a:ext cx="136" cy="121"/>
                </a:xfrm>
                <a:prstGeom prst="star5">
                  <a:avLst/>
                </a:pr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61" name="AutoShape 220">
                  <a:extLst>
                    <a:ext uri="{FF2B5EF4-FFF2-40B4-BE49-F238E27FC236}">
                      <a16:creationId xmlns:a16="http://schemas.microsoft.com/office/drawing/2014/main" id="{2A869865-5533-428E-8223-3BF4A1AABB70}"/>
                    </a:ext>
                  </a:extLst>
                </p:cNvPr>
                <p:cNvSpPr>
                  <a:spLocks noChangeArrowheads="1"/>
                </p:cNvSpPr>
                <p:nvPr/>
              </p:nvSpPr>
              <p:spPr bwMode="auto">
                <a:xfrm>
                  <a:off x="3016" y="3146"/>
                  <a:ext cx="135" cy="121"/>
                </a:xfrm>
                <a:prstGeom prst="star5">
                  <a:avLst/>
                </a:pr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62" name="AutoShape 221">
                  <a:extLst>
                    <a:ext uri="{FF2B5EF4-FFF2-40B4-BE49-F238E27FC236}">
                      <a16:creationId xmlns:a16="http://schemas.microsoft.com/office/drawing/2014/main" id="{3212DBA3-02D6-4CD3-BDF3-9B1C2BC6D96C}"/>
                    </a:ext>
                  </a:extLst>
                </p:cNvPr>
                <p:cNvSpPr>
                  <a:spLocks noChangeArrowheads="1"/>
                </p:cNvSpPr>
                <p:nvPr/>
              </p:nvSpPr>
              <p:spPr bwMode="auto">
                <a:xfrm>
                  <a:off x="3168" y="3146"/>
                  <a:ext cx="136" cy="121"/>
                </a:xfrm>
                <a:prstGeom prst="star5">
                  <a:avLst/>
                </a:prstGeom>
                <a:noFill/>
                <a:ln w="6350">
                  <a:solidFill>
                    <a:schemeClr val="tx1"/>
                  </a:solidFill>
                  <a:miter lim="800000"/>
                  <a:headEnd/>
                  <a:tailEnd/>
                </a:ln>
                <a:effectLst/>
              </p:spPr>
              <p:txBody>
                <a:bodyPr wrap="none" lIns="0" tIns="0" rIns="0" bIns="0" anchor="ctr"/>
                <a:lstStyle/>
                <a:p>
                  <a:endParaRPr lang="pt-BR" sz="2400" kern="0" noProof="1">
                    <a:solidFill>
                      <a:srgbClr val="000000"/>
                    </a:solidFill>
                    <a:latin typeface="Graphik" panose="020B0503030202060203" pitchFamily="34" charset="77"/>
                  </a:endParaRPr>
                </a:p>
              </p:txBody>
            </p:sp>
            <p:sp>
              <p:nvSpPr>
                <p:cNvPr id="63" name="AutoShape 222">
                  <a:extLst>
                    <a:ext uri="{FF2B5EF4-FFF2-40B4-BE49-F238E27FC236}">
                      <a16:creationId xmlns:a16="http://schemas.microsoft.com/office/drawing/2014/main" id="{B74D0E4E-C115-4748-8851-404ACDA844D6}"/>
                    </a:ext>
                  </a:extLst>
                </p:cNvPr>
                <p:cNvSpPr>
                  <a:spLocks noChangeArrowheads="1"/>
                </p:cNvSpPr>
                <p:nvPr/>
              </p:nvSpPr>
              <p:spPr bwMode="auto">
                <a:xfrm>
                  <a:off x="3321" y="3146"/>
                  <a:ext cx="135" cy="121"/>
                </a:xfrm>
                <a:prstGeom prst="star5">
                  <a:avLst/>
                </a:prstGeom>
                <a:noFill/>
                <a:ln w="6350">
                  <a:solidFill>
                    <a:schemeClr val="tx1"/>
                  </a:solidFill>
                  <a:miter lim="800000"/>
                  <a:headEnd/>
                  <a:tailEnd/>
                </a:ln>
                <a:effectLst/>
              </p:spPr>
              <p:txBody>
                <a:bodyPr wrap="none" lIns="0" tIns="0" rIns="0" bIns="0" anchor="ctr"/>
                <a:lstStyle/>
                <a:p>
                  <a:endParaRPr lang="pt-BR" sz="2400" kern="0" noProof="1">
                    <a:solidFill>
                      <a:srgbClr val="000000"/>
                    </a:solidFill>
                    <a:latin typeface="Graphik" panose="020B0503030202060203" pitchFamily="34" charset="77"/>
                  </a:endParaRPr>
                </a:p>
              </p:txBody>
            </p:sp>
          </p:grpSp>
        </p:grpSp>
        <p:grpSp>
          <p:nvGrpSpPr>
            <p:cNvPr id="198" name="Group 197" descr="Poor">
              <a:extLst>
                <a:ext uri="{FF2B5EF4-FFF2-40B4-BE49-F238E27FC236}">
                  <a16:creationId xmlns:a16="http://schemas.microsoft.com/office/drawing/2014/main" id="{FFB3CC58-413A-4EB8-BA01-4CA7123C95B4}"/>
                </a:ext>
              </a:extLst>
            </p:cNvPr>
            <p:cNvGrpSpPr/>
            <p:nvPr/>
          </p:nvGrpSpPr>
          <p:grpSpPr>
            <a:xfrm>
              <a:off x="2961103" y="5552097"/>
              <a:ext cx="519231" cy="374004"/>
              <a:chOff x="2857342" y="5986600"/>
              <a:chExt cx="519231" cy="374004"/>
            </a:xfrm>
          </p:grpSpPr>
          <p:sp>
            <p:nvSpPr>
              <p:cNvPr id="37" name="Rectangle 9">
                <a:extLst>
                  <a:ext uri="{FF2B5EF4-FFF2-40B4-BE49-F238E27FC236}">
                    <a16:creationId xmlns:a16="http://schemas.microsoft.com/office/drawing/2014/main" id="{CAACDCA2-5779-4C5C-A5BE-CE4D59010DCF}"/>
                  </a:ext>
                </a:extLst>
              </p:cNvPr>
              <p:cNvSpPr>
                <a:spLocks noChangeAspect="1" noChangeArrowheads="1"/>
              </p:cNvSpPr>
              <p:nvPr/>
            </p:nvSpPr>
            <p:spPr bwMode="auto">
              <a:xfrm flipH="1">
                <a:off x="3017490" y="5986600"/>
                <a:ext cx="295877" cy="168653"/>
              </a:xfrm>
              <a:prstGeom prst="rect">
                <a:avLst/>
              </a:prstGeom>
              <a:noFill/>
              <a:ln w="6350">
                <a:noFill/>
                <a:miter lim="800000"/>
                <a:headEnd/>
                <a:tailEnd/>
              </a:ln>
              <a:effectLst/>
            </p:spPr>
            <p:txBody>
              <a:bodyPr wrap="none" lIns="0" tIns="0" rIns="0" bIns="0" anchor="ctr">
                <a:spAutoFit/>
              </a:bodyPr>
              <a:lstStyle/>
              <a:p>
                <a:pPr eaLnBrk="0" hangingPunct="0">
                  <a:spcBef>
                    <a:spcPct val="0"/>
                  </a:spcBef>
                  <a:defRPr/>
                </a:pPr>
                <a:r>
                  <a:rPr lang="pt-BR" sz="1000" kern="0" noProof="1">
                    <a:solidFill>
                      <a:srgbClr val="000000"/>
                    </a:solidFill>
                    <a:latin typeface="Graphik" panose="020B0503030202060203" pitchFamily="34" charset="77"/>
                  </a:rPr>
                  <a:t>Poor</a:t>
                </a:r>
              </a:p>
            </p:txBody>
          </p:sp>
          <p:grpSp>
            <p:nvGrpSpPr>
              <p:cNvPr id="52" name="Group 211">
                <a:extLst>
                  <a:ext uri="{FF2B5EF4-FFF2-40B4-BE49-F238E27FC236}">
                    <a16:creationId xmlns:a16="http://schemas.microsoft.com/office/drawing/2014/main" id="{8F740192-93E3-45FD-9D96-4282120C6930}"/>
                  </a:ext>
                </a:extLst>
              </p:cNvPr>
              <p:cNvGrpSpPr>
                <a:grpSpLocks noChangeAspect="1"/>
              </p:cNvGrpSpPr>
              <p:nvPr/>
            </p:nvGrpSpPr>
            <p:grpSpPr bwMode="auto">
              <a:xfrm>
                <a:off x="2857342" y="6268705"/>
                <a:ext cx="519231" cy="91899"/>
                <a:chOff x="2711" y="3146"/>
                <a:chExt cx="745" cy="121"/>
              </a:xfrm>
            </p:grpSpPr>
            <p:sp>
              <p:nvSpPr>
                <p:cNvPr id="53" name="AutoShape 212">
                  <a:extLst>
                    <a:ext uri="{FF2B5EF4-FFF2-40B4-BE49-F238E27FC236}">
                      <a16:creationId xmlns:a16="http://schemas.microsoft.com/office/drawing/2014/main" id="{47E30018-671F-4564-B748-2C2F3CFB153F}"/>
                    </a:ext>
                  </a:extLst>
                </p:cNvPr>
                <p:cNvSpPr>
                  <a:spLocks noChangeArrowheads="1"/>
                </p:cNvSpPr>
                <p:nvPr/>
              </p:nvSpPr>
              <p:spPr bwMode="auto">
                <a:xfrm>
                  <a:off x="2711" y="3146"/>
                  <a:ext cx="135" cy="121"/>
                </a:xfrm>
                <a:prstGeom prst="star5">
                  <a:avLst/>
                </a:pr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54" name="AutoShape 213">
                  <a:extLst>
                    <a:ext uri="{FF2B5EF4-FFF2-40B4-BE49-F238E27FC236}">
                      <a16:creationId xmlns:a16="http://schemas.microsoft.com/office/drawing/2014/main" id="{CB8A08D3-93D7-4158-B81E-B1F916D580BC}"/>
                    </a:ext>
                  </a:extLst>
                </p:cNvPr>
                <p:cNvSpPr>
                  <a:spLocks noChangeArrowheads="1"/>
                </p:cNvSpPr>
                <p:nvPr/>
              </p:nvSpPr>
              <p:spPr bwMode="auto">
                <a:xfrm>
                  <a:off x="2863" y="3146"/>
                  <a:ext cx="136" cy="121"/>
                </a:xfrm>
                <a:prstGeom prst="star5">
                  <a:avLst/>
                </a:pr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55" name="AutoShape 214">
                  <a:extLst>
                    <a:ext uri="{FF2B5EF4-FFF2-40B4-BE49-F238E27FC236}">
                      <a16:creationId xmlns:a16="http://schemas.microsoft.com/office/drawing/2014/main" id="{88858D8D-FDCF-4D7C-A9EB-78A03C88AA42}"/>
                    </a:ext>
                  </a:extLst>
                </p:cNvPr>
                <p:cNvSpPr>
                  <a:spLocks noChangeArrowheads="1"/>
                </p:cNvSpPr>
                <p:nvPr/>
              </p:nvSpPr>
              <p:spPr bwMode="auto">
                <a:xfrm>
                  <a:off x="3016" y="3146"/>
                  <a:ext cx="135" cy="121"/>
                </a:xfrm>
                <a:prstGeom prst="star5">
                  <a:avLst/>
                </a:prstGeom>
                <a:noFill/>
                <a:ln w="6350">
                  <a:solidFill>
                    <a:schemeClr val="tx1"/>
                  </a:solidFill>
                  <a:miter lim="800000"/>
                  <a:headEnd/>
                  <a:tailEnd/>
                </a:ln>
                <a:effectLst/>
              </p:spPr>
              <p:txBody>
                <a:bodyPr wrap="none" lIns="0" tIns="0" rIns="0" bIns="0" anchor="ctr"/>
                <a:lstStyle/>
                <a:p>
                  <a:endParaRPr lang="pt-BR" sz="2400" kern="0" noProof="1">
                    <a:solidFill>
                      <a:srgbClr val="000000"/>
                    </a:solidFill>
                    <a:latin typeface="Graphik" panose="020B0503030202060203" pitchFamily="34" charset="77"/>
                  </a:endParaRPr>
                </a:p>
              </p:txBody>
            </p:sp>
            <p:sp>
              <p:nvSpPr>
                <p:cNvPr id="56" name="AutoShape 215">
                  <a:extLst>
                    <a:ext uri="{FF2B5EF4-FFF2-40B4-BE49-F238E27FC236}">
                      <a16:creationId xmlns:a16="http://schemas.microsoft.com/office/drawing/2014/main" id="{01CB50B3-5B97-4627-8720-0CFFDBF65255}"/>
                    </a:ext>
                  </a:extLst>
                </p:cNvPr>
                <p:cNvSpPr>
                  <a:spLocks noChangeArrowheads="1"/>
                </p:cNvSpPr>
                <p:nvPr/>
              </p:nvSpPr>
              <p:spPr bwMode="auto">
                <a:xfrm>
                  <a:off x="3168" y="3146"/>
                  <a:ext cx="136" cy="121"/>
                </a:xfrm>
                <a:prstGeom prst="star5">
                  <a:avLst/>
                </a:prstGeom>
                <a:noFill/>
                <a:ln w="6350">
                  <a:solidFill>
                    <a:schemeClr val="tx1"/>
                  </a:solidFill>
                  <a:miter lim="800000"/>
                  <a:headEnd/>
                  <a:tailEnd/>
                </a:ln>
                <a:effectLst/>
              </p:spPr>
              <p:txBody>
                <a:bodyPr wrap="none" lIns="0" tIns="0" rIns="0" bIns="0" anchor="ctr"/>
                <a:lstStyle/>
                <a:p>
                  <a:endParaRPr lang="pt-BR" sz="2400" kern="0" noProof="1">
                    <a:solidFill>
                      <a:srgbClr val="000000"/>
                    </a:solidFill>
                    <a:latin typeface="Graphik" panose="020B0503030202060203" pitchFamily="34" charset="77"/>
                  </a:endParaRPr>
                </a:p>
              </p:txBody>
            </p:sp>
            <p:sp>
              <p:nvSpPr>
                <p:cNvPr id="57" name="AutoShape 216">
                  <a:extLst>
                    <a:ext uri="{FF2B5EF4-FFF2-40B4-BE49-F238E27FC236}">
                      <a16:creationId xmlns:a16="http://schemas.microsoft.com/office/drawing/2014/main" id="{810CDA4A-DB2C-423A-A278-083E3B1A89C7}"/>
                    </a:ext>
                  </a:extLst>
                </p:cNvPr>
                <p:cNvSpPr>
                  <a:spLocks noChangeArrowheads="1"/>
                </p:cNvSpPr>
                <p:nvPr/>
              </p:nvSpPr>
              <p:spPr bwMode="auto">
                <a:xfrm>
                  <a:off x="3321" y="3146"/>
                  <a:ext cx="135" cy="121"/>
                </a:xfrm>
                <a:prstGeom prst="star5">
                  <a:avLst/>
                </a:prstGeom>
                <a:noFill/>
                <a:ln w="6350">
                  <a:solidFill>
                    <a:schemeClr val="tx1"/>
                  </a:solidFill>
                  <a:miter lim="800000"/>
                  <a:headEnd/>
                  <a:tailEnd/>
                </a:ln>
                <a:effectLst/>
              </p:spPr>
              <p:txBody>
                <a:bodyPr wrap="none" lIns="0" tIns="0" rIns="0" bIns="0" anchor="ctr"/>
                <a:lstStyle/>
                <a:p>
                  <a:endParaRPr lang="pt-BR" sz="2400" kern="0" noProof="1">
                    <a:solidFill>
                      <a:srgbClr val="000000"/>
                    </a:solidFill>
                    <a:latin typeface="Graphik" panose="020B0503030202060203" pitchFamily="34" charset="77"/>
                  </a:endParaRPr>
                </a:p>
              </p:txBody>
            </p:sp>
          </p:grpSp>
        </p:grpSp>
        <p:grpSp>
          <p:nvGrpSpPr>
            <p:cNvPr id="199" name="Group 198" descr="Very Poor">
              <a:extLst>
                <a:ext uri="{FF2B5EF4-FFF2-40B4-BE49-F238E27FC236}">
                  <a16:creationId xmlns:a16="http://schemas.microsoft.com/office/drawing/2014/main" id="{98B79AEF-5E68-49E5-A11E-0E20FF871941}"/>
                </a:ext>
              </a:extLst>
            </p:cNvPr>
            <p:cNvGrpSpPr/>
            <p:nvPr/>
          </p:nvGrpSpPr>
          <p:grpSpPr>
            <a:xfrm>
              <a:off x="3769323" y="5552097"/>
              <a:ext cx="628739" cy="374004"/>
              <a:chOff x="3665562" y="5986600"/>
              <a:chExt cx="628739" cy="374004"/>
            </a:xfrm>
          </p:grpSpPr>
          <p:sp>
            <p:nvSpPr>
              <p:cNvPr id="39" name="Rectangle 10">
                <a:extLst>
                  <a:ext uri="{FF2B5EF4-FFF2-40B4-BE49-F238E27FC236}">
                    <a16:creationId xmlns:a16="http://schemas.microsoft.com/office/drawing/2014/main" id="{A6E88832-0F90-43F9-A8CA-E3C9108CADAF}"/>
                  </a:ext>
                </a:extLst>
              </p:cNvPr>
              <p:cNvSpPr>
                <a:spLocks noChangeAspect="1" noChangeArrowheads="1"/>
              </p:cNvSpPr>
              <p:nvPr/>
            </p:nvSpPr>
            <p:spPr bwMode="auto">
              <a:xfrm>
                <a:off x="3665562" y="5986600"/>
                <a:ext cx="628739" cy="168653"/>
              </a:xfrm>
              <a:prstGeom prst="rect">
                <a:avLst/>
              </a:prstGeom>
              <a:noFill/>
              <a:ln w="6350">
                <a:noFill/>
                <a:miter lim="800000"/>
                <a:headEnd/>
                <a:tailEnd/>
              </a:ln>
              <a:effectLst/>
            </p:spPr>
            <p:txBody>
              <a:bodyPr wrap="none" lIns="0" tIns="0" rIns="0" bIns="0" anchor="ctr">
                <a:spAutoFit/>
              </a:bodyPr>
              <a:lstStyle/>
              <a:p>
                <a:pPr eaLnBrk="0" hangingPunct="0">
                  <a:spcBef>
                    <a:spcPct val="0"/>
                  </a:spcBef>
                  <a:defRPr/>
                </a:pPr>
                <a:r>
                  <a:rPr lang="pt-BR" sz="1000" kern="0" noProof="1">
                    <a:solidFill>
                      <a:srgbClr val="000000"/>
                    </a:solidFill>
                    <a:latin typeface="Graphik" panose="020B0503030202060203" pitchFamily="34" charset="77"/>
                  </a:rPr>
                  <a:t>Very poor</a:t>
                </a:r>
              </a:p>
            </p:txBody>
          </p:sp>
          <p:grpSp>
            <p:nvGrpSpPr>
              <p:cNvPr id="46" name="Group 205">
                <a:extLst>
                  <a:ext uri="{FF2B5EF4-FFF2-40B4-BE49-F238E27FC236}">
                    <a16:creationId xmlns:a16="http://schemas.microsoft.com/office/drawing/2014/main" id="{07B0C887-4DE1-469D-A998-9D2515BD0256}"/>
                  </a:ext>
                </a:extLst>
              </p:cNvPr>
              <p:cNvGrpSpPr>
                <a:grpSpLocks noChangeAspect="1"/>
              </p:cNvGrpSpPr>
              <p:nvPr/>
            </p:nvGrpSpPr>
            <p:grpSpPr bwMode="auto">
              <a:xfrm>
                <a:off x="3699368" y="6268705"/>
                <a:ext cx="519231" cy="91899"/>
                <a:chOff x="2711" y="3146"/>
                <a:chExt cx="745" cy="121"/>
              </a:xfrm>
            </p:grpSpPr>
            <p:sp>
              <p:nvSpPr>
                <p:cNvPr id="47" name="AutoShape 206">
                  <a:extLst>
                    <a:ext uri="{FF2B5EF4-FFF2-40B4-BE49-F238E27FC236}">
                      <a16:creationId xmlns:a16="http://schemas.microsoft.com/office/drawing/2014/main" id="{F8F7A6E6-6FCF-4ABC-8113-BA93F9BBC3DC}"/>
                    </a:ext>
                  </a:extLst>
                </p:cNvPr>
                <p:cNvSpPr>
                  <a:spLocks noChangeArrowheads="1"/>
                </p:cNvSpPr>
                <p:nvPr/>
              </p:nvSpPr>
              <p:spPr bwMode="auto">
                <a:xfrm>
                  <a:off x="2711" y="3146"/>
                  <a:ext cx="135" cy="121"/>
                </a:xfrm>
                <a:prstGeom prst="star5">
                  <a:avLst/>
                </a:prstGeom>
                <a:solidFill>
                  <a:schemeClr val="tx1"/>
                </a:solidFill>
                <a:ln w="6350">
                  <a:solidFill>
                    <a:schemeClr val="tx1"/>
                  </a:solidFill>
                  <a:round/>
                  <a:headEnd type="none" w="sm" len="sm"/>
                  <a:tailEnd type="none" w="sm" len="sm"/>
                </a:ln>
                <a:effectLst/>
              </p:spPr>
              <p:txBody>
                <a:bodyPr wrap="none" lIns="72000" tIns="72000" rIns="72000" bIns="72000" anchor="ctr"/>
                <a:lstStyle/>
                <a:p>
                  <a:endParaRPr lang="pt-BR" sz="1351" noProof="1">
                    <a:latin typeface="Graphik" panose="020B0503030202060203" pitchFamily="34" charset="77"/>
                  </a:endParaRPr>
                </a:p>
              </p:txBody>
            </p:sp>
            <p:sp>
              <p:nvSpPr>
                <p:cNvPr id="48" name="AutoShape 207">
                  <a:extLst>
                    <a:ext uri="{FF2B5EF4-FFF2-40B4-BE49-F238E27FC236}">
                      <a16:creationId xmlns:a16="http://schemas.microsoft.com/office/drawing/2014/main" id="{9F2FA7AD-E5C0-4D21-95C6-BDCD8A21A251}"/>
                    </a:ext>
                  </a:extLst>
                </p:cNvPr>
                <p:cNvSpPr>
                  <a:spLocks noChangeArrowheads="1"/>
                </p:cNvSpPr>
                <p:nvPr/>
              </p:nvSpPr>
              <p:spPr bwMode="auto">
                <a:xfrm>
                  <a:off x="2863" y="3146"/>
                  <a:ext cx="136" cy="121"/>
                </a:xfrm>
                <a:prstGeom prst="star5">
                  <a:avLst/>
                </a:prstGeom>
                <a:noFill/>
                <a:ln w="6350">
                  <a:solidFill>
                    <a:schemeClr val="tx1"/>
                  </a:solidFill>
                  <a:miter lim="800000"/>
                  <a:headEnd/>
                  <a:tailEnd/>
                </a:ln>
                <a:effectLst/>
              </p:spPr>
              <p:txBody>
                <a:bodyPr wrap="none" lIns="0" tIns="0" rIns="0" bIns="0" anchor="ctr"/>
                <a:lstStyle/>
                <a:p>
                  <a:endParaRPr lang="pt-BR" sz="2400" kern="0" noProof="1">
                    <a:solidFill>
                      <a:srgbClr val="000000"/>
                    </a:solidFill>
                    <a:latin typeface="Graphik" panose="020B0503030202060203" pitchFamily="34" charset="77"/>
                  </a:endParaRPr>
                </a:p>
              </p:txBody>
            </p:sp>
            <p:sp>
              <p:nvSpPr>
                <p:cNvPr id="49" name="AutoShape 208">
                  <a:extLst>
                    <a:ext uri="{FF2B5EF4-FFF2-40B4-BE49-F238E27FC236}">
                      <a16:creationId xmlns:a16="http://schemas.microsoft.com/office/drawing/2014/main" id="{0250CF3A-B500-4544-81D6-96A7304F2070}"/>
                    </a:ext>
                  </a:extLst>
                </p:cNvPr>
                <p:cNvSpPr>
                  <a:spLocks noChangeArrowheads="1"/>
                </p:cNvSpPr>
                <p:nvPr/>
              </p:nvSpPr>
              <p:spPr bwMode="auto">
                <a:xfrm>
                  <a:off x="3016" y="3146"/>
                  <a:ext cx="135" cy="121"/>
                </a:xfrm>
                <a:prstGeom prst="star5">
                  <a:avLst/>
                </a:prstGeom>
                <a:noFill/>
                <a:ln w="6350">
                  <a:solidFill>
                    <a:schemeClr val="tx1"/>
                  </a:solidFill>
                  <a:miter lim="800000"/>
                  <a:headEnd/>
                  <a:tailEnd/>
                </a:ln>
                <a:effectLst/>
              </p:spPr>
              <p:txBody>
                <a:bodyPr wrap="none" lIns="0" tIns="0" rIns="0" bIns="0" anchor="ctr"/>
                <a:lstStyle/>
                <a:p>
                  <a:endParaRPr lang="pt-BR" sz="2400" kern="0" noProof="1">
                    <a:solidFill>
                      <a:srgbClr val="000000"/>
                    </a:solidFill>
                    <a:latin typeface="Graphik" panose="020B0503030202060203" pitchFamily="34" charset="77"/>
                  </a:endParaRPr>
                </a:p>
              </p:txBody>
            </p:sp>
            <p:sp>
              <p:nvSpPr>
                <p:cNvPr id="50" name="AutoShape 209">
                  <a:extLst>
                    <a:ext uri="{FF2B5EF4-FFF2-40B4-BE49-F238E27FC236}">
                      <a16:creationId xmlns:a16="http://schemas.microsoft.com/office/drawing/2014/main" id="{223C4823-83E6-43E3-9ED2-31E23A8198F2}"/>
                    </a:ext>
                  </a:extLst>
                </p:cNvPr>
                <p:cNvSpPr>
                  <a:spLocks noChangeArrowheads="1"/>
                </p:cNvSpPr>
                <p:nvPr/>
              </p:nvSpPr>
              <p:spPr bwMode="auto">
                <a:xfrm>
                  <a:off x="3168" y="3146"/>
                  <a:ext cx="136" cy="121"/>
                </a:xfrm>
                <a:prstGeom prst="star5">
                  <a:avLst/>
                </a:prstGeom>
                <a:noFill/>
                <a:ln w="6350">
                  <a:solidFill>
                    <a:schemeClr val="tx1"/>
                  </a:solidFill>
                  <a:miter lim="800000"/>
                  <a:headEnd/>
                  <a:tailEnd/>
                </a:ln>
                <a:effectLst/>
              </p:spPr>
              <p:txBody>
                <a:bodyPr wrap="none" lIns="0" tIns="0" rIns="0" bIns="0" anchor="ctr"/>
                <a:lstStyle/>
                <a:p>
                  <a:endParaRPr lang="pt-BR" sz="2400" kern="0" noProof="1">
                    <a:solidFill>
                      <a:srgbClr val="000000"/>
                    </a:solidFill>
                    <a:latin typeface="Graphik" panose="020B0503030202060203" pitchFamily="34" charset="77"/>
                  </a:endParaRPr>
                </a:p>
              </p:txBody>
            </p:sp>
            <p:sp>
              <p:nvSpPr>
                <p:cNvPr id="51" name="AutoShape 210">
                  <a:extLst>
                    <a:ext uri="{FF2B5EF4-FFF2-40B4-BE49-F238E27FC236}">
                      <a16:creationId xmlns:a16="http://schemas.microsoft.com/office/drawing/2014/main" id="{03494D85-DEFD-43D3-B782-F2419A8A1C04}"/>
                    </a:ext>
                  </a:extLst>
                </p:cNvPr>
                <p:cNvSpPr>
                  <a:spLocks noChangeArrowheads="1"/>
                </p:cNvSpPr>
                <p:nvPr/>
              </p:nvSpPr>
              <p:spPr bwMode="auto">
                <a:xfrm>
                  <a:off x="3321" y="3146"/>
                  <a:ext cx="135" cy="121"/>
                </a:xfrm>
                <a:prstGeom prst="star5">
                  <a:avLst/>
                </a:prstGeom>
                <a:noFill/>
                <a:ln w="6350">
                  <a:solidFill>
                    <a:schemeClr val="tx1"/>
                  </a:solidFill>
                  <a:miter lim="800000"/>
                  <a:headEnd/>
                  <a:tailEnd/>
                </a:ln>
                <a:effectLst/>
              </p:spPr>
              <p:txBody>
                <a:bodyPr wrap="none" lIns="0" tIns="0" rIns="0" bIns="0" anchor="ctr"/>
                <a:lstStyle/>
                <a:p>
                  <a:endParaRPr lang="pt-BR" sz="2400" kern="0" noProof="1">
                    <a:solidFill>
                      <a:srgbClr val="000000"/>
                    </a:solidFill>
                    <a:latin typeface="Graphik" panose="020B0503030202060203" pitchFamily="34" charset="77"/>
                  </a:endParaRPr>
                </a:p>
              </p:txBody>
            </p:sp>
          </p:grpSp>
        </p:grpSp>
      </p:grpSp>
    </p:spTree>
    <p:extLst>
      <p:ext uri="{BB962C8B-B14F-4D97-AF65-F5344CB8AC3E}">
        <p14:creationId xmlns:p14="http://schemas.microsoft.com/office/powerpoint/2010/main" val="239486293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E244ED39-24C2-9356-C743-058102839721}"/>
              </a:ext>
            </a:extLst>
          </p:cNvPr>
          <p:cNvGraphicFramePr>
            <a:graphicFrameLocks noChangeAspect="1"/>
          </p:cNvGraphicFramePr>
          <p:nvPr>
            <p:custDataLst>
              <p:tags r:id="rId1"/>
            </p:custDataLst>
            <p:extLst>
              <p:ext uri="{D42A27DB-BD31-4B8C-83A1-F6EECF244321}">
                <p14:modId xmlns:p14="http://schemas.microsoft.com/office/powerpoint/2010/main" val="2597860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25" name="think-cell data - do not delete" hidden="1">
                        <a:extLst>
                          <a:ext uri="{FF2B5EF4-FFF2-40B4-BE49-F238E27FC236}">
                            <a16:creationId xmlns:a16="http://schemas.microsoft.com/office/drawing/2014/main" id="{E244ED39-24C2-9356-C743-0581028397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vert="horz"/>
          <a:lstStyle/>
          <a:p>
            <a:r>
              <a:rPr lang="pt-BR" noProof="1"/>
              <a:t>2x2 matrix chart example</a:t>
            </a:r>
          </a:p>
        </p:txBody>
      </p:sp>
      <p:grpSp>
        <p:nvGrpSpPr>
          <p:cNvPr id="3" name="Group 2" descr="Example of a 2x2 matrix chart. Products are positioned based on two variables, with the top-right quadrant highlighted to indicate higher values for both metrics.">
            <a:extLst>
              <a:ext uri="{FF2B5EF4-FFF2-40B4-BE49-F238E27FC236}">
                <a16:creationId xmlns:a16="http://schemas.microsoft.com/office/drawing/2014/main" id="{40913FF5-EAC3-476C-9B06-65060CD8748D}"/>
              </a:ext>
            </a:extLst>
          </p:cNvPr>
          <p:cNvGrpSpPr/>
          <p:nvPr/>
        </p:nvGrpSpPr>
        <p:grpSpPr>
          <a:xfrm>
            <a:off x="2999843" y="1618580"/>
            <a:ext cx="4939021" cy="4510720"/>
            <a:chOff x="2999842" y="1618580"/>
            <a:chExt cx="4939021" cy="4510720"/>
          </a:xfrm>
        </p:grpSpPr>
        <p:sp>
          <p:nvSpPr>
            <p:cNvPr id="9" name="Text Box 8">
              <a:extLst>
                <a:ext uri="{FF2B5EF4-FFF2-40B4-BE49-F238E27FC236}">
                  <a16:creationId xmlns:a16="http://schemas.microsoft.com/office/drawing/2014/main" id="{2A7E0094-B1DB-4670-BCD4-88924722FA46}"/>
                </a:ext>
              </a:extLst>
            </p:cNvPr>
            <p:cNvSpPr txBox="1">
              <a:spLocks noChangeAspect="1" noChangeArrowheads="1"/>
            </p:cNvSpPr>
            <p:nvPr/>
          </p:nvSpPr>
          <p:spPr bwMode="auto">
            <a:xfrm>
              <a:off x="3287487" y="1618580"/>
              <a:ext cx="595313" cy="333375"/>
            </a:xfrm>
            <a:prstGeom prst="rect">
              <a:avLst/>
            </a:prstGeom>
            <a:noFill/>
            <a:ln w="6350">
              <a:noFill/>
              <a:miter lim="800000"/>
              <a:headEnd/>
              <a:tailEnd/>
            </a:ln>
            <a:effectLst/>
          </p:spPr>
          <p:txBody>
            <a:bodyPr wrap="none" lIns="45720" rIns="45720"/>
            <a:lstStyle/>
            <a:p>
              <a:pPr eaLnBrk="0" hangingPunct="0">
                <a:spcBef>
                  <a:spcPct val="0"/>
                </a:spcBef>
                <a:defRPr/>
              </a:pPr>
              <a:r>
                <a:rPr lang="pt-BR" sz="1400" kern="0" noProof="1">
                  <a:solidFill>
                    <a:srgbClr val="000000"/>
                  </a:solidFill>
                  <a:latin typeface="Graphik" panose="020B0503030202060203" pitchFamily="34" charset="77"/>
                </a:rPr>
                <a:t>High</a:t>
              </a:r>
            </a:p>
          </p:txBody>
        </p:sp>
        <p:sp>
          <p:nvSpPr>
            <p:cNvPr id="8" name="Rectangle 7">
              <a:extLst>
                <a:ext uri="{FF2B5EF4-FFF2-40B4-BE49-F238E27FC236}">
                  <a16:creationId xmlns:a16="http://schemas.microsoft.com/office/drawing/2014/main" id="{17BE1C35-0413-4C9B-AF1F-8C385C2E0946}"/>
                </a:ext>
                <a:ext uri="{C183D7F6-B498-43B3-948B-1728B52AA6E4}">
                  <adec:decorative xmlns:adec="http://schemas.microsoft.com/office/drawing/2017/decorative" val="1"/>
                </a:ext>
              </a:extLst>
            </p:cNvPr>
            <p:cNvSpPr>
              <a:spLocks noChangeAspect="1" noChangeArrowheads="1"/>
            </p:cNvSpPr>
            <p:nvPr/>
          </p:nvSpPr>
          <p:spPr bwMode="auto">
            <a:xfrm>
              <a:off x="3882800" y="1618580"/>
              <a:ext cx="1979613" cy="1998663"/>
            </a:xfrm>
            <a:prstGeom prst="rect">
              <a:avLst/>
            </a:prstGeom>
            <a:solidFill>
              <a:srgbClr val="E4E7E7"/>
            </a:solidFill>
            <a:ln w="6350">
              <a:solidFill>
                <a:srgbClr val="FFFFFF"/>
              </a:solidFill>
              <a:miter lim="800000"/>
              <a:headEnd/>
              <a:tailEnd/>
            </a:ln>
            <a:effectLst/>
          </p:spPr>
          <p:txBody>
            <a:bodyPr lIns="45720" rIns="45720"/>
            <a:lstStyle/>
            <a:p>
              <a:pPr eaLnBrk="0" hangingPunct="0">
                <a:spcBef>
                  <a:spcPct val="0"/>
                </a:spcBef>
                <a:defRPr/>
              </a:pPr>
              <a:endParaRPr lang="pt-BR" sz="1400" kern="0" noProof="1">
                <a:solidFill>
                  <a:srgbClr val="000000"/>
                </a:solidFill>
                <a:latin typeface="Graphik" panose="020B0503030202060203" pitchFamily="34" charset="77"/>
              </a:endParaRPr>
            </a:p>
          </p:txBody>
        </p:sp>
        <p:sp>
          <p:nvSpPr>
            <p:cNvPr id="7" name="Rectangle 6">
              <a:extLst>
                <a:ext uri="{FF2B5EF4-FFF2-40B4-BE49-F238E27FC236}">
                  <a16:creationId xmlns:a16="http://schemas.microsoft.com/office/drawing/2014/main" id="{151D0CA0-AEC4-499D-B515-1A88D509F20D}"/>
                </a:ext>
                <a:ext uri="{C183D7F6-B498-43B3-948B-1728B52AA6E4}">
                  <adec:decorative xmlns:adec="http://schemas.microsoft.com/office/drawing/2017/decorative" val="1"/>
                </a:ext>
              </a:extLst>
            </p:cNvPr>
            <p:cNvSpPr>
              <a:spLocks noChangeAspect="1" noChangeArrowheads="1"/>
            </p:cNvSpPr>
            <p:nvPr/>
          </p:nvSpPr>
          <p:spPr bwMode="auto">
            <a:xfrm>
              <a:off x="5862412" y="1618580"/>
              <a:ext cx="1979613" cy="1998663"/>
            </a:xfrm>
            <a:prstGeom prst="rect">
              <a:avLst/>
            </a:prstGeom>
            <a:solidFill>
              <a:schemeClr val="accent1"/>
            </a:solidFill>
            <a:ln w="6350">
              <a:solidFill>
                <a:srgbClr val="FFFFFF"/>
              </a:solidFill>
              <a:miter lim="800000"/>
              <a:headEnd/>
              <a:tailEnd/>
            </a:ln>
            <a:effectLst/>
          </p:spPr>
          <p:txBody>
            <a:bodyPr lIns="45720" rIns="45720"/>
            <a:lstStyle/>
            <a:p>
              <a:pPr eaLnBrk="0" hangingPunct="0">
                <a:spcBef>
                  <a:spcPct val="0"/>
                </a:spcBef>
                <a:defRPr/>
              </a:pPr>
              <a:endParaRPr lang="pt-BR" sz="1400" kern="0" noProof="1">
                <a:solidFill>
                  <a:srgbClr val="000000"/>
                </a:solidFill>
                <a:latin typeface="Graphik" panose="020B0503030202060203" pitchFamily="34" charset="77"/>
              </a:endParaRPr>
            </a:p>
          </p:txBody>
        </p:sp>
        <p:sp>
          <p:nvSpPr>
            <p:cNvPr id="6" name="Rectangle 5">
              <a:extLst>
                <a:ext uri="{FF2B5EF4-FFF2-40B4-BE49-F238E27FC236}">
                  <a16:creationId xmlns:a16="http://schemas.microsoft.com/office/drawing/2014/main" id="{4281B7D2-8B9E-4395-8546-9561EC80FB70}"/>
                </a:ext>
                <a:ext uri="{C183D7F6-B498-43B3-948B-1728B52AA6E4}">
                  <adec:decorative xmlns:adec="http://schemas.microsoft.com/office/drawing/2017/decorative" val="1"/>
                </a:ext>
              </a:extLst>
            </p:cNvPr>
            <p:cNvSpPr>
              <a:spLocks noChangeAspect="1" noChangeArrowheads="1"/>
            </p:cNvSpPr>
            <p:nvPr/>
          </p:nvSpPr>
          <p:spPr bwMode="auto">
            <a:xfrm>
              <a:off x="3882800" y="3617243"/>
              <a:ext cx="1979613" cy="1998663"/>
            </a:xfrm>
            <a:prstGeom prst="rect">
              <a:avLst/>
            </a:prstGeom>
            <a:solidFill>
              <a:srgbClr val="E4E7E7"/>
            </a:solidFill>
            <a:ln w="6350">
              <a:solidFill>
                <a:srgbClr val="FFFFFF"/>
              </a:solidFill>
              <a:miter lim="800000"/>
              <a:headEnd/>
              <a:tailEnd/>
            </a:ln>
            <a:effectLst/>
          </p:spPr>
          <p:txBody>
            <a:bodyPr lIns="45720" rIns="45720"/>
            <a:lstStyle/>
            <a:p>
              <a:pPr eaLnBrk="0" hangingPunct="0">
                <a:spcBef>
                  <a:spcPct val="0"/>
                </a:spcBef>
                <a:defRPr/>
              </a:pPr>
              <a:endParaRPr lang="pt-BR" sz="1400" kern="0" noProof="1">
                <a:solidFill>
                  <a:srgbClr val="000000"/>
                </a:solidFill>
                <a:latin typeface="Graphik" panose="020B0503030202060203" pitchFamily="34" charset="77"/>
              </a:endParaRPr>
            </a:p>
          </p:txBody>
        </p:sp>
        <p:sp>
          <p:nvSpPr>
            <p:cNvPr id="5" name="Rectangle 4">
              <a:extLst>
                <a:ext uri="{FF2B5EF4-FFF2-40B4-BE49-F238E27FC236}">
                  <a16:creationId xmlns:a16="http://schemas.microsoft.com/office/drawing/2014/main" id="{F6B166F0-FE5C-43E3-B857-941CA180F996}"/>
                </a:ext>
                <a:ext uri="{C183D7F6-B498-43B3-948B-1728B52AA6E4}">
                  <adec:decorative xmlns:adec="http://schemas.microsoft.com/office/drawing/2017/decorative" val="1"/>
                </a:ext>
              </a:extLst>
            </p:cNvPr>
            <p:cNvSpPr>
              <a:spLocks noChangeAspect="1" noChangeArrowheads="1"/>
            </p:cNvSpPr>
            <p:nvPr/>
          </p:nvSpPr>
          <p:spPr bwMode="auto">
            <a:xfrm>
              <a:off x="5862412" y="3617243"/>
              <a:ext cx="1979613" cy="1998663"/>
            </a:xfrm>
            <a:prstGeom prst="rect">
              <a:avLst/>
            </a:prstGeom>
            <a:solidFill>
              <a:srgbClr val="E4E7E7"/>
            </a:solidFill>
            <a:ln w="6350">
              <a:solidFill>
                <a:srgbClr val="FFFFFF"/>
              </a:solidFill>
              <a:miter lim="800000"/>
              <a:headEnd/>
              <a:tailEnd/>
            </a:ln>
            <a:effectLst/>
          </p:spPr>
          <p:txBody>
            <a:bodyPr lIns="45720" rIns="45720"/>
            <a:lstStyle/>
            <a:p>
              <a:pPr eaLnBrk="0" hangingPunct="0">
                <a:spcBef>
                  <a:spcPct val="0"/>
                </a:spcBef>
                <a:defRPr/>
              </a:pPr>
              <a:endParaRPr lang="pt-BR" sz="1400" kern="0" noProof="1">
                <a:solidFill>
                  <a:srgbClr val="000000"/>
                </a:solidFill>
                <a:latin typeface="Graphik" panose="020B0503030202060203" pitchFamily="34" charset="77"/>
              </a:endParaRPr>
            </a:p>
          </p:txBody>
        </p:sp>
        <p:sp>
          <p:nvSpPr>
            <p:cNvPr id="22" name="Text Box 21">
              <a:extLst>
                <a:ext uri="{FF2B5EF4-FFF2-40B4-BE49-F238E27FC236}">
                  <a16:creationId xmlns:a16="http://schemas.microsoft.com/office/drawing/2014/main" id="{56146CBA-88EF-4C19-9079-B522F3DBEE5E}"/>
                </a:ext>
              </a:extLst>
            </p:cNvPr>
            <p:cNvSpPr txBox="1">
              <a:spLocks noChangeArrowheads="1"/>
            </p:cNvSpPr>
            <p:nvPr/>
          </p:nvSpPr>
          <p:spPr bwMode="auto">
            <a:xfrm>
              <a:off x="4108225" y="2456780"/>
              <a:ext cx="1014413" cy="319088"/>
            </a:xfrm>
            <a:prstGeom prst="rect">
              <a:avLst/>
            </a:prstGeom>
            <a:noFill/>
            <a:ln w="6350">
              <a:noFill/>
              <a:miter lim="800000"/>
              <a:headEnd type="none" w="sm" len="sm"/>
              <a:tailEnd type="none" w="sm" len="sm"/>
            </a:ln>
            <a:effectLst/>
          </p:spPr>
          <p:txBody>
            <a:bodyPr wrap="none" lIns="45720" rIns="45720"/>
            <a:lstStyle/>
            <a:p>
              <a:pPr marL="117472" indent="-117472" eaLnBrk="0" hangingPunct="0">
                <a:spcBef>
                  <a:spcPct val="0"/>
                </a:spcBef>
                <a:buClr>
                  <a:srgbClr val="B347FF"/>
                </a:buClr>
                <a:buFont typeface="Wingdings" pitchFamily="2" charset="2"/>
                <a:buChar char="w"/>
                <a:defRPr/>
              </a:pPr>
              <a:r>
                <a:rPr lang="pt-BR" sz="1400" kern="0" noProof="1">
                  <a:solidFill>
                    <a:srgbClr val="000000"/>
                  </a:solidFill>
                  <a:latin typeface="Graphik" panose="020B0503030202060203" pitchFamily="34" charset="77"/>
                </a:rPr>
                <a:t>Product 1</a:t>
              </a:r>
            </a:p>
          </p:txBody>
        </p:sp>
        <p:sp>
          <p:nvSpPr>
            <p:cNvPr id="15" name="Text Box 14">
              <a:extLst>
                <a:ext uri="{FF2B5EF4-FFF2-40B4-BE49-F238E27FC236}">
                  <a16:creationId xmlns:a16="http://schemas.microsoft.com/office/drawing/2014/main" id="{8FDA90BE-9014-4D47-93C2-C3AD050DED7B}"/>
                </a:ext>
              </a:extLst>
            </p:cNvPr>
            <p:cNvSpPr txBox="1">
              <a:spLocks noChangeArrowheads="1"/>
            </p:cNvSpPr>
            <p:nvPr/>
          </p:nvSpPr>
          <p:spPr bwMode="auto">
            <a:xfrm>
              <a:off x="4681312" y="3372768"/>
              <a:ext cx="1014413" cy="319088"/>
            </a:xfrm>
            <a:prstGeom prst="rect">
              <a:avLst/>
            </a:prstGeom>
            <a:noFill/>
            <a:ln w="6350">
              <a:noFill/>
              <a:miter lim="800000"/>
              <a:headEnd type="none" w="sm" len="sm"/>
              <a:tailEnd type="none" w="sm" len="sm"/>
            </a:ln>
            <a:effectLst/>
          </p:spPr>
          <p:txBody>
            <a:bodyPr wrap="none" lIns="45720" rIns="45720"/>
            <a:lstStyle/>
            <a:p>
              <a:pPr marL="117472" indent="-117472" eaLnBrk="0" hangingPunct="0">
                <a:spcBef>
                  <a:spcPct val="0"/>
                </a:spcBef>
                <a:buClr>
                  <a:srgbClr val="B347FF"/>
                </a:buClr>
                <a:buFont typeface="Wingdings" pitchFamily="2" charset="2"/>
                <a:buChar char="w"/>
                <a:defRPr/>
              </a:pPr>
              <a:r>
                <a:rPr lang="pt-BR" sz="1400" kern="0" noProof="1">
                  <a:solidFill>
                    <a:srgbClr val="000000"/>
                  </a:solidFill>
                  <a:latin typeface="Graphik" panose="020B0503030202060203" pitchFamily="34" charset="77"/>
                </a:rPr>
                <a:t>Product 2</a:t>
              </a:r>
            </a:p>
          </p:txBody>
        </p:sp>
        <p:sp>
          <p:nvSpPr>
            <p:cNvPr id="23" name="Text Box 22">
              <a:extLst>
                <a:ext uri="{FF2B5EF4-FFF2-40B4-BE49-F238E27FC236}">
                  <a16:creationId xmlns:a16="http://schemas.microsoft.com/office/drawing/2014/main" id="{9FBA87D9-B4F7-4900-9D31-74B56BAD92E0}"/>
                </a:ext>
              </a:extLst>
            </p:cNvPr>
            <p:cNvSpPr txBox="1">
              <a:spLocks noChangeArrowheads="1"/>
            </p:cNvSpPr>
            <p:nvPr/>
          </p:nvSpPr>
          <p:spPr bwMode="auto">
            <a:xfrm>
              <a:off x="5136925" y="3937918"/>
              <a:ext cx="1014413" cy="319088"/>
            </a:xfrm>
            <a:prstGeom prst="rect">
              <a:avLst/>
            </a:prstGeom>
            <a:noFill/>
            <a:ln w="6350">
              <a:noFill/>
              <a:miter lim="800000"/>
              <a:headEnd type="none" w="sm" len="sm"/>
              <a:tailEnd type="none" w="sm" len="sm"/>
            </a:ln>
            <a:effectLst/>
          </p:spPr>
          <p:txBody>
            <a:bodyPr wrap="none" lIns="45720" rIns="45720"/>
            <a:lstStyle/>
            <a:p>
              <a:pPr marL="117472" indent="-117472" eaLnBrk="0" hangingPunct="0">
                <a:spcBef>
                  <a:spcPct val="0"/>
                </a:spcBef>
                <a:buClr>
                  <a:srgbClr val="B347FF"/>
                </a:buClr>
                <a:buFont typeface="Wingdings" pitchFamily="2" charset="2"/>
                <a:buChar char="w"/>
                <a:defRPr/>
              </a:pPr>
              <a:r>
                <a:rPr lang="pt-BR" sz="1400" kern="0" noProof="1">
                  <a:solidFill>
                    <a:srgbClr val="000000"/>
                  </a:solidFill>
                  <a:latin typeface="Graphik" panose="020B0503030202060203" pitchFamily="34" charset="77"/>
                </a:rPr>
                <a:t>Product 3</a:t>
              </a:r>
            </a:p>
          </p:txBody>
        </p:sp>
        <p:sp>
          <p:nvSpPr>
            <p:cNvPr id="24" name="Text Box 23">
              <a:extLst>
                <a:ext uri="{FF2B5EF4-FFF2-40B4-BE49-F238E27FC236}">
                  <a16:creationId xmlns:a16="http://schemas.microsoft.com/office/drawing/2014/main" id="{63585BF0-8C28-45E7-A502-71F596703B27}"/>
                </a:ext>
              </a:extLst>
            </p:cNvPr>
            <p:cNvSpPr txBox="1">
              <a:spLocks noChangeArrowheads="1"/>
            </p:cNvSpPr>
            <p:nvPr/>
          </p:nvSpPr>
          <p:spPr bwMode="auto">
            <a:xfrm>
              <a:off x="5694137" y="3290218"/>
              <a:ext cx="1014413" cy="319088"/>
            </a:xfrm>
            <a:prstGeom prst="rect">
              <a:avLst/>
            </a:prstGeom>
            <a:noFill/>
            <a:ln w="6350">
              <a:noFill/>
              <a:miter lim="800000"/>
              <a:headEnd type="none" w="sm" len="sm"/>
              <a:tailEnd type="none" w="sm" len="sm"/>
            </a:ln>
            <a:effectLst/>
          </p:spPr>
          <p:txBody>
            <a:bodyPr wrap="none" lIns="45720" rIns="45720"/>
            <a:lstStyle/>
            <a:p>
              <a:pPr marL="117472" indent="-117472" eaLnBrk="0" hangingPunct="0">
                <a:spcBef>
                  <a:spcPct val="0"/>
                </a:spcBef>
                <a:buClr>
                  <a:srgbClr val="B347FF"/>
                </a:buClr>
                <a:buFont typeface="Wingdings" pitchFamily="2" charset="2"/>
                <a:buChar char="w"/>
                <a:defRPr/>
              </a:pPr>
              <a:r>
                <a:rPr lang="pt-BR" sz="1400" kern="0" noProof="1">
                  <a:solidFill>
                    <a:schemeClr val="bg1"/>
                  </a:solidFill>
                  <a:latin typeface="Graphik" panose="020B0503030202060203" pitchFamily="34" charset="77"/>
                </a:rPr>
                <a:t>Product 4</a:t>
              </a:r>
            </a:p>
          </p:txBody>
        </p:sp>
        <p:sp>
          <p:nvSpPr>
            <p:cNvPr id="13" name="Text Box 12">
              <a:extLst>
                <a:ext uri="{FF2B5EF4-FFF2-40B4-BE49-F238E27FC236}">
                  <a16:creationId xmlns:a16="http://schemas.microsoft.com/office/drawing/2014/main" id="{3183FA6C-8B84-4258-B459-5A6CA9BE38BA}"/>
                </a:ext>
              </a:extLst>
            </p:cNvPr>
            <p:cNvSpPr txBox="1">
              <a:spLocks noChangeAspect="1" noChangeArrowheads="1"/>
            </p:cNvSpPr>
            <p:nvPr/>
          </p:nvSpPr>
          <p:spPr bwMode="auto">
            <a:xfrm>
              <a:off x="2999842" y="3461668"/>
              <a:ext cx="668338" cy="333375"/>
            </a:xfrm>
            <a:prstGeom prst="rect">
              <a:avLst/>
            </a:prstGeom>
            <a:noFill/>
            <a:ln w="6350">
              <a:noFill/>
              <a:miter lim="800000"/>
              <a:headEnd/>
              <a:tailEnd/>
            </a:ln>
            <a:effectLst/>
          </p:spPr>
          <p:txBody>
            <a:bodyPr wrap="none" lIns="45720" rIns="45720"/>
            <a:lstStyle/>
            <a:p>
              <a:pPr eaLnBrk="0" hangingPunct="0">
                <a:spcBef>
                  <a:spcPct val="0"/>
                </a:spcBef>
                <a:defRPr/>
              </a:pPr>
              <a:r>
                <a:rPr lang="pt-BR" sz="1400" kern="0" noProof="1">
                  <a:solidFill>
                    <a:schemeClr val="tx1">
                      <a:lumMod val="75000"/>
                      <a:lumOff val="25000"/>
                    </a:schemeClr>
                  </a:solidFill>
                  <a:latin typeface="Graphik" panose="020B0503030202060203" pitchFamily="34" charset="77"/>
                </a:rPr>
                <a:t>Label</a:t>
              </a:r>
            </a:p>
          </p:txBody>
        </p:sp>
        <p:sp>
          <p:nvSpPr>
            <p:cNvPr id="21" name="Text Box 20">
              <a:extLst>
                <a:ext uri="{FF2B5EF4-FFF2-40B4-BE49-F238E27FC236}">
                  <a16:creationId xmlns:a16="http://schemas.microsoft.com/office/drawing/2014/main" id="{3B73BFFF-0531-469A-9708-A42BE88BF45D}"/>
                </a:ext>
              </a:extLst>
            </p:cNvPr>
            <p:cNvSpPr txBox="1">
              <a:spLocks noChangeArrowheads="1"/>
            </p:cNvSpPr>
            <p:nvPr/>
          </p:nvSpPr>
          <p:spPr bwMode="auto">
            <a:xfrm>
              <a:off x="5852887" y="2210718"/>
              <a:ext cx="1014413" cy="320675"/>
            </a:xfrm>
            <a:prstGeom prst="rect">
              <a:avLst/>
            </a:prstGeom>
            <a:noFill/>
            <a:ln w="6350">
              <a:noFill/>
              <a:miter lim="800000"/>
              <a:headEnd type="none" w="sm" len="sm"/>
              <a:tailEnd type="none" w="sm" len="sm"/>
            </a:ln>
            <a:effectLst/>
          </p:spPr>
          <p:txBody>
            <a:bodyPr wrap="none" lIns="45720" rIns="45720"/>
            <a:lstStyle/>
            <a:p>
              <a:pPr marL="117472" indent="-117472" eaLnBrk="0" hangingPunct="0">
                <a:spcBef>
                  <a:spcPct val="0"/>
                </a:spcBef>
                <a:buClr>
                  <a:srgbClr val="B347FF"/>
                </a:buClr>
                <a:buFont typeface="Wingdings" pitchFamily="2" charset="2"/>
                <a:buChar char="w"/>
                <a:defRPr/>
              </a:pPr>
              <a:r>
                <a:rPr lang="pt-BR" sz="1400" kern="0" noProof="1">
                  <a:solidFill>
                    <a:schemeClr val="bg1"/>
                  </a:solidFill>
                  <a:latin typeface="Graphik" panose="020B0503030202060203" pitchFamily="34" charset="77"/>
                </a:rPr>
                <a:t>Product 5</a:t>
              </a:r>
            </a:p>
          </p:txBody>
        </p:sp>
        <p:sp>
          <p:nvSpPr>
            <p:cNvPr id="19" name="Text Box 18">
              <a:extLst>
                <a:ext uri="{FF2B5EF4-FFF2-40B4-BE49-F238E27FC236}">
                  <a16:creationId xmlns:a16="http://schemas.microsoft.com/office/drawing/2014/main" id="{863A0CE0-7B6B-47B4-A0A6-9C283A303552}"/>
                </a:ext>
              </a:extLst>
            </p:cNvPr>
            <p:cNvSpPr txBox="1">
              <a:spLocks noChangeArrowheads="1"/>
            </p:cNvSpPr>
            <p:nvPr/>
          </p:nvSpPr>
          <p:spPr bwMode="auto">
            <a:xfrm>
              <a:off x="6468837" y="2382168"/>
              <a:ext cx="1014413" cy="319088"/>
            </a:xfrm>
            <a:prstGeom prst="rect">
              <a:avLst/>
            </a:prstGeom>
            <a:noFill/>
            <a:ln w="6350">
              <a:noFill/>
              <a:miter lim="800000"/>
              <a:headEnd type="none" w="sm" len="sm"/>
              <a:tailEnd type="none" w="sm" len="sm"/>
            </a:ln>
            <a:effectLst/>
          </p:spPr>
          <p:txBody>
            <a:bodyPr wrap="none" lIns="45720" rIns="45720"/>
            <a:lstStyle/>
            <a:p>
              <a:pPr marL="117472" indent="-117472" eaLnBrk="0" hangingPunct="0">
                <a:spcBef>
                  <a:spcPct val="0"/>
                </a:spcBef>
                <a:buClr>
                  <a:srgbClr val="B347FF"/>
                </a:buClr>
                <a:buFont typeface="Wingdings" pitchFamily="2" charset="2"/>
                <a:buChar char="w"/>
                <a:defRPr/>
              </a:pPr>
              <a:r>
                <a:rPr lang="pt-BR" sz="1400" kern="0" noProof="1">
                  <a:solidFill>
                    <a:schemeClr val="bg1"/>
                  </a:solidFill>
                  <a:latin typeface="Graphik" panose="020B0503030202060203" pitchFamily="34" charset="77"/>
                </a:rPr>
                <a:t>Product 6</a:t>
              </a:r>
            </a:p>
          </p:txBody>
        </p:sp>
        <p:sp>
          <p:nvSpPr>
            <p:cNvPr id="18" name="Text Box 17">
              <a:extLst>
                <a:ext uri="{FF2B5EF4-FFF2-40B4-BE49-F238E27FC236}">
                  <a16:creationId xmlns:a16="http://schemas.microsoft.com/office/drawing/2014/main" id="{2D022BFE-B78C-42EE-B8B6-65041D92CABA}"/>
                </a:ext>
              </a:extLst>
            </p:cNvPr>
            <p:cNvSpPr txBox="1">
              <a:spLocks noChangeArrowheads="1"/>
            </p:cNvSpPr>
            <p:nvPr/>
          </p:nvSpPr>
          <p:spPr bwMode="auto">
            <a:xfrm>
              <a:off x="6235475" y="2728243"/>
              <a:ext cx="1014413" cy="319088"/>
            </a:xfrm>
            <a:prstGeom prst="rect">
              <a:avLst/>
            </a:prstGeom>
            <a:noFill/>
            <a:ln w="6350">
              <a:noFill/>
              <a:miter lim="800000"/>
              <a:headEnd type="none" w="sm" len="sm"/>
              <a:tailEnd type="none" w="sm" len="sm"/>
            </a:ln>
            <a:effectLst/>
          </p:spPr>
          <p:txBody>
            <a:bodyPr wrap="none" lIns="45720" rIns="45720"/>
            <a:lstStyle/>
            <a:p>
              <a:pPr marL="117472" indent="-117472" eaLnBrk="0" hangingPunct="0">
                <a:spcBef>
                  <a:spcPct val="0"/>
                </a:spcBef>
                <a:buClr>
                  <a:srgbClr val="B347FF"/>
                </a:buClr>
                <a:buFont typeface="Wingdings" pitchFamily="2" charset="2"/>
                <a:buChar char="w"/>
                <a:defRPr/>
              </a:pPr>
              <a:r>
                <a:rPr lang="pt-BR" sz="1400" kern="0" noProof="1">
                  <a:solidFill>
                    <a:schemeClr val="bg1"/>
                  </a:solidFill>
                  <a:latin typeface="Graphik" panose="020B0503030202060203" pitchFamily="34" charset="77"/>
                </a:rPr>
                <a:t>Product 7</a:t>
              </a:r>
            </a:p>
          </p:txBody>
        </p:sp>
        <p:sp>
          <p:nvSpPr>
            <p:cNvPr id="17" name="Text Box 16">
              <a:extLst>
                <a:ext uri="{FF2B5EF4-FFF2-40B4-BE49-F238E27FC236}">
                  <a16:creationId xmlns:a16="http://schemas.microsoft.com/office/drawing/2014/main" id="{D74352A4-0393-46AD-AFFF-3E12C3DE0531}"/>
                </a:ext>
              </a:extLst>
            </p:cNvPr>
            <p:cNvSpPr txBox="1">
              <a:spLocks noChangeArrowheads="1"/>
            </p:cNvSpPr>
            <p:nvPr/>
          </p:nvSpPr>
          <p:spPr bwMode="auto">
            <a:xfrm>
              <a:off x="6532337" y="3044155"/>
              <a:ext cx="1014413" cy="320675"/>
            </a:xfrm>
            <a:prstGeom prst="rect">
              <a:avLst/>
            </a:prstGeom>
            <a:noFill/>
            <a:ln w="6350">
              <a:noFill/>
              <a:miter lim="800000"/>
              <a:headEnd type="none" w="sm" len="sm"/>
              <a:tailEnd type="none" w="sm" len="sm"/>
            </a:ln>
            <a:effectLst/>
          </p:spPr>
          <p:txBody>
            <a:bodyPr wrap="none" lIns="45720" rIns="45720"/>
            <a:lstStyle/>
            <a:p>
              <a:pPr marL="117472" indent="-117472" eaLnBrk="0" hangingPunct="0">
                <a:spcBef>
                  <a:spcPct val="0"/>
                </a:spcBef>
                <a:buClr>
                  <a:srgbClr val="B347FF"/>
                </a:buClr>
                <a:buFont typeface="Wingdings" pitchFamily="2" charset="2"/>
                <a:buChar char="w"/>
                <a:defRPr/>
              </a:pPr>
              <a:r>
                <a:rPr lang="pt-BR" sz="1400" kern="0" noProof="1">
                  <a:solidFill>
                    <a:schemeClr val="bg1"/>
                  </a:solidFill>
                  <a:latin typeface="Graphik" panose="020B0503030202060203" pitchFamily="34" charset="77"/>
                </a:rPr>
                <a:t>Product 8</a:t>
              </a:r>
            </a:p>
          </p:txBody>
        </p:sp>
        <p:sp>
          <p:nvSpPr>
            <p:cNvPr id="16" name="Text Box 15">
              <a:extLst>
                <a:ext uri="{FF2B5EF4-FFF2-40B4-BE49-F238E27FC236}">
                  <a16:creationId xmlns:a16="http://schemas.microsoft.com/office/drawing/2014/main" id="{02534A76-E437-48F5-B434-5662C0B675DD}"/>
                </a:ext>
              </a:extLst>
            </p:cNvPr>
            <p:cNvSpPr txBox="1">
              <a:spLocks noChangeArrowheads="1"/>
            </p:cNvSpPr>
            <p:nvPr/>
          </p:nvSpPr>
          <p:spPr bwMode="auto">
            <a:xfrm>
              <a:off x="6224362" y="3937918"/>
              <a:ext cx="1014413" cy="319088"/>
            </a:xfrm>
            <a:prstGeom prst="rect">
              <a:avLst/>
            </a:prstGeom>
            <a:noFill/>
            <a:ln w="6350">
              <a:noFill/>
              <a:miter lim="800000"/>
              <a:headEnd type="none" w="sm" len="sm"/>
              <a:tailEnd type="none" w="sm" len="sm"/>
            </a:ln>
            <a:effectLst/>
          </p:spPr>
          <p:txBody>
            <a:bodyPr wrap="none" lIns="45720" rIns="45720"/>
            <a:lstStyle/>
            <a:p>
              <a:pPr marL="117472" indent="-117472" eaLnBrk="0" hangingPunct="0">
                <a:spcBef>
                  <a:spcPct val="0"/>
                </a:spcBef>
                <a:buClr>
                  <a:srgbClr val="B347FF"/>
                </a:buClr>
                <a:buFont typeface="Wingdings" pitchFamily="2" charset="2"/>
                <a:buChar char="w"/>
                <a:defRPr/>
              </a:pPr>
              <a:r>
                <a:rPr lang="pt-BR" sz="1400" kern="0" noProof="1">
                  <a:solidFill>
                    <a:srgbClr val="000000"/>
                  </a:solidFill>
                  <a:latin typeface="Graphik" panose="020B0503030202060203" pitchFamily="34" charset="77"/>
                </a:rPr>
                <a:t>Product 9</a:t>
              </a:r>
            </a:p>
          </p:txBody>
        </p:sp>
        <p:sp>
          <p:nvSpPr>
            <p:cNvPr id="20" name="Text Box 19">
              <a:extLst>
                <a:ext uri="{FF2B5EF4-FFF2-40B4-BE49-F238E27FC236}">
                  <a16:creationId xmlns:a16="http://schemas.microsoft.com/office/drawing/2014/main" id="{3B07090C-7840-44CD-BA45-EE9EB3BB609C}"/>
                </a:ext>
              </a:extLst>
            </p:cNvPr>
            <p:cNvSpPr txBox="1">
              <a:spLocks noChangeArrowheads="1"/>
            </p:cNvSpPr>
            <p:nvPr/>
          </p:nvSpPr>
          <p:spPr bwMode="auto">
            <a:xfrm>
              <a:off x="6826025" y="3617243"/>
              <a:ext cx="1100138" cy="319088"/>
            </a:xfrm>
            <a:prstGeom prst="rect">
              <a:avLst/>
            </a:prstGeom>
            <a:noFill/>
            <a:ln w="6350">
              <a:noFill/>
              <a:miter lim="800000"/>
              <a:headEnd type="none" w="sm" len="sm"/>
              <a:tailEnd type="none" w="sm" len="sm"/>
            </a:ln>
            <a:effectLst/>
          </p:spPr>
          <p:txBody>
            <a:bodyPr wrap="none" lIns="45720" rIns="45720"/>
            <a:lstStyle/>
            <a:p>
              <a:pPr marL="117472" indent="-117472" eaLnBrk="0" hangingPunct="0">
                <a:spcBef>
                  <a:spcPct val="0"/>
                </a:spcBef>
                <a:buClr>
                  <a:srgbClr val="B347FF"/>
                </a:buClr>
                <a:buFont typeface="Wingdings" pitchFamily="2" charset="2"/>
                <a:buChar char="w"/>
                <a:defRPr/>
              </a:pPr>
              <a:r>
                <a:rPr lang="pt-BR" sz="1400" kern="0" noProof="1">
                  <a:solidFill>
                    <a:srgbClr val="000000"/>
                  </a:solidFill>
                  <a:latin typeface="Graphik" panose="020B0503030202060203" pitchFamily="34" charset="77"/>
                </a:rPr>
                <a:t>Product 10</a:t>
              </a:r>
            </a:p>
          </p:txBody>
        </p:sp>
        <p:sp>
          <p:nvSpPr>
            <p:cNvPr id="10" name="Text Box 9">
              <a:extLst>
                <a:ext uri="{FF2B5EF4-FFF2-40B4-BE49-F238E27FC236}">
                  <a16:creationId xmlns:a16="http://schemas.microsoft.com/office/drawing/2014/main" id="{7D6E3C62-9037-40D6-A6DA-547CCBF31C8C}"/>
                </a:ext>
              </a:extLst>
            </p:cNvPr>
            <p:cNvSpPr txBox="1">
              <a:spLocks noChangeAspect="1" noChangeArrowheads="1"/>
            </p:cNvSpPr>
            <p:nvPr/>
          </p:nvSpPr>
          <p:spPr bwMode="auto">
            <a:xfrm>
              <a:off x="3327175" y="5282530"/>
              <a:ext cx="555625" cy="333375"/>
            </a:xfrm>
            <a:prstGeom prst="rect">
              <a:avLst/>
            </a:prstGeom>
            <a:noFill/>
            <a:ln w="6350">
              <a:noFill/>
              <a:miter lim="800000"/>
              <a:headEnd/>
              <a:tailEnd/>
            </a:ln>
            <a:effectLst/>
          </p:spPr>
          <p:txBody>
            <a:bodyPr wrap="none" lIns="45720" rIns="45720"/>
            <a:lstStyle/>
            <a:p>
              <a:pPr eaLnBrk="0" hangingPunct="0">
                <a:spcBef>
                  <a:spcPct val="0"/>
                </a:spcBef>
                <a:defRPr/>
              </a:pPr>
              <a:r>
                <a:rPr lang="pt-BR" sz="1400" kern="0" noProof="1">
                  <a:solidFill>
                    <a:srgbClr val="000000"/>
                  </a:solidFill>
                  <a:latin typeface="Graphik" panose="020B0503030202060203" pitchFamily="34" charset="77"/>
                </a:rPr>
                <a:t>Low</a:t>
              </a:r>
            </a:p>
          </p:txBody>
        </p:sp>
        <p:sp>
          <p:nvSpPr>
            <p:cNvPr id="11" name="Text Box 10">
              <a:extLst>
                <a:ext uri="{FF2B5EF4-FFF2-40B4-BE49-F238E27FC236}">
                  <a16:creationId xmlns:a16="http://schemas.microsoft.com/office/drawing/2014/main" id="{6B1406ED-69E9-40D2-A1F7-92E32B3D4E4B}"/>
                </a:ext>
              </a:extLst>
            </p:cNvPr>
            <p:cNvSpPr txBox="1">
              <a:spLocks noChangeAspect="1" noChangeArrowheads="1"/>
            </p:cNvSpPr>
            <p:nvPr/>
          </p:nvSpPr>
          <p:spPr bwMode="auto">
            <a:xfrm>
              <a:off x="3882800" y="5615905"/>
              <a:ext cx="547688" cy="333375"/>
            </a:xfrm>
            <a:prstGeom prst="rect">
              <a:avLst/>
            </a:prstGeom>
            <a:noFill/>
            <a:ln w="6350">
              <a:noFill/>
              <a:miter lim="800000"/>
              <a:headEnd/>
              <a:tailEnd/>
            </a:ln>
            <a:effectLst/>
          </p:spPr>
          <p:txBody>
            <a:bodyPr wrap="none" lIns="45720" rIns="45720"/>
            <a:lstStyle/>
            <a:p>
              <a:pPr eaLnBrk="0" hangingPunct="0">
                <a:spcBef>
                  <a:spcPct val="0"/>
                </a:spcBef>
                <a:defRPr/>
              </a:pPr>
              <a:r>
                <a:rPr lang="pt-BR" sz="1400" kern="0" noProof="1">
                  <a:solidFill>
                    <a:srgbClr val="000000"/>
                  </a:solidFill>
                  <a:latin typeface="Graphik" panose="020B0503030202060203" pitchFamily="34" charset="77"/>
                </a:rPr>
                <a:t>Low</a:t>
              </a:r>
            </a:p>
          </p:txBody>
        </p:sp>
        <p:sp>
          <p:nvSpPr>
            <p:cNvPr id="12" name="Text Box 11">
              <a:extLst>
                <a:ext uri="{FF2B5EF4-FFF2-40B4-BE49-F238E27FC236}">
                  <a16:creationId xmlns:a16="http://schemas.microsoft.com/office/drawing/2014/main" id="{FE1214C4-9426-4AFC-B15F-3172743719AA}"/>
                </a:ext>
              </a:extLst>
            </p:cNvPr>
            <p:cNvSpPr txBox="1">
              <a:spLocks noChangeAspect="1" noChangeArrowheads="1"/>
            </p:cNvSpPr>
            <p:nvPr/>
          </p:nvSpPr>
          <p:spPr bwMode="auto">
            <a:xfrm>
              <a:off x="7343550" y="5615905"/>
              <a:ext cx="595313" cy="333375"/>
            </a:xfrm>
            <a:prstGeom prst="rect">
              <a:avLst/>
            </a:prstGeom>
            <a:noFill/>
            <a:ln w="6350">
              <a:noFill/>
              <a:miter lim="800000"/>
              <a:headEnd/>
              <a:tailEnd/>
            </a:ln>
            <a:effectLst/>
          </p:spPr>
          <p:txBody>
            <a:bodyPr wrap="none" lIns="45720" rIns="45720"/>
            <a:lstStyle/>
            <a:p>
              <a:pPr eaLnBrk="0" hangingPunct="0">
                <a:spcBef>
                  <a:spcPct val="0"/>
                </a:spcBef>
                <a:defRPr/>
              </a:pPr>
              <a:r>
                <a:rPr lang="pt-BR" sz="1400" kern="0" noProof="1">
                  <a:solidFill>
                    <a:srgbClr val="000000"/>
                  </a:solidFill>
                  <a:latin typeface="Graphik" panose="020B0503030202060203" pitchFamily="34" charset="77"/>
                </a:rPr>
                <a:t>High</a:t>
              </a:r>
            </a:p>
          </p:txBody>
        </p:sp>
        <p:sp>
          <p:nvSpPr>
            <p:cNvPr id="14" name="Text Box 13">
              <a:extLst>
                <a:ext uri="{FF2B5EF4-FFF2-40B4-BE49-F238E27FC236}">
                  <a16:creationId xmlns:a16="http://schemas.microsoft.com/office/drawing/2014/main" id="{E3DE4870-1383-4119-A719-4D69046B1CEE}"/>
                </a:ext>
              </a:extLst>
            </p:cNvPr>
            <p:cNvSpPr txBox="1">
              <a:spLocks noChangeAspect="1" noChangeArrowheads="1"/>
            </p:cNvSpPr>
            <p:nvPr/>
          </p:nvSpPr>
          <p:spPr bwMode="auto">
            <a:xfrm>
              <a:off x="5556126" y="5795925"/>
              <a:ext cx="669925" cy="333375"/>
            </a:xfrm>
            <a:prstGeom prst="rect">
              <a:avLst/>
            </a:prstGeom>
            <a:noFill/>
            <a:ln w="6350">
              <a:noFill/>
              <a:miter lim="800000"/>
              <a:headEnd/>
              <a:tailEnd/>
            </a:ln>
            <a:effectLst/>
          </p:spPr>
          <p:txBody>
            <a:bodyPr wrap="none" lIns="45720" rIns="45720"/>
            <a:lstStyle/>
            <a:p>
              <a:pPr algn="ctr" eaLnBrk="0" hangingPunct="0">
                <a:spcBef>
                  <a:spcPct val="0"/>
                </a:spcBef>
                <a:defRPr/>
              </a:pPr>
              <a:r>
                <a:rPr lang="pt-BR" sz="1400" kern="0" noProof="1">
                  <a:solidFill>
                    <a:schemeClr val="tx1">
                      <a:lumMod val="75000"/>
                      <a:lumOff val="25000"/>
                    </a:schemeClr>
                  </a:solidFill>
                  <a:latin typeface="Graphik" panose="020B0503030202060203" pitchFamily="34" charset="77"/>
                </a:rPr>
                <a:t>Label</a:t>
              </a:r>
            </a:p>
          </p:txBody>
        </p:sp>
      </p:grpSp>
    </p:spTree>
    <p:extLst>
      <p:ext uri="{BB962C8B-B14F-4D97-AF65-F5344CB8AC3E}">
        <p14:creationId xmlns:p14="http://schemas.microsoft.com/office/powerpoint/2010/main" val="218599812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F9C73E5-C27D-53EA-E3FF-9342C32D0969}"/>
              </a:ext>
            </a:extLst>
          </p:cNvPr>
          <p:cNvGraphicFramePr>
            <a:graphicFrameLocks noChangeAspect="1"/>
          </p:cNvGraphicFramePr>
          <p:nvPr>
            <p:custDataLst>
              <p:tags r:id="rId1"/>
            </p:custDataLst>
            <p:extLst>
              <p:ext uri="{D42A27DB-BD31-4B8C-83A1-F6EECF244321}">
                <p14:modId xmlns:p14="http://schemas.microsoft.com/office/powerpoint/2010/main" val="25752934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3" name="think-cell data - do not delete" hidden="1">
                        <a:extLst>
                          <a:ext uri="{FF2B5EF4-FFF2-40B4-BE49-F238E27FC236}">
                            <a16:creationId xmlns:a16="http://schemas.microsoft.com/office/drawing/2014/main" id="{DF9C73E5-C27D-53EA-E3FF-9342C32D09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F7C4124B-B9D5-4FB9-AA46-3262DD2B40DB}"/>
              </a:ext>
            </a:extLst>
          </p:cNvPr>
          <p:cNvSpPr>
            <a:spLocks noGrp="1"/>
          </p:cNvSpPr>
          <p:nvPr>
            <p:ph type="ctrTitle"/>
          </p:nvPr>
        </p:nvSpPr>
        <p:spPr>
          <a:xfrm>
            <a:off x="1182796" y="3776810"/>
            <a:ext cx="5715000" cy="1329595"/>
          </a:xfrm>
        </p:spPr>
        <p:txBody>
          <a:bodyPr vert="horz"/>
          <a:lstStyle/>
          <a:p>
            <a:r>
              <a:rPr lang="pt-BR" noProof="1"/>
              <a:t>Illustrative graphs </a:t>
            </a:r>
            <a:br>
              <a:rPr lang="pt-BR" noProof="1"/>
            </a:br>
            <a:r>
              <a:rPr lang="pt-BR" noProof="1"/>
              <a:t>and frameworks</a:t>
            </a:r>
          </a:p>
        </p:txBody>
      </p:sp>
      <p:sp>
        <p:nvSpPr>
          <p:cNvPr id="4" name="Text Placeholder 3">
            <a:extLst>
              <a:ext uri="{FF2B5EF4-FFF2-40B4-BE49-F238E27FC236}">
                <a16:creationId xmlns:a16="http://schemas.microsoft.com/office/drawing/2014/main" id="{C6CC7B26-198A-62EA-6A4E-DD5D73A28A0B}"/>
              </a:ext>
            </a:extLst>
          </p:cNvPr>
          <p:cNvSpPr>
            <a:spLocks noGrp="1"/>
          </p:cNvSpPr>
          <p:nvPr>
            <p:ph type="subTitle" idx="1"/>
          </p:nvPr>
        </p:nvSpPr>
        <p:spPr>
          <a:xfrm>
            <a:off x="1182796" y="5219056"/>
            <a:ext cx="5715000" cy="1092845"/>
          </a:xfrm>
        </p:spPr>
        <p:txBody>
          <a:bodyPr/>
          <a:lstStyle/>
          <a:p>
            <a:r>
              <a:rPr lang="pt-BR" noProof="1"/>
              <a:t>Generic graphics for illustrative purposes.</a:t>
            </a:r>
          </a:p>
        </p:txBody>
      </p:sp>
      <p:sp>
        <p:nvSpPr>
          <p:cNvPr id="6" name="Text Placeholder 5">
            <a:extLst>
              <a:ext uri="{FF2B5EF4-FFF2-40B4-BE49-F238E27FC236}">
                <a16:creationId xmlns:a16="http://schemas.microsoft.com/office/drawing/2014/main" id="{4AA70F5B-B70B-BB7D-9911-383226157CF3}"/>
              </a:ext>
            </a:extLst>
          </p:cNvPr>
          <p:cNvSpPr>
            <a:spLocks noGrp="1"/>
          </p:cNvSpPr>
          <p:nvPr>
            <p:ph type="body" sz="quarter" idx="11"/>
          </p:nvPr>
        </p:nvSpPr>
        <p:spPr>
          <a:xfrm>
            <a:off x="1189497" y="2433053"/>
            <a:ext cx="65" cy="1231106"/>
          </a:xfrm>
        </p:spPr>
        <p:txBody>
          <a:bodyPr/>
          <a:lstStyle/>
          <a:p>
            <a:endParaRPr lang="pt-BR" noProof="1"/>
          </a:p>
        </p:txBody>
      </p:sp>
    </p:spTree>
    <p:extLst>
      <p:ext uri="{BB962C8B-B14F-4D97-AF65-F5344CB8AC3E}">
        <p14:creationId xmlns:p14="http://schemas.microsoft.com/office/powerpoint/2010/main" val="1674653788"/>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BEDA4EA5-4F10-C4D5-F12A-E3C40F75A914}"/>
            </a:ext>
          </a:extLst>
        </p:cNvPr>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3336A2EC-91FB-803A-ED60-DBBCE4CF0E32}"/>
              </a:ext>
            </a:extLst>
          </p:cNvPr>
          <p:cNvGraphicFramePr>
            <a:graphicFrameLocks noChangeAspect="1"/>
          </p:cNvGraphicFramePr>
          <p:nvPr>
            <p:custDataLst>
              <p:tags r:id="rId1"/>
            </p:custDataLst>
            <p:extLst>
              <p:ext uri="{D42A27DB-BD31-4B8C-83A1-F6EECF244321}">
                <p14:modId xmlns:p14="http://schemas.microsoft.com/office/powerpoint/2010/main" val="2502207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28" name="think-cell data - do not delete" hidden="1">
                        <a:extLst>
                          <a:ext uri="{FF2B5EF4-FFF2-40B4-BE49-F238E27FC236}">
                            <a16:creationId xmlns:a16="http://schemas.microsoft.com/office/drawing/2014/main" id="{3336A2EC-91FB-803A-ED60-DBBCE4CF0E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94CFD72-A3EE-6728-1456-EDD2CA5A79F2}"/>
              </a:ext>
            </a:extLst>
          </p:cNvPr>
          <p:cNvSpPr>
            <a:spLocks noGrp="1"/>
          </p:cNvSpPr>
          <p:nvPr>
            <p:ph type="title"/>
          </p:nvPr>
        </p:nvSpPr>
        <p:spPr/>
        <p:txBody>
          <a:bodyPr vert="horz"/>
          <a:lstStyle/>
          <a:p>
            <a:r>
              <a:rPr lang="pt-BR" noProof="1"/>
              <a:t>Exponential curve illustrative graphs</a:t>
            </a:r>
          </a:p>
        </p:txBody>
      </p:sp>
      <p:grpSp>
        <p:nvGrpSpPr>
          <p:cNvPr id="68" name="Group 2" descr="Illustrative example of an exponential growth curve. The graph shows a curve increasing steeply, divided into three labeled stages: Level 1, Level 2, and Level 3, each marked with a point along the curve.">
            <a:extLst>
              <a:ext uri="{FF2B5EF4-FFF2-40B4-BE49-F238E27FC236}">
                <a16:creationId xmlns:a16="http://schemas.microsoft.com/office/drawing/2014/main" id="{158FB7E6-A2DD-A377-0AD1-4B39842707F0}"/>
              </a:ext>
              <a:ext uri="{C183D7F6-B498-43B3-948B-1728B52AA6E4}">
                <adec:decorative xmlns:adec="http://schemas.microsoft.com/office/drawing/2017/decorative" val="0"/>
              </a:ext>
            </a:extLst>
          </p:cNvPr>
          <p:cNvGrpSpPr/>
          <p:nvPr/>
        </p:nvGrpSpPr>
        <p:grpSpPr>
          <a:xfrm>
            <a:off x="831264" y="2135137"/>
            <a:ext cx="4648077" cy="3434403"/>
            <a:chOff x="420780" y="1314450"/>
            <a:chExt cx="7283349" cy="5124021"/>
          </a:xfrm>
        </p:grpSpPr>
        <p:grpSp>
          <p:nvGrpSpPr>
            <p:cNvPr id="69" name="Group 4">
              <a:extLst>
                <a:ext uri="{FF2B5EF4-FFF2-40B4-BE49-F238E27FC236}">
                  <a16:creationId xmlns:a16="http://schemas.microsoft.com/office/drawing/2014/main" id="{6697D587-9680-E903-96A3-48A4F1E9D5F5}"/>
                </a:ext>
              </a:extLst>
            </p:cNvPr>
            <p:cNvGrpSpPr/>
            <p:nvPr/>
          </p:nvGrpSpPr>
          <p:grpSpPr bwMode="auto">
            <a:xfrm>
              <a:off x="420780" y="1375580"/>
              <a:ext cx="7283349" cy="5062891"/>
              <a:chOff x="419541" y="1264698"/>
              <a:chExt cx="7598723" cy="5282133"/>
            </a:xfrm>
          </p:grpSpPr>
          <p:sp>
            <p:nvSpPr>
              <p:cNvPr id="71" name="Rectangle 5">
                <a:extLst>
                  <a:ext uri="{FF2B5EF4-FFF2-40B4-BE49-F238E27FC236}">
                    <a16:creationId xmlns:a16="http://schemas.microsoft.com/office/drawing/2014/main" id="{A25A1377-265A-2730-9546-FFE0D9C34CA4}"/>
                  </a:ext>
                </a:extLst>
              </p:cNvPr>
              <p:cNvSpPr/>
              <p:nvPr/>
            </p:nvSpPr>
            <p:spPr bwMode="auto">
              <a:xfrm>
                <a:off x="937487" y="4198967"/>
                <a:ext cx="1317796" cy="293499"/>
              </a:xfrm>
              <a:prstGeom prst="rect">
                <a:avLst/>
              </a:prstGeom>
              <a:noFill/>
              <a:ln w="9525" cap="flat" cmpd="sng" algn="ctr">
                <a:noFill/>
                <a:prstDash val="solid"/>
                <a:round/>
                <a:headEnd type="none" w="med" len="med"/>
                <a:tailEnd type="none" w="med" len="med"/>
              </a:ln>
              <a:effectLst/>
            </p:spPr>
            <p:txBody>
              <a:bodyPr vert="horz" wrap="square" lIns="104307" tIns="52153" rIns="104307" bIns="52153" numCol="1" rtlCol="0" anchor="b" anchorCtr="0" compatLnSpc="1">
                <a:prstTxWarp prst="textNoShape">
                  <a:avLst/>
                </a:prstTxWarp>
              </a:bodyPr>
              <a:lstStyle/>
              <a:p>
                <a:pPr defTabSz="1043030" eaLnBrk="0" fontAlgn="base" hangingPunct="0">
                  <a:lnSpc>
                    <a:spcPct val="80000"/>
                  </a:lnSpc>
                  <a:spcBef>
                    <a:spcPct val="0"/>
                  </a:spcBef>
                  <a:spcAft>
                    <a:spcPct val="0"/>
                  </a:spcAft>
                  <a:defRPr/>
                </a:pPr>
                <a:r>
                  <a:rPr lang="pt-BR" sz="1200" kern="0" noProof="1">
                    <a:solidFill>
                      <a:srgbClr val="77776E"/>
                    </a:solidFill>
                    <a:latin typeface="Graphik" panose="020B0503030202060203" pitchFamily="34" charset="77"/>
                    <a:cs typeface="Graphik"/>
                  </a:rPr>
                  <a:t>Stage 1</a:t>
                </a:r>
              </a:p>
            </p:txBody>
          </p:sp>
          <p:sp>
            <p:nvSpPr>
              <p:cNvPr id="72" name="Rectangle 6">
                <a:extLst>
                  <a:ext uri="{FF2B5EF4-FFF2-40B4-BE49-F238E27FC236}">
                    <a16:creationId xmlns:a16="http://schemas.microsoft.com/office/drawing/2014/main" id="{A5A9A844-320D-48D4-EB5D-4FC668DE478E}"/>
                  </a:ext>
                </a:extLst>
              </p:cNvPr>
              <p:cNvSpPr/>
              <p:nvPr/>
            </p:nvSpPr>
            <p:spPr bwMode="auto">
              <a:xfrm>
                <a:off x="937487" y="2908586"/>
                <a:ext cx="1364236" cy="281445"/>
              </a:xfrm>
              <a:prstGeom prst="rect">
                <a:avLst/>
              </a:prstGeom>
              <a:noFill/>
              <a:ln w="9525" cap="flat" cmpd="sng" algn="ctr">
                <a:noFill/>
                <a:prstDash val="solid"/>
                <a:round/>
                <a:headEnd type="none" w="med" len="med"/>
                <a:tailEnd type="none" w="med" len="med"/>
              </a:ln>
              <a:effectLst/>
            </p:spPr>
            <p:txBody>
              <a:bodyPr vert="horz" wrap="square" lIns="104307" tIns="52153" rIns="104307" bIns="52153" numCol="1" rtlCol="0" anchor="b" anchorCtr="0" compatLnSpc="1">
                <a:prstTxWarp prst="textNoShape">
                  <a:avLst/>
                </a:prstTxWarp>
              </a:bodyPr>
              <a:lstStyle/>
              <a:p>
                <a:pPr fontAlgn="base">
                  <a:spcBef>
                    <a:spcPct val="0"/>
                  </a:spcBef>
                  <a:spcAft>
                    <a:spcPct val="0"/>
                  </a:spcAft>
                  <a:defRPr/>
                </a:pPr>
                <a:r>
                  <a:rPr lang="pt-BR" sz="1200" kern="0" noProof="1">
                    <a:solidFill>
                      <a:srgbClr val="77776E"/>
                    </a:solidFill>
                    <a:latin typeface="Graphik" panose="020B0503030202060203" pitchFamily="34" charset="77"/>
                    <a:cs typeface="Graphik"/>
                  </a:rPr>
                  <a:t>Stage 2</a:t>
                </a:r>
              </a:p>
            </p:txBody>
          </p:sp>
          <p:sp>
            <p:nvSpPr>
              <p:cNvPr id="73" name="Rectangle 7">
                <a:extLst>
                  <a:ext uri="{FF2B5EF4-FFF2-40B4-BE49-F238E27FC236}">
                    <a16:creationId xmlns:a16="http://schemas.microsoft.com/office/drawing/2014/main" id="{1DF36AE4-0D7E-E31E-F895-C5D41C87D1EE}"/>
                  </a:ext>
                </a:extLst>
              </p:cNvPr>
              <p:cNvSpPr/>
              <p:nvPr/>
            </p:nvSpPr>
            <p:spPr bwMode="auto">
              <a:xfrm>
                <a:off x="937487" y="1370634"/>
                <a:ext cx="1523058" cy="257333"/>
              </a:xfrm>
              <a:prstGeom prst="rect">
                <a:avLst/>
              </a:prstGeom>
              <a:noFill/>
              <a:ln w="9525" cap="flat" cmpd="sng" algn="ctr">
                <a:noFill/>
                <a:prstDash val="solid"/>
                <a:round/>
                <a:headEnd type="none" w="med" len="med"/>
                <a:tailEnd type="none" w="med" len="med"/>
              </a:ln>
              <a:effectLst/>
            </p:spPr>
            <p:txBody>
              <a:bodyPr vert="horz" wrap="square" lIns="104307" tIns="52153" rIns="104307" bIns="52153" numCol="1" rtlCol="0" anchor="b" anchorCtr="0" compatLnSpc="1">
                <a:prstTxWarp prst="textNoShape">
                  <a:avLst/>
                </a:prstTxWarp>
              </a:bodyPr>
              <a:lstStyle/>
              <a:p>
                <a:pPr fontAlgn="base">
                  <a:spcBef>
                    <a:spcPct val="0"/>
                  </a:spcBef>
                  <a:spcAft>
                    <a:spcPct val="0"/>
                  </a:spcAft>
                  <a:defRPr/>
                </a:pPr>
                <a:r>
                  <a:rPr lang="pt-BR" sz="1200" kern="0" noProof="1">
                    <a:solidFill>
                      <a:srgbClr val="77776E"/>
                    </a:solidFill>
                    <a:latin typeface="Graphik" panose="020B0503030202060203" pitchFamily="34" charset="77"/>
                    <a:cs typeface="Graphik"/>
                  </a:rPr>
                  <a:t>Stage 3</a:t>
                </a:r>
              </a:p>
            </p:txBody>
          </p:sp>
          <p:sp>
            <p:nvSpPr>
              <p:cNvPr id="74" name="Freeform 39">
                <a:extLst>
                  <a:ext uri="{FF2B5EF4-FFF2-40B4-BE49-F238E27FC236}">
                    <a16:creationId xmlns:a16="http://schemas.microsoft.com/office/drawing/2014/main" id="{32A78EE9-191A-F3AE-0C62-C7A36D0286F2}"/>
                  </a:ext>
                </a:extLst>
              </p:cNvPr>
              <p:cNvSpPr/>
              <p:nvPr/>
            </p:nvSpPr>
            <p:spPr bwMode="auto">
              <a:xfrm>
                <a:off x="918370" y="1344317"/>
                <a:ext cx="2034215" cy="4641728"/>
              </a:xfrm>
              <a:custGeom>
                <a:avLst/>
                <a:gdLst>
                  <a:gd name="connsiteX0" fmla="*/ 0 w 3797300"/>
                  <a:gd name="connsiteY0" fmla="*/ 2870200 h 2870200"/>
                  <a:gd name="connsiteX1" fmla="*/ 1943100 w 3797300"/>
                  <a:gd name="connsiteY1" fmla="*/ 2438400 h 2870200"/>
                  <a:gd name="connsiteX2" fmla="*/ 3175000 w 3797300"/>
                  <a:gd name="connsiteY2" fmla="*/ 1562100 h 2870200"/>
                  <a:gd name="connsiteX3" fmla="*/ 3797300 w 3797300"/>
                  <a:gd name="connsiteY3" fmla="*/ 0 h 2870200"/>
                </a:gdLst>
                <a:ahLst/>
                <a:cxnLst>
                  <a:cxn ang="0">
                    <a:pos x="connsiteX0" y="connsiteY0"/>
                  </a:cxn>
                  <a:cxn ang="0">
                    <a:pos x="connsiteX1" y="connsiteY1"/>
                  </a:cxn>
                  <a:cxn ang="0">
                    <a:pos x="connsiteX2" y="connsiteY2"/>
                  </a:cxn>
                  <a:cxn ang="0">
                    <a:pos x="connsiteX3" y="connsiteY3"/>
                  </a:cxn>
                </a:cxnLst>
                <a:rect l="l" t="t" r="r" b="b"/>
                <a:pathLst>
                  <a:path w="3797300" h="2870200">
                    <a:moveTo>
                      <a:pt x="0" y="2870200"/>
                    </a:moveTo>
                    <a:cubicBezTo>
                      <a:pt x="706966" y="2763308"/>
                      <a:pt x="1413933" y="2656417"/>
                      <a:pt x="1943100" y="2438400"/>
                    </a:cubicBezTo>
                    <a:cubicBezTo>
                      <a:pt x="2472267" y="2220383"/>
                      <a:pt x="2865967" y="1968500"/>
                      <a:pt x="3175000" y="1562100"/>
                    </a:cubicBezTo>
                    <a:cubicBezTo>
                      <a:pt x="3484033" y="1155700"/>
                      <a:pt x="3640666" y="577850"/>
                      <a:pt x="3797300" y="0"/>
                    </a:cubicBezTo>
                  </a:path>
                </a:pathLst>
              </a:custGeom>
              <a:noFill/>
              <a:ln w="25400" cap="flat" cmpd="sng" algn="ctr">
                <a:solidFill>
                  <a:schemeClr val="accent2"/>
                </a:solidFill>
                <a:prstDash val="solid"/>
                <a:round/>
                <a:headEnd type="none" w="med" len="med"/>
                <a:tailEnd type="none" w="med" len="med"/>
              </a:ln>
              <a:effectLst/>
            </p:spPr>
            <p:txBody>
              <a:bodyPr lIns="104307" tIns="52153" rIns="104307" bIns="52153" rtlCol="0" anchor="ctr"/>
              <a:lstStyle/>
              <a:p>
                <a:pPr algn="ctr" fontAlgn="base">
                  <a:spcBef>
                    <a:spcPct val="0"/>
                  </a:spcBef>
                  <a:spcAft>
                    <a:spcPct val="0"/>
                  </a:spcAft>
                  <a:defRPr/>
                </a:pPr>
                <a:endParaRPr lang="pt-BR" sz="1200" kern="0" noProof="1">
                  <a:solidFill>
                    <a:srgbClr val="666666"/>
                  </a:solidFill>
                  <a:latin typeface="Graphik" panose="020B0503030202060203" pitchFamily="34" charset="77"/>
                  <a:cs typeface="Graphik"/>
                </a:endParaRPr>
              </a:p>
            </p:txBody>
          </p:sp>
          <p:sp>
            <p:nvSpPr>
              <p:cNvPr id="75" name="TextBox 9">
                <a:extLst>
                  <a:ext uri="{FF2B5EF4-FFF2-40B4-BE49-F238E27FC236}">
                    <a16:creationId xmlns:a16="http://schemas.microsoft.com/office/drawing/2014/main" id="{9BCA8157-D717-ECCD-05F3-7CEB5FFF7B60}"/>
                  </a:ext>
                </a:extLst>
              </p:cNvPr>
              <p:cNvSpPr txBox="1"/>
              <p:nvPr/>
            </p:nvSpPr>
            <p:spPr bwMode="auto">
              <a:xfrm>
                <a:off x="3502424" y="6047531"/>
                <a:ext cx="1929128" cy="499300"/>
              </a:xfrm>
              <a:prstGeom prst="rect">
                <a:avLst/>
              </a:prstGeom>
              <a:noFill/>
            </p:spPr>
            <p:txBody>
              <a:bodyPr wrap="square" lIns="104307" tIns="52153" rIns="104307" bIns="52153" rtlCol="0">
                <a:spAutoFit/>
              </a:bodyPr>
              <a:lstStyle/>
              <a:p>
                <a:pPr algn="ctr" fontAlgn="base">
                  <a:spcBef>
                    <a:spcPct val="0"/>
                  </a:spcBef>
                  <a:spcAft>
                    <a:spcPct val="0"/>
                  </a:spcAft>
                  <a:defRPr/>
                </a:pPr>
                <a:r>
                  <a:rPr lang="pt-BR" sz="1400" kern="0" noProof="1">
                    <a:solidFill>
                      <a:srgbClr val="000000"/>
                    </a:solidFill>
                    <a:latin typeface="Graphik" panose="020B0503030202060203" pitchFamily="34" charset="77"/>
                    <a:cs typeface="Graphik"/>
                  </a:rPr>
                  <a:t>Text</a:t>
                </a:r>
              </a:p>
            </p:txBody>
          </p:sp>
          <p:sp>
            <p:nvSpPr>
              <p:cNvPr id="76" name="TextBox 10">
                <a:extLst>
                  <a:ext uri="{FF2B5EF4-FFF2-40B4-BE49-F238E27FC236}">
                    <a16:creationId xmlns:a16="http://schemas.microsoft.com/office/drawing/2014/main" id="{DBD055E8-3CC6-FADB-3164-F79FCB5A1724}"/>
                  </a:ext>
                </a:extLst>
              </p:cNvPr>
              <p:cNvSpPr txBox="1"/>
              <p:nvPr/>
            </p:nvSpPr>
            <p:spPr bwMode="auto">
              <a:xfrm rot="16200000">
                <a:off x="-1410505" y="3285938"/>
                <a:ext cx="4184487" cy="524395"/>
              </a:xfrm>
              <a:prstGeom prst="rect">
                <a:avLst/>
              </a:prstGeom>
              <a:noFill/>
            </p:spPr>
            <p:txBody>
              <a:bodyPr wrap="square" lIns="104307" tIns="52153" rIns="104307" bIns="52153" rtlCol="0">
                <a:spAutoFit/>
              </a:bodyPr>
              <a:lstStyle/>
              <a:p>
                <a:pPr algn="ctr" fontAlgn="base">
                  <a:spcBef>
                    <a:spcPct val="0"/>
                  </a:spcBef>
                  <a:spcAft>
                    <a:spcPct val="0"/>
                  </a:spcAft>
                  <a:defRPr/>
                </a:pPr>
                <a:r>
                  <a:rPr lang="pt-BR" sz="1400" kern="0" noProof="1">
                    <a:solidFill>
                      <a:srgbClr val="000000"/>
                    </a:solidFill>
                    <a:latin typeface="Graphik" panose="020B0503030202060203" pitchFamily="34" charset="77"/>
                    <a:cs typeface="Graphik"/>
                  </a:rPr>
                  <a:t>Text</a:t>
                </a:r>
              </a:p>
            </p:txBody>
          </p:sp>
          <p:sp>
            <p:nvSpPr>
              <p:cNvPr id="77" name="TextBox 11">
                <a:extLst>
                  <a:ext uri="{FF2B5EF4-FFF2-40B4-BE49-F238E27FC236}">
                    <a16:creationId xmlns:a16="http://schemas.microsoft.com/office/drawing/2014/main" id="{38F661FA-F043-E4FE-541F-BEC9EB5F9CA5}"/>
                  </a:ext>
                </a:extLst>
              </p:cNvPr>
              <p:cNvSpPr txBox="1"/>
              <p:nvPr/>
            </p:nvSpPr>
            <p:spPr bwMode="auto">
              <a:xfrm>
                <a:off x="910098" y="4513273"/>
                <a:ext cx="1345187" cy="451393"/>
              </a:xfrm>
              <a:prstGeom prst="rect">
                <a:avLst/>
              </a:prstGeom>
              <a:noFill/>
            </p:spPr>
            <p:txBody>
              <a:bodyPr wrap="square" lIns="104307" tIns="52153" rIns="104307" bIns="52153" rtlCol="0">
                <a:spAutoFit/>
              </a:bodyPr>
              <a:lstStyle/>
              <a:p>
                <a:pPr algn="r" fontAlgn="base">
                  <a:spcBef>
                    <a:spcPct val="0"/>
                  </a:spcBef>
                  <a:spcAft>
                    <a:spcPct val="0"/>
                  </a:spcAft>
                  <a:defRPr/>
                </a:pPr>
                <a:r>
                  <a:rPr lang="pt-BR" sz="1200" kern="0" noProof="1">
                    <a:solidFill>
                      <a:srgbClr val="000000"/>
                    </a:solidFill>
                    <a:latin typeface="Graphik" panose="020B0503030202060203" pitchFamily="34" charset="77"/>
                    <a:cs typeface="Graphik"/>
                  </a:rPr>
                  <a:t>Level 1</a:t>
                </a:r>
              </a:p>
            </p:txBody>
          </p:sp>
          <p:sp>
            <p:nvSpPr>
              <p:cNvPr id="78" name="TextBox 12">
                <a:extLst>
                  <a:ext uri="{FF2B5EF4-FFF2-40B4-BE49-F238E27FC236}">
                    <a16:creationId xmlns:a16="http://schemas.microsoft.com/office/drawing/2014/main" id="{9D782832-059D-3CF5-D950-5C83B0C94861}"/>
                  </a:ext>
                </a:extLst>
              </p:cNvPr>
              <p:cNvSpPr txBox="1"/>
              <p:nvPr/>
            </p:nvSpPr>
            <p:spPr bwMode="auto">
              <a:xfrm>
                <a:off x="1272407" y="3305167"/>
                <a:ext cx="1335959" cy="451393"/>
              </a:xfrm>
              <a:prstGeom prst="rect">
                <a:avLst/>
              </a:prstGeom>
              <a:noFill/>
            </p:spPr>
            <p:txBody>
              <a:bodyPr wrap="square" lIns="104307" tIns="52153" rIns="104307" bIns="52153" rtlCol="0">
                <a:spAutoFit/>
              </a:bodyPr>
              <a:lstStyle/>
              <a:p>
                <a:pPr algn="r" fontAlgn="base">
                  <a:spcBef>
                    <a:spcPct val="0"/>
                  </a:spcBef>
                  <a:spcAft>
                    <a:spcPct val="0"/>
                  </a:spcAft>
                  <a:defRPr/>
                </a:pPr>
                <a:r>
                  <a:rPr lang="pt-BR" sz="1200" kern="0" noProof="1">
                    <a:solidFill>
                      <a:srgbClr val="000000"/>
                    </a:solidFill>
                    <a:latin typeface="Graphik" panose="020B0503030202060203" pitchFamily="34" charset="77"/>
                    <a:cs typeface="Graphik"/>
                  </a:rPr>
                  <a:t>Level 2</a:t>
                </a:r>
              </a:p>
            </p:txBody>
          </p:sp>
          <p:sp>
            <p:nvSpPr>
              <p:cNvPr id="79" name="TextBox 13">
                <a:extLst>
                  <a:ext uri="{FF2B5EF4-FFF2-40B4-BE49-F238E27FC236}">
                    <a16:creationId xmlns:a16="http://schemas.microsoft.com/office/drawing/2014/main" id="{F4FEFB23-41BD-1BDD-FBD6-069185BA436E}"/>
                  </a:ext>
                </a:extLst>
              </p:cNvPr>
              <p:cNvSpPr txBox="1"/>
              <p:nvPr/>
            </p:nvSpPr>
            <p:spPr bwMode="auto">
              <a:xfrm>
                <a:off x="1621888" y="1566381"/>
                <a:ext cx="1215400" cy="451393"/>
              </a:xfrm>
              <a:prstGeom prst="rect">
                <a:avLst/>
              </a:prstGeom>
              <a:noFill/>
            </p:spPr>
            <p:txBody>
              <a:bodyPr wrap="square" lIns="104307" tIns="52153" rIns="104307" bIns="52153" rtlCol="0">
                <a:spAutoFit/>
              </a:bodyPr>
              <a:lstStyle/>
              <a:p>
                <a:pPr algn="r" fontAlgn="base">
                  <a:spcBef>
                    <a:spcPct val="0"/>
                  </a:spcBef>
                  <a:spcAft>
                    <a:spcPct val="0"/>
                  </a:spcAft>
                  <a:defRPr/>
                </a:pPr>
                <a:r>
                  <a:rPr lang="pt-BR" sz="1200" kern="0" noProof="1">
                    <a:solidFill>
                      <a:srgbClr val="000000"/>
                    </a:solidFill>
                    <a:latin typeface="Graphik" panose="020B0503030202060203" pitchFamily="34" charset="77"/>
                    <a:cs typeface="Graphik"/>
                  </a:rPr>
                  <a:t>Level 3</a:t>
                </a:r>
              </a:p>
            </p:txBody>
          </p:sp>
          <p:sp>
            <p:nvSpPr>
              <p:cNvPr id="80" name="TextBox 14">
                <a:extLst>
                  <a:ext uri="{FF2B5EF4-FFF2-40B4-BE49-F238E27FC236}">
                    <a16:creationId xmlns:a16="http://schemas.microsoft.com/office/drawing/2014/main" id="{93D1BD94-32DF-5118-FCA5-08AB3591E9FB}"/>
                  </a:ext>
                </a:extLst>
              </p:cNvPr>
              <p:cNvSpPr txBox="1"/>
              <p:nvPr/>
            </p:nvSpPr>
            <p:spPr bwMode="auto">
              <a:xfrm>
                <a:off x="3323116" y="1264698"/>
                <a:ext cx="1571608" cy="427439"/>
              </a:xfrm>
              <a:prstGeom prst="rect">
                <a:avLst/>
              </a:prstGeom>
              <a:noFill/>
            </p:spPr>
            <p:txBody>
              <a:bodyPr wrap="square" lIns="104307" tIns="52153" rIns="104307" bIns="52153" rtlCol="0">
                <a:spAutoFit/>
              </a:bodyPr>
              <a:lstStyle/>
              <a:p>
                <a:pPr marL="92072" indent="-92072" fontAlgn="base">
                  <a:spcBef>
                    <a:spcPct val="0"/>
                  </a:spcBef>
                  <a:buFont typeface="Graphik" pitchFamily="34" charset="0"/>
                  <a:buChar char="•"/>
                  <a:defRPr/>
                </a:pPr>
                <a:r>
                  <a:rPr lang="pt-BR" sz="1100" kern="0" noProof="1">
                    <a:solidFill>
                      <a:srgbClr val="000000"/>
                    </a:solidFill>
                    <a:latin typeface="Graphik" panose="020B0503030202060203" pitchFamily="34" charset="77"/>
                    <a:cs typeface="Graphik"/>
                  </a:rPr>
                  <a:t>Text</a:t>
                </a:r>
              </a:p>
            </p:txBody>
          </p:sp>
          <p:cxnSp>
            <p:nvCxnSpPr>
              <p:cNvPr id="81" name="Straight Connector 15">
                <a:extLst>
                  <a:ext uri="{FF2B5EF4-FFF2-40B4-BE49-F238E27FC236}">
                    <a16:creationId xmlns:a16="http://schemas.microsoft.com/office/drawing/2014/main" id="{22046987-A687-16B0-1ED0-EF9B665D0945}"/>
                  </a:ext>
                </a:extLst>
              </p:cNvPr>
              <p:cNvCxnSpPr/>
              <p:nvPr/>
            </p:nvCxnSpPr>
            <p:spPr bwMode="auto">
              <a:xfrm>
                <a:off x="915708" y="2779060"/>
                <a:ext cx="7102556" cy="0"/>
              </a:xfrm>
              <a:prstGeom prst="line">
                <a:avLst/>
              </a:prstGeom>
              <a:noFill/>
              <a:ln w="9525" cap="flat" cmpd="sng" algn="ctr">
                <a:solidFill>
                  <a:srgbClr val="96968C">
                    <a:lumMod val="40000"/>
                    <a:lumOff val="60000"/>
                  </a:srgbClr>
                </a:solidFill>
                <a:prstDash val="dash"/>
              </a:ln>
              <a:effectLst/>
            </p:spPr>
          </p:cxnSp>
          <p:sp>
            <p:nvSpPr>
              <p:cNvPr id="82" name="Oval 16">
                <a:extLst>
                  <a:ext uri="{FF2B5EF4-FFF2-40B4-BE49-F238E27FC236}">
                    <a16:creationId xmlns:a16="http://schemas.microsoft.com/office/drawing/2014/main" id="{A63FEB4B-1264-2551-0753-A990F38C1380}"/>
                  </a:ext>
                </a:extLst>
              </p:cNvPr>
              <p:cNvSpPr/>
              <p:nvPr/>
            </p:nvSpPr>
            <p:spPr bwMode="auto">
              <a:xfrm>
                <a:off x="2819769" y="1624441"/>
                <a:ext cx="202906" cy="206303"/>
              </a:xfrm>
              <a:prstGeom prst="ellipse">
                <a:avLst/>
              </a:prstGeom>
              <a:solidFill>
                <a:schemeClr val="tx1"/>
              </a:solid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defRPr/>
                </a:pPr>
                <a:endParaRPr lang="pt-BR" sz="1600" kern="0" noProof="1">
                  <a:solidFill>
                    <a:sysClr val="windowText" lastClr="000000"/>
                  </a:solidFill>
                  <a:latin typeface="Graphik" panose="020B0503030202060203" pitchFamily="34" charset="77"/>
                  <a:cs typeface="Graphik"/>
                </a:endParaRPr>
              </a:p>
            </p:txBody>
          </p:sp>
          <p:sp>
            <p:nvSpPr>
              <p:cNvPr id="83" name="Oval 17">
                <a:extLst>
                  <a:ext uri="{FF2B5EF4-FFF2-40B4-BE49-F238E27FC236}">
                    <a16:creationId xmlns:a16="http://schemas.microsoft.com/office/drawing/2014/main" id="{B8B0C864-717A-1912-728F-32CB12A01759}"/>
                  </a:ext>
                </a:extLst>
              </p:cNvPr>
              <p:cNvSpPr/>
              <p:nvPr/>
            </p:nvSpPr>
            <p:spPr bwMode="auto">
              <a:xfrm>
                <a:off x="2608362" y="3368878"/>
                <a:ext cx="202906" cy="206303"/>
              </a:xfrm>
              <a:prstGeom prst="ellipse">
                <a:avLst/>
              </a:prstGeom>
              <a:solidFill>
                <a:schemeClr val="tx1"/>
              </a:solid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defRPr/>
                </a:pPr>
                <a:endParaRPr lang="pt-BR" sz="1600" kern="0" noProof="1">
                  <a:solidFill>
                    <a:sysClr val="windowText" lastClr="000000"/>
                  </a:solidFill>
                  <a:latin typeface="Graphik" panose="020B0503030202060203" pitchFamily="34" charset="77"/>
                  <a:cs typeface="Graphik"/>
                </a:endParaRPr>
              </a:p>
            </p:txBody>
          </p:sp>
          <p:sp>
            <p:nvSpPr>
              <p:cNvPr id="84" name="Oval 18">
                <a:extLst>
                  <a:ext uri="{FF2B5EF4-FFF2-40B4-BE49-F238E27FC236}">
                    <a16:creationId xmlns:a16="http://schemas.microsoft.com/office/drawing/2014/main" id="{6011CDEE-6855-3649-A33B-208477BFDCF7}"/>
                  </a:ext>
                </a:extLst>
              </p:cNvPr>
              <p:cNvSpPr/>
              <p:nvPr/>
            </p:nvSpPr>
            <p:spPr bwMode="auto">
              <a:xfrm>
                <a:off x="2255282" y="4561100"/>
                <a:ext cx="202906" cy="206303"/>
              </a:xfrm>
              <a:prstGeom prst="ellipse">
                <a:avLst/>
              </a:prstGeom>
              <a:solidFill>
                <a:schemeClr val="tx1"/>
              </a:solid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defRPr/>
                </a:pPr>
                <a:endParaRPr lang="pt-BR" sz="1600" kern="0" noProof="1">
                  <a:solidFill>
                    <a:sysClr val="windowText" lastClr="000000"/>
                  </a:solidFill>
                  <a:latin typeface="Graphik" panose="020B0503030202060203" pitchFamily="34" charset="77"/>
                  <a:cs typeface="Graphik"/>
                </a:endParaRPr>
              </a:p>
            </p:txBody>
          </p:sp>
          <p:sp>
            <p:nvSpPr>
              <p:cNvPr id="85" name="TextBox 19">
                <a:extLst>
                  <a:ext uri="{FF2B5EF4-FFF2-40B4-BE49-F238E27FC236}">
                    <a16:creationId xmlns:a16="http://schemas.microsoft.com/office/drawing/2014/main" id="{03DA6860-51FD-E2CA-8E76-7382CA0AEBED}"/>
                  </a:ext>
                </a:extLst>
              </p:cNvPr>
              <p:cNvSpPr txBox="1"/>
              <p:nvPr/>
            </p:nvSpPr>
            <p:spPr bwMode="auto">
              <a:xfrm>
                <a:off x="3323116" y="2824685"/>
                <a:ext cx="1571608" cy="427439"/>
              </a:xfrm>
              <a:prstGeom prst="rect">
                <a:avLst/>
              </a:prstGeom>
              <a:noFill/>
            </p:spPr>
            <p:txBody>
              <a:bodyPr wrap="square" lIns="104307" tIns="52153" rIns="104307" bIns="52153" rtlCol="0">
                <a:spAutoFit/>
              </a:bodyPr>
              <a:lstStyle/>
              <a:p>
                <a:pPr marL="92072" indent="-92072" fontAlgn="base">
                  <a:spcBef>
                    <a:spcPct val="0"/>
                  </a:spcBef>
                  <a:buFont typeface="Graphik" pitchFamily="34" charset="0"/>
                  <a:buChar char="•"/>
                  <a:defRPr/>
                </a:pPr>
                <a:r>
                  <a:rPr lang="pt-BR" sz="1100" kern="0" noProof="1">
                    <a:solidFill>
                      <a:srgbClr val="000000"/>
                    </a:solidFill>
                    <a:latin typeface="Graphik" panose="020B0503030202060203" pitchFamily="34" charset="77"/>
                    <a:cs typeface="Graphik"/>
                  </a:rPr>
                  <a:t>Text</a:t>
                </a:r>
              </a:p>
            </p:txBody>
          </p:sp>
          <p:cxnSp>
            <p:nvCxnSpPr>
              <p:cNvPr id="86" name="Straight Connector 20">
                <a:extLst>
                  <a:ext uri="{FF2B5EF4-FFF2-40B4-BE49-F238E27FC236}">
                    <a16:creationId xmlns:a16="http://schemas.microsoft.com/office/drawing/2014/main" id="{C7445B66-BA16-9BD9-0F2D-0E537C8D5316}"/>
                  </a:ext>
                </a:extLst>
              </p:cNvPr>
              <p:cNvCxnSpPr/>
              <p:nvPr/>
            </p:nvCxnSpPr>
            <p:spPr bwMode="auto">
              <a:xfrm>
                <a:off x="915708" y="4087902"/>
                <a:ext cx="7102556" cy="0"/>
              </a:xfrm>
              <a:prstGeom prst="line">
                <a:avLst/>
              </a:prstGeom>
              <a:noFill/>
              <a:ln w="9525" cap="flat" cmpd="sng" algn="ctr">
                <a:solidFill>
                  <a:srgbClr val="96968C">
                    <a:lumMod val="40000"/>
                    <a:lumOff val="60000"/>
                  </a:srgbClr>
                </a:solidFill>
                <a:prstDash val="dash"/>
              </a:ln>
              <a:effectLst/>
            </p:spPr>
          </p:cxnSp>
          <p:sp>
            <p:nvSpPr>
              <p:cNvPr id="87" name="TextBox 21">
                <a:extLst>
                  <a:ext uri="{FF2B5EF4-FFF2-40B4-BE49-F238E27FC236}">
                    <a16:creationId xmlns:a16="http://schemas.microsoft.com/office/drawing/2014/main" id="{D7980D33-566A-4FB5-0F0F-D3059B13BE26}"/>
                  </a:ext>
                </a:extLst>
              </p:cNvPr>
              <p:cNvSpPr txBox="1"/>
              <p:nvPr/>
            </p:nvSpPr>
            <p:spPr bwMode="auto">
              <a:xfrm>
                <a:off x="3338221" y="4178025"/>
                <a:ext cx="1571608" cy="427439"/>
              </a:xfrm>
              <a:prstGeom prst="rect">
                <a:avLst/>
              </a:prstGeom>
              <a:noFill/>
            </p:spPr>
            <p:txBody>
              <a:bodyPr wrap="square" lIns="104307" tIns="52153" rIns="104307" bIns="52153" rtlCol="0">
                <a:spAutoFit/>
              </a:bodyPr>
              <a:lstStyle/>
              <a:p>
                <a:pPr marL="92072" indent="-92072" fontAlgn="base">
                  <a:spcBef>
                    <a:spcPct val="0"/>
                  </a:spcBef>
                  <a:buFont typeface="Graphik" pitchFamily="34" charset="0"/>
                  <a:buChar char="•"/>
                  <a:defRPr/>
                </a:pPr>
                <a:r>
                  <a:rPr lang="pt-BR" sz="1100" kern="0" noProof="1">
                    <a:solidFill>
                      <a:srgbClr val="000000"/>
                    </a:solidFill>
                    <a:latin typeface="Graphik" panose="020B0503030202060203" pitchFamily="34" charset="77"/>
                    <a:cs typeface="Graphik"/>
                  </a:rPr>
                  <a:t>Text</a:t>
                </a:r>
              </a:p>
            </p:txBody>
          </p:sp>
        </p:grpSp>
        <p:sp>
          <p:nvSpPr>
            <p:cNvPr id="70" name="Freeform: Shape 22">
              <a:extLst>
                <a:ext uri="{FF2B5EF4-FFF2-40B4-BE49-F238E27FC236}">
                  <a16:creationId xmlns:a16="http://schemas.microsoft.com/office/drawing/2014/main" id="{4B30144D-E6A2-24F8-8E50-99D1B59C4957}"/>
                </a:ext>
                <a:ext uri="{C183D7F6-B498-43B3-948B-1728B52AA6E4}">
                  <adec:decorative xmlns:adec="http://schemas.microsoft.com/office/drawing/2017/decorative" val="1"/>
                </a:ext>
              </a:extLst>
            </p:cNvPr>
            <p:cNvSpPr/>
            <p:nvPr/>
          </p:nvSpPr>
          <p:spPr>
            <a:xfrm>
              <a:off x="904875" y="1314450"/>
              <a:ext cx="6791325" cy="4600575"/>
            </a:xfrm>
            <a:custGeom>
              <a:avLst/>
              <a:gdLst>
                <a:gd name="connsiteX0" fmla="*/ 0 w 6791325"/>
                <a:gd name="connsiteY0" fmla="*/ 0 h 4600575"/>
                <a:gd name="connsiteX1" fmla="*/ 0 w 6791325"/>
                <a:gd name="connsiteY1" fmla="*/ 4600575 h 4600575"/>
                <a:gd name="connsiteX2" fmla="*/ 6791325 w 6791325"/>
                <a:gd name="connsiteY2" fmla="*/ 4600575 h 4600575"/>
              </a:gdLst>
              <a:ahLst/>
              <a:cxnLst>
                <a:cxn ang="0">
                  <a:pos x="connsiteX0" y="connsiteY0"/>
                </a:cxn>
                <a:cxn ang="0">
                  <a:pos x="connsiteX1" y="connsiteY1"/>
                </a:cxn>
                <a:cxn ang="0">
                  <a:pos x="connsiteX2" y="connsiteY2"/>
                </a:cxn>
              </a:cxnLst>
              <a:rect l="l" t="t" r="r" b="b"/>
              <a:pathLst>
                <a:path w="6791325" h="4600575">
                  <a:moveTo>
                    <a:pt x="0" y="0"/>
                  </a:moveTo>
                  <a:lnTo>
                    <a:pt x="0" y="4600575"/>
                  </a:lnTo>
                  <a:lnTo>
                    <a:pt x="6791325" y="4600575"/>
                  </a:lnTo>
                </a:path>
              </a:pathLst>
            </a:custGeom>
            <a:noFill/>
            <a:ln w="9525" cap="flat" cmpd="sng" algn="ctr">
              <a:solidFill>
                <a:srgbClr val="96968C"/>
              </a:solidFill>
              <a:prstDash val="solid"/>
            </a:ln>
            <a:effectLst/>
          </p:spPr>
          <p:txBody>
            <a:bodyPr rtlCol="0" anchor="ctr"/>
            <a:lstStyle/>
            <a:p>
              <a:pPr algn="ctr">
                <a:defRPr/>
              </a:pPr>
              <a:endParaRPr lang="pt-BR" sz="2400" kern="0" noProof="1">
                <a:solidFill>
                  <a:srgbClr val="FFFFFF"/>
                </a:solidFill>
                <a:latin typeface="Graphik" panose="020B0503030202060203" pitchFamily="34" charset="77"/>
              </a:endParaRPr>
            </a:p>
          </p:txBody>
        </p:sp>
      </p:grpSp>
      <p:grpSp>
        <p:nvGrpSpPr>
          <p:cNvPr id="5" name="Group 4" descr="Example of an exponential growth curve. The graph displays a steep upward trend, with values increasing rapidly along the Y-axis as the X-axis progresses.">
            <a:extLst>
              <a:ext uri="{FF2B5EF4-FFF2-40B4-BE49-F238E27FC236}">
                <a16:creationId xmlns:a16="http://schemas.microsoft.com/office/drawing/2014/main" id="{86D94D5F-98AC-7E3A-0A24-83BE524A6128}"/>
              </a:ext>
              <a:ext uri="{C183D7F6-B498-43B3-948B-1728B52AA6E4}">
                <adec:decorative xmlns:adec="http://schemas.microsoft.com/office/drawing/2017/decorative" val="0"/>
              </a:ext>
            </a:extLst>
          </p:cNvPr>
          <p:cNvGrpSpPr/>
          <p:nvPr/>
        </p:nvGrpSpPr>
        <p:grpSpPr>
          <a:xfrm>
            <a:off x="5929071" y="1831382"/>
            <a:ext cx="2370116" cy="1724743"/>
            <a:chOff x="1296448" y="1630111"/>
            <a:chExt cx="5327459" cy="3779109"/>
          </a:xfrm>
        </p:grpSpPr>
        <p:sp>
          <p:nvSpPr>
            <p:cNvPr id="6" name="Line 4">
              <a:extLst>
                <a:ext uri="{FF2B5EF4-FFF2-40B4-BE49-F238E27FC236}">
                  <a16:creationId xmlns:a16="http://schemas.microsoft.com/office/drawing/2014/main" id="{3747B489-06DF-D5C6-E656-55E6D4A01A66}"/>
                </a:ext>
              </a:extLst>
            </p:cNvPr>
            <p:cNvSpPr>
              <a:spLocks noChangeShapeType="1"/>
            </p:cNvSpPr>
            <p:nvPr/>
          </p:nvSpPr>
          <p:spPr bwMode="auto">
            <a:xfrm flipV="1">
              <a:off x="3265020" y="1630111"/>
              <a:ext cx="0" cy="3316871"/>
            </a:xfrm>
            <a:prstGeom prst="line">
              <a:avLst/>
            </a:prstGeom>
            <a:noFill/>
            <a:ln w="6350">
              <a:solidFill>
                <a:srgbClr val="000000"/>
              </a:solidFill>
              <a:round/>
              <a:headEnd/>
              <a:tailEnd type="triangle" w="med" len="med"/>
            </a:ln>
            <a:effectLst/>
          </p:spPr>
          <p:txBody>
            <a:bodyPr wrap="none" lIns="45720" rIns="45720"/>
            <a:lstStyle/>
            <a:p>
              <a:pPr>
                <a:defRPr/>
              </a:pPr>
              <a:endParaRPr lang="pt-BR" sz="1400" kern="0" noProof="1">
                <a:solidFill>
                  <a:srgbClr val="000000"/>
                </a:solidFill>
                <a:latin typeface="Graphik" panose="020B0503030202060203" pitchFamily="34" charset="77"/>
              </a:endParaRPr>
            </a:p>
          </p:txBody>
        </p:sp>
        <p:sp>
          <p:nvSpPr>
            <p:cNvPr id="7" name="Line 5">
              <a:extLst>
                <a:ext uri="{FF2B5EF4-FFF2-40B4-BE49-F238E27FC236}">
                  <a16:creationId xmlns:a16="http://schemas.microsoft.com/office/drawing/2014/main" id="{D45167E6-C4E7-C14F-FD5B-865DB1BE614D}"/>
                </a:ext>
              </a:extLst>
            </p:cNvPr>
            <p:cNvSpPr>
              <a:spLocks noChangeShapeType="1"/>
            </p:cNvSpPr>
            <p:nvPr/>
          </p:nvSpPr>
          <p:spPr bwMode="auto">
            <a:xfrm rot="5400000" flipV="1">
              <a:off x="4944892" y="3267039"/>
              <a:ext cx="0" cy="3358030"/>
            </a:xfrm>
            <a:prstGeom prst="line">
              <a:avLst/>
            </a:prstGeom>
            <a:noFill/>
            <a:ln w="6350">
              <a:solidFill>
                <a:srgbClr val="000000"/>
              </a:solidFill>
              <a:round/>
              <a:headEnd/>
              <a:tailEnd type="triangle" w="med" len="med"/>
            </a:ln>
            <a:effectLst/>
          </p:spPr>
          <p:txBody>
            <a:bodyPr wrap="none" lIns="45720" rIns="45720"/>
            <a:lstStyle/>
            <a:p>
              <a:pPr>
                <a:defRPr/>
              </a:pPr>
              <a:endParaRPr lang="pt-BR" sz="1400" kern="0" noProof="1">
                <a:solidFill>
                  <a:srgbClr val="000000"/>
                </a:solidFill>
                <a:latin typeface="Graphik" panose="020B0503030202060203" pitchFamily="34" charset="77"/>
              </a:endParaRPr>
            </a:p>
          </p:txBody>
        </p:sp>
        <p:sp>
          <p:nvSpPr>
            <p:cNvPr id="8" name="Text Box 6">
              <a:extLst>
                <a:ext uri="{FF2B5EF4-FFF2-40B4-BE49-F238E27FC236}">
                  <a16:creationId xmlns:a16="http://schemas.microsoft.com/office/drawing/2014/main" id="{B4D0402A-24D4-1F1F-4A3F-DE4957007F0F}"/>
                </a:ext>
              </a:extLst>
            </p:cNvPr>
            <p:cNvSpPr txBox="1">
              <a:spLocks noChangeArrowheads="1"/>
            </p:cNvSpPr>
            <p:nvPr/>
          </p:nvSpPr>
          <p:spPr bwMode="auto">
            <a:xfrm>
              <a:off x="1296448" y="2670885"/>
              <a:ext cx="1391980" cy="684668"/>
            </a:xfrm>
            <a:prstGeom prst="rect">
              <a:avLst/>
            </a:prstGeom>
            <a:noFill/>
            <a:ln w="6350">
              <a:noFill/>
              <a:miter lim="800000"/>
              <a:headEnd/>
              <a:tailEnd/>
            </a:ln>
            <a:effectLst/>
          </p:spPr>
          <p:txBody>
            <a:bodyPr wrap="none" lIns="45720" rIns="45720"/>
            <a:lstStyle/>
            <a:p>
              <a:pPr eaLnBrk="0" hangingPunct="0">
                <a:spcBef>
                  <a:spcPct val="0"/>
                </a:spcBef>
                <a:defRPr/>
              </a:pPr>
              <a:r>
                <a:rPr lang="pt-BR" sz="1400" b="1" kern="0" noProof="1">
                  <a:solidFill>
                    <a:srgbClr val="000000"/>
                  </a:solidFill>
                  <a:latin typeface="Graphik Semibold" panose="020B0503030202060203" pitchFamily="34" charset="77"/>
                </a:rPr>
                <a:t>Y-Axis</a:t>
              </a:r>
            </a:p>
          </p:txBody>
        </p:sp>
        <p:sp>
          <p:nvSpPr>
            <p:cNvPr id="9" name="Text Box 7">
              <a:extLst>
                <a:ext uri="{FF2B5EF4-FFF2-40B4-BE49-F238E27FC236}">
                  <a16:creationId xmlns:a16="http://schemas.microsoft.com/office/drawing/2014/main" id="{CDE3E444-FF8B-8356-C2E8-16C870AA8988}"/>
                </a:ext>
              </a:extLst>
            </p:cNvPr>
            <p:cNvSpPr txBox="1">
              <a:spLocks noChangeArrowheads="1"/>
            </p:cNvSpPr>
            <p:nvPr/>
          </p:nvSpPr>
          <p:spPr bwMode="auto">
            <a:xfrm>
              <a:off x="3265020" y="5037790"/>
              <a:ext cx="3231182" cy="371430"/>
            </a:xfrm>
            <a:prstGeom prst="rect">
              <a:avLst/>
            </a:prstGeom>
            <a:noFill/>
            <a:ln w="6350">
              <a:noFill/>
              <a:miter lim="800000"/>
              <a:headEnd/>
              <a:tailEnd/>
            </a:ln>
            <a:effectLst/>
          </p:spPr>
          <p:txBody>
            <a:bodyPr wrap="none" lIns="45720" rIns="45720"/>
            <a:lstStyle/>
            <a:p>
              <a:pPr algn="ctr" eaLnBrk="0" hangingPunct="0">
                <a:spcBef>
                  <a:spcPct val="0"/>
                </a:spcBef>
                <a:defRPr/>
              </a:pPr>
              <a:r>
                <a:rPr lang="pt-BR" sz="1400" b="1" kern="0" noProof="1">
                  <a:solidFill>
                    <a:srgbClr val="000000"/>
                  </a:solidFill>
                  <a:latin typeface="Graphik Semibold" panose="020B0503030202060203" pitchFamily="34" charset="77"/>
                </a:rPr>
                <a:t>X-Axis</a:t>
              </a:r>
            </a:p>
          </p:txBody>
        </p:sp>
        <p:sp>
          <p:nvSpPr>
            <p:cNvPr id="10" name="Freeform 10">
              <a:extLst>
                <a:ext uri="{FF2B5EF4-FFF2-40B4-BE49-F238E27FC236}">
                  <a16:creationId xmlns:a16="http://schemas.microsoft.com/office/drawing/2014/main" id="{0967A2C9-8D7C-DB01-FC83-46EF71091FAB}"/>
                </a:ext>
              </a:extLst>
            </p:cNvPr>
            <p:cNvSpPr/>
            <p:nvPr/>
          </p:nvSpPr>
          <p:spPr bwMode="auto">
            <a:xfrm>
              <a:off x="3263900" y="1703302"/>
              <a:ext cx="3035300" cy="3170489"/>
            </a:xfrm>
            <a:custGeom>
              <a:avLst/>
              <a:gdLst>
                <a:gd name="connsiteX0" fmla="*/ 0 w 3035300"/>
                <a:gd name="connsiteY0" fmla="*/ 2857500 h 2857500"/>
                <a:gd name="connsiteX1" fmla="*/ 2387600 w 3035300"/>
                <a:gd name="connsiteY1" fmla="*/ 2298700 h 2857500"/>
                <a:gd name="connsiteX2" fmla="*/ 3035300 w 3035300"/>
                <a:gd name="connsiteY2" fmla="*/ 0 h 2857500"/>
              </a:gdLst>
              <a:ahLst/>
              <a:cxnLst>
                <a:cxn ang="0">
                  <a:pos x="connsiteX0" y="connsiteY0"/>
                </a:cxn>
                <a:cxn ang="0">
                  <a:pos x="connsiteX1" y="connsiteY1"/>
                </a:cxn>
                <a:cxn ang="0">
                  <a:pos x="connsiteX2" y="connsiteY2"/>
                </a:cxn>
              </a:cxnLst>
              <a:rect l="l" t="t" r="r" b="b"/>
              <a:pathLst>
                <a:path w="3035300" h="2857500">
                  <a:moveTo>
                    <a:pt x="0" y="2857500"/>
                  </a:moveTo>
                  <a:cubicBezTo>
                    <a:pt x="940858" y="2816225"/>
                    <a:pt x="1881717" y="2774950"/>
                    <a:pt x="2387600" y="2298700"/>
                  </a:cubicBezTo>
                  <a:cubicBezTo>
                    <a:pt x="2893483" y="1822450"/>
                    <a:pt x="2964391" y="911225"/>
                    <a:pt x="3035300" y="0"/>
                  </a:cubicBezTo>
                </a:path>
              </a:pathLst>
            </a:custGeom>
            <a:noFill/>
            <a:ln w="25400" cap="flat" cmpd="sng">
              <a:solidFill>
                <a:schemeClr val="tx2">
                  <a:lumMod val="20000"/>
                  <a:lumOff val="80000"/>
                </a:schemeClr>
              </a:solidFill>
              <a:prstDash val="solid"/>
              <a:round/>
              <a:headEnd/>
              <a:tailEnd/>
            </a:ln>
            <a:effectLst/>
          </p:spPr>
          <p:txBody>
            <a:bodyPr wrap="none" lIns="36000" tIns="36000" rIns="36000" bIns="36000" anchor="ctr"/>
            <a:lstStyle/>
            <a:p>
              <a:pPr>
                <a:defRPr/>
              </a:pPr>
              <a:endParaRPr lang="pt-BR" sz="1400" kern="0" noProof="1">
                <a:solidFill>
                  <a:srgbClr val="000000"/>
                </a:solidFill>
                <a:latin typeface="Graphik" panose="020B0503030202060203" pitchFamily="34" charset="77"/>
                <a:cs typeface="Graphik" charset="0"/>
              </a:endParaRPr>
            </a:p>
          </p:txBody>
        </p:sp>
      </p:grpSp>
      <p:grpSp>
        <p:nvGrpSpPr>
          <p:cNvPr id="3" name="Group 4" descr="Example of an S-curve or logistic growth curve. The graph shows an initial slow increase, followed by rapid growth, and then stabilizes at a plateau as it reaches an upper limit.">
            <a:extLst>
              <a:ext uri="{FF2B5EF4-FFF2-40B4-BE49-F238E27FC236}">
                <a16:creationId xmlns:a16="http://schemas.microsoft.com/office/drawing/2014/main" id="{72472640-FDEC-3519-FB39-A9C491D00A48}"/>
              </a:ext>
              <a:ext uri="{C183D7F6-B498-43B3-948B-1728B52AA6E4}">
                <adec:decorative xmlns:adec="http://schemas.microsoft.com/office/drawing/2017/decorative" val="0"/>
              </a:ext>
            </a:extLst>
          </p:cNvPr>
          <p:cNvGrpSpPr/>
          <p:nvPr/>
        </p:nvGrpSpPr>
        <p:grpSpPr>
          <a:xfrm>
            <a:off x="8681670" y="1887023"/>
            <a:ext cx="2334385" cy="1665616"/>
            <a:chOff x="1367134" y="1645154"/>
            <a:chExt cx="5291364" cy="3775456"/>
          </a:xfrm>
        </p:grpSpPr>
        <p:sp>
          <p:nvSpPr>
            <p:cNvPr id="4" name="Freeform 4">
              <a:extLst>
                <a:ext uri="{FF2B5EF4-FFF2-40B4-BE49-F238E27FC236}">
                  <a16:creationId xmlns:a16="http://schemas.microsoft.com/office/drawing/2014/main" id="{3CBB3457-C390-20DD-729D-7A26AFA6DE0C}"/>
                </a:ext>
              </a:extLst>
            </p:cNvPr>
            <p:cNvSpPr>
              <a:spLocks/>
            </p:cNvSpPr>
            <p:nvPr/>
          </p:nvSpPr>
          <p:spPr bwMode="auto">
            <a:xfrm>
              <a:off x="3341294" y="2592138"/>
              <a:ext cx="3317204" cy="2095214"/>
            </a:xfrm>
            <a:custGeom>
              <a:avLst/>
              <a:gdLst/>
              <a:ahLst/>
              <a:cxnLst>
                <a:cxn ang="0">
                  <a:pos x="0" y="1808"/>
                </a:cxn>
                <a:cxn ang="0">
                  <a:pos x="1160" y="1472"/>
                </a:cxn>
                <a:cxn ang="0">
                  <a:pos x="1496" y="232"/>
                </a:cxn>
                <a:cxn ang="0">
                  <a:pos x="3048" y="80"/>
                </a:cxn>
              </a:cxnLst>
              <a:rect l="0" t="0" r="r" b="b"/>
              <a:pathLst>
                <a:path w="3048" h="1808">
                  <a:moveTo>
                    <a:pt x="0" y="1808"/>
                  </a:moveTo>
                  <a:cubicBezTo>
                    <a:pt x="193" y="1752"/>
                    <a:pt x="911" y="1735"/>
                    <a:pt x="1160" y="1472"/>
                  </a:cubicBezTo>
                  <a:cubicBezTo>
                    <a:pt x="1409" y="1209"/>
                    <a:pt x="1181" y="464"/>
                    <a:pt x="1496" y="232"/>
                  </a:cubicBezTo>
                  <a:cubicBezTo>
                    <a:pt x="1811" y="0"/>
                    <a:pt x="2725" y="112"/>
                    <a:pt x="3048" y="80"/>
                  </a:cubicBezTo>
                </a:path>
              </a:pathLst>
            </a:custGeom>
            <a:noFill/>
            <a:ln w="25400" cap="flat" cmpd="sng">
              <a:solidFill>
                <a:schemeClr val="tx2">
                  <a:lumMod val="20000"/>
                  <a:lumOff val="80000"/>
                </a:schemeClr>
              </a:solidFill>
              <a:prstDash val="solid"/>
              <a:round/>
              <a:headEnd/>
              <a:tailEnd/>
            </a:ln>
            <a:effectLst/>
          </p:spPr>
          <p:txBody>
            <a:bodyPr wrap="none" lIns="36000" tIns="36000" rIns="36000" bIns="36000" anchor="ctr"/>
            <a:lstStyle/>
            <a:p>
              <a:pPr>
                <a:defRPr/>
              </a:pPr>
              <a:endParaRPr lang="pt-BR" sz="1400" kern="0" noProof="1">
                <a:solidFill>
                  <a:srgbClr val="000000"/>
                </a:solidFill>
                <a:latin typeface="Graphik" panose="020B0503030202060203" pitchFamily="34" charset="77"/>
              </a:endParaRPr>
            </a:p>
          </p:txBody>
        </p:sp>
        <p:sp>
          <p:nvSpPr>
            <p:cNvPr id="11" name="Line 4">
              <a:extLst>
                <a:ext uri="{FF2B5EF4-FFF2-40B4-BE49-F238E27FC236}">
                  <a16:creationId xmlns:a16="http://schemas.microsoft.com/office/drawing/2014/main" id="{B8EE04B1-6895-FF6C-99A7-DD06F10EE501}"/>
                </a:ext>
              </a:extLst>
            </p:cNvPr>
            <p:cNvSpPr>
              <a:spLocks noChangeShapeType="1"/>
            </p:cNvSpPr>
            <p:nvPr/>
          </p:nvSpPr>
          <p:spPr bwMode="auto">
            <a:xfrm flipV="1">
              <a:off x="3265020" y="1645154"/>
              <a:ext cx="0" cy="3316871"/>
            </a:xfrm>
            <a:prstGeom prst="line">
              <a:avLst/>
            </a:prstGeom>
            <a:noFill/>
            <a:ln w="6350">
              <a:solidFill>
                <a:srgbClr val="000000"/>
              </a:solidFill>
              <a:round/>
              <a:headEnd/>
              <a:tailEnd type="triangle" w="med" len="med"/>
            </a:ln>
            <a:effectLst/>
          </p:spPr>
          <p:txBody>
            <a:bodyPr wrap="none" lIns="45720" rIns="45720"/>
            <a:lstStyle/>
            <a:p>
              <a:pPr>
                <a:defRPr/>
              </a:pPr>
              <a:endParaRPr lang="pt-BR" sz="1400" kern="0" noProof="1">
                <a:solidFill>
                  <a:srgbClr val="000000"/>
                </a:solidFill>
                <a:latin typeface="Graphik" panose="020B0503030202060203" pitchFamily="34" charset="77"/>
              </a:endParaRPr>
            </a:p>
          </p:txBody>
        </p:sp>
        <p:sp>
          <p:nvSpPr>
            <p:cNvPr id="12" name="Line 5">
              <a:extLst>
                <a:ext uri="{FF2B5EF4-FFF2-40B4-BE49-F238E27FC236}">
                  <a16:creationId xmlns:a16="http://schemas.microsoft.com/office/drawing/2014/main" id="{FF77CD29-EB2F-860C-1395-DF69562C497B}"/>
                </a:ext>
              </a:extLst>
            </p:cNvPr>
            <p:cNvSpPr>
              <a:spLocks noChangeShapeType="1"/>
            </p:cNvSpPr>
            <p:nvPr/>
          </p:nvSpPr>
          <p:spPr bwMode="auto">
            <a:xfrm rot="5400000" flipV="1">
              <a:off x="4944892" y="3282082"/>
              <a:ext cx="0" cy="3358030"/>
            </a:xfrm>
            <a:prstGeom prst="line">
              <a:avLst/>
            </a:prstGeom>
            <a:noFill/>
            <a:ln w="6350">
              <a:solidFill>
                <a:srgbClr val="000000"/>
              </a:solidFill>
              <a:round/>
              <a:headEnd/>
              <a:tailEnd type="triangle" w="med" len="med"/>
            </a:ln>
            <a:effectLst/>
          </p:spPr>
          <p:txBody>
            <a:bodyPr wrap="none" lIns="45720" rIns="45720"/>
            <a:lstStyle/>
            <a:p>
              <a:pPr>
                <a:defRPr/>
              </a:pPr>
              <a:endParaRPr lang="pt-BR" sz="1400" kern="0" noProof="1">
                <a:solidFill>
                  <a:srgbClr val="000000"/>
                </a:solidFill>
                <a:latin typeface="Graphik" panose="020B0503030202060203" pitchFamily="34" charset="77"/>
              </a:endParaRPr>
            </a:p>
          </p:txBody>
        </p:sp>
        <p:sp>
          <p:nvSpPr>
            <p:cNvPr id="13" name="Text Box 6">
              <a:extLst>
                <a:ext uri="{FF2B5EF4-FFF2-40B4-BE49-F238E27FC236}">
                  <a16:creationId xmlns:a16="http://schemas.microsoft.com/office/drawing/2014/main" id="{471FD9AD-7EF7-CABD-71FE-BCCF63B3E194}"/>
                </a:ext>
              </a:extLst>
            </p:cNvPr>
            <p:cNvSpPr txBox="1">
              <a:spLocks noChangeArrowheads="1"/>
            </p:cNvSpPr>
            <p:nvPr/>
          </p:nvSpPr>
          <p:spPr bwMode="auto">
            <a:xfrm>
              <a:off x="1367134" y="2874447"/>
              <a:ext cx="1974161" cy="478286"/>
            </a:xfrm>
            <a:prstGeom prst="rect">
              <a:avLst/>
            </a:prstGeom>
            <a:noFill/>
            <a:ln w="6350">
              <a:noFill/>
              <a:miter lim="800000"/>
              <a:headEnd/>
              <a:tailEnd/>
            </a:ln>
            <a:effectLst/>
          </p:spPr>
          <p:txBody>
            <a:bodyPr wrap="none" lIns="45720" rIns="45720" anchor="ctr"/>
            <a:lstStyle/>
            <a:p>
              <a:pPr eaLnBrk="0" hangingPunct="0">
                <a:spcBef>
                  <a:spcPct val="0"/>
                </a:spcBef>
                <a:defRPr/>
              </a:pPr>
              <a:r>
                <a:rPr lang="pt-BR" sz="1400" b="1" kern="0" noProof="1">
                  <a:solidFill>
                    <a:srgbClr val="000000"/>
                  </a:solidFill>
                  <a:latin typeface="Graphik Semibold" panose="020B0503030202060203" pitchFamily="34" charset="77"/>
                </a:rPr>
                <a:t>Y-Axis</a:t>
              </a:r>
            </a:p>
          </p:txBody>
        </p:sp>
        <p:sp>
          <p:nvSpPr>
            <p:cNvPr id="14" name="Text Box 7">
              <a:extLst>
                <a:ext uri="{FF2B5EF4-FFF2-40B4-BE49-F238E27FC236}">
                  <a16:creationId xmlns:a16="http://schemas.microsoft.com/office/drawing/2014/main" id="{1435619A-06B0-85C6-C0F7-2CAC9B3628CC}"/>
                </a:ext>
              </a:extLst>
            </p:cNvPr>
            <p:cNvSpPr txBox="1">
              <a:spLocks noChangeArrowheads="1"/>
            </p:cNvSpPr>
            <p:nvPr/>
          </p:nvSpPr>
          <p:spPr bwMode="auto">
            <a:xfrm>
              <a:off x="3265020" y="5049180"/>
              <a:ext cx="3231182" cy="371430"/>
            </a:xfrm>
            <a:prstGeom prst="rect">
              <a:avLst/>
            </a:prstGeom>
            <a:noFill/>
            <a:ln w="6350">
              <a:noFill/>
              <a:miter lim="800000"/>
              <a:headEnd/>
              <a:tailEnd/>
            </a:ln>
            <a:effectLst/>
          </p:spPr>
          <p:txBody>
            <a:bodyPr wrap="none" lIns="45720" rIns="45720"/>
            <a:lstStyle/>
            <a:p>
              <a:pPr algn="ctr" eaLnBrk="0" hangingPunct="0">
                <a:spcBef>
                  <a:spcPct val="0"/>
                </a:spcBef>
                <a:defRPr/>
              </a:pPr>
              <a:r>
                <a:rPr lang="pt-BR" sz="1400" b="1" kern="0" noProof="1">
                  <a:solidFill>
                    <a:srgbClr val="000000"/>
                  </a:solidFill>
                  <a:latin typeface="Graphik Semibold" panose="020B0503030202060203" pitchFamily="34" charset="77"/>
                </a:rPr>
                <a:t>X-Axis</a:t>
              </a:r>
            </a:p>
          </p:txBody>
        </p:sp>
      </p:grpSp>
      <p:grpSp>
        <p:nvGrpSpPr>
          <p:cNvPr id="15" name="Group 4" descr="Example of an inverse exponential curve. The graph starts at a high value on the Y-axis and decreases rapidly before leveling off as it approaches the X-axis.">
            <a:extLst>
              <a:ext uri="{FF2B5EF4-FFF2-40B4-BE49-F238E27FC236}">
                <a16:creationId xmlns:a16="http://schemas.microsoft.com/office/drawing/2014/main" id="{34487E8C-04A4-D6A5-0BC3-E3F876D685BD}"/>
              </a:ext>
              <a:ext uri="{C183D7F6-B498-43B3-948B-1728B52AA6E4}">
                <adec:decorative xmlns:adec="http://schemas.microsoft.com/office/drawing/2017/decorative" val="0"/>
              </a:ext>
            </a:extLst>
          </p:cNvPr>
          <p:cNvGrpSpPr/>
          <p:nvPr/>
        </p:nvGrpSpPr>
        <p:grpSpPr>
          <a:xfrm>
            <a:off x="5955541" y="3919474"/>
            <a:ext cx="2445147" cy="1796143"/>
            <a:chOff x="1373659" y="1664804"/>
            <a:chExt cx="5250248" cy="3856698"/>
          </a:xfrm>
        </p:grpSpPr>
        <p:sp>
          <p:nvSpPr>
            <p:cNvPr id="16" name="Arc 4">
              <a:extLst>
                <a:ext uri="{FF2B5EF4-FFF2-40B4-BE49-F238E27FC236}">
                  <a16:creationId xmlns:a16="http://schemas.microsoft.com/office/drawing/2014/main" id="{EC687FA3-13CC-B243-6945-68D91EC611C9}"/>
                </a:ext>
              </a:extLst>
            </p:cNvPr>
            <p:cNvSpPr>
              <a:spLocks/>
            </p:cNvSpPr>
            <p:nvPr/>
          </p:nvSpPr>
          <p:spPr bwMode="auto">
            <a:xfrm rot="10800000">
              <a:off x="3440098" y="1781891"/>
              <a:ext cx="3071740" cy="3049996"/>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25400">
              <a:solidFill>
                <a:schemeClr val="tx2">
                  <a:lumMod val="20000"/>
                  <a:lumOff val="80000"/>
                </a:schemeClr>
              </a:solidFill>
              <a:round/>
              <a:headEnd/>
              <a:tailEnd/>
            </a:ln>
            <a:effectLst/>
          </p:spPr>
          <p:txBody>
            <a:bodyPr wrap="none" lIns="36000" tIns="36000" rIns="36000" bIns="36000" anchor="ctr"/>
            <a:lstStyle/>
            <a:p>
              <a:pPr>
                <a:defRPr/>
              </a:pPr>
              <a:endParaRPr lang="pt-BR" sz="1400" kern="0" noProof="1">
                <a:solidFill>
                  <a:srgbClr val="000000"/>
                </a:solidFill>
                <a:latin typeface="Graphik" panose="020B0503030202060203" pitchFamily="34" charset="77"/>
              </a:endParaRPr>
            </a:p>
          </p:txBody>
        </p:sp>
        <p:sp>
          <p:nvSpPr>
            <p:cNvPr id="17" name="Line 4">
              <a:extLst>
                <a:ext uri="{FF2B5EF4-FFF2-40B4-BE49-F238E27FC236}">
                  <a16:creationId xmlns:a16="http://schemas.microsoft.com/office/drawing/2014/main" id="{8471E61C-6E95-7075-3AE6-5BCCFF87AF67}"/>
                </a:ext>
              </a:extLst>
            </p:cNvPr>
            <p:cNvSpPr>
              <a:spLocks noChangeShapeType="1"/>
            </p:cNvSpPr>
            <p:nvPr/>
          </p:nvSpPr>
          <p:spPr bwMode="auto">
            <a:xfrm flipV="1">
              <a:off x="3265020" y="1664804"/>
              <a:ext cx="0" cy="3316871"/>
            </a:xfrm>
            <a:prstGeom prst="line">
              <a:avLst/>
            </a:prstGeom>
            <a:noFill/>
            <a:ln w="6350">
              <a:solidFill>
                <a:srgbClr val="000000"/>
              </a:solidFill>
              <a:round/>
              <a:headEnd/>
              <a:tailEnd type="triangle" w="med" len="med"/>
            </a:ln>
            <a:effectLst/>
          </p:spPr>
          <p:txBody>
            <a:bodyPr wrap="none" lIns="45720" rIns="45720"/>
            <a:lstStyle/>
            <a:p>
              <a:pPr>
                <a:defRPr/>
              </a:pPr>
              <a:endParaRPr lang="pt-BR" sz="1400" kern="0" noProof="1">
                <a:solidFill>
                  <a:srgbClr val="000000"/>
                </a:solidFill>
                <a:latin typeface="Graphik" panose="020B0503030202060203" pitchFamily="34" charset="77"/>
              </a:endParaRPr>
            </a:p>
          </p:txBody>
        </p:sp>
        <p:sp>
          <p:nvSpPr>
            <p:cNvPr id="18" name="Line 5">
              <a:extLst>
                <a:ext uri="{FF2B5EF4-FFF2-40B4-BE49-F238E27FC236}">
                  <a16:creationId xmlns:a16="http://schemas.microsoft.com/office/drawing/2014/main" id="{5678C3FB-42BF-0717-82C2-2D9145413B2E}"/>
                </a:ext>
              </a:extLst>
            </p:cNvPr>
            <p:cNvSpPr>
              <a:spLocks noChangeShapeType="1"/>
            </p:cNvSpPr>
            <p:nvPr/>
          </p:nvSpPr>
          <p:spPr bwMode="auto">
            <a:xfrm rot="5400000" flipV="1">
              <a:off x="4944892" y="3301732"/>
              <a:ext cx="0" cy="3358030"/>
            </a:xfrm>
            <a:prstGeom prst="line">
              <a:avLst/>
            </a:prstGeom>
            <a:noFill/>
            <a:ln w="6350">
              <a:solidFill>
                <a:srgbClr val="000000"/>
              </a:solidFill>
              <a:round/>
              <a:headEnd/>
              <a:tailEnd type="triangle" w="med" len="med"/>
            </a:ln>
            <a:effectLst/>
          </p:spPr>
          <p:txBody>
            <a:bodyPr wrap="none" lIns="45720" rIns="45720"/>
            <a:lstStyle/>
            <a:p>
              <a:pPr>
                <a:defRPr/>
              </a:pPr>
              <a:endParaRPr lang="pt-BR" sz="1400" kern="0" noProof="1">
                <a:solidFill>
                  <a:srgbClr val="000000"/>
                </a:solidFill>
                <a:latin typeface="Graphik" panose="020B0503030202060203" pitchFamily="34" charset="77"/>
              </a:endParaRPr>
            </a:p>
          </p:txBody>
        </p:sp>
        <p:sp>
          <p:nvSpPr>
            <p:cNvPr id="19" name="Text Box 6">
              <a:extLst>
                <a:ext uri="{FF2B5EF4-FFF2-40B4-BE49-F238E27FC236}">
                  <a16:creationId xmlns:a16="http://schemas.microsoft.com/office/drawing/2014/main" id="{96261318-5719-AEA6-7930-EC2435BE0F4E}"/>
                </a:ext>
              </a:extLst>
            </p:cNvPr>
            <p:cNvSpPr txBox="1">
              <a:spLocks noChangeArrowheads="1"/>
            </p:cNvSpPr>
            <p:nvPr/>
          </p:nvSpPr>
          <p:spPr bwMode="auto">
            <a:xfrm>
              <a:off x="1373659" y="2921876"/>
              <a:ext cx="1624457" cy="670949"/>
            </a:xfrm>
            <a:prstGeom prst="rect">
              <a:avLst/>
            </a:prstGeom>
            <a:noFill/>
            <a:ln w="6350">
              <a:noFill/>
              <a:miter lim="800000"/>
              <a:headEnd/>
              <a:tailEnd/>
            </a:ln>
            <a:effectLst/>
          </p:spPr>
          <p:txBody>
            <a:bodyPr wrap="none" lIns="45720" rIns="45720"/>
            <a:lstStyle/>
            <a:p>
              <a:pPr eaLnBrk="0" hangingPunct="0">
                <a:spcBef>
                  <a:spcPct val="0"/>
                </a:spcBef>
                <a:defRPr/>
              </a:pPr>
              <a:r>
                <a:rPr lang="pt-BR" sz="1400" b="1" kern="0" noProof="1">
                  <a:solidFill>
                    <a:srgbClr val="000000"/>
                  </a:solidFill>
                  <a:latin typeface="Graphik Semibold" panose="020B0503030202060203" pitchFamily="34" charset="77"/>
                </a:rPr>
                <a:t>Y-Axis</a:t>
              </a:r>
            </a:p>
          </p:txBody>
        </p:sp>
        <p:sp>
          <p:nvSpPr>
            <p:cNvPr id="20" name="Text Box 7">
              <a:extLst>
                <a:ext uri="{FF2B5EF4-FFF2-40B4-BE49-F238E27FC236}">
                  <a16:creationId xmlns:a16="http://schemas.microsoft.com/office/drawing/2014/main" id="{C2422490-A65C-3FF1-F7F8-5FBC1D998CDD}"/>
                </a:ext>
              </a:extLst>
            </p:cNvPr>
            <p:cNvSpPr txBox="1">
              <a:spLocks noChangeArrowheads="1"/>
            </p:cNvSpPr>
            <p:nvPr/>
          </p:nvSpPr>
          <p:spPr bwMode="auto">
            <a:xfrm>
              <a:off x="3280657" y="5150071"/>
              <a:ext cx="3231182" cy="371431"/>
            </a:xfrm>
            <a:prstGeom prst="rect">
              <a:avLst/>
            </a:prstGeom>
            <a:noFill/>
            <a:ln w="6350">
              <a:noFill/>
              <a:miter lim="800000"/>
              <a:headEnd/>
              <a:tailEnd/>
            </a:ln>
            <a:effectLst/>
          </p:spPr>
          <p:txBody>
            <a:bodyPr wrap="none" lIns="45720" rIns="45720" anchor="ctr"/>
            <a:lstStyle/>
            <a:p>
              <a:pPr algn="ctr" eaLnBrk="0" hangingPunct="0">
                <a:spcBef>
                  <a:spcPct val="0"/>
                </a:spcBef>
                <a:defRPr/>
              </a:pPr>
              <a:r>
                <a:rPr lang="pt-BR" sz="1400" b="1" kern="0" noProof="1">
                  <a:solidFill>
                    <a:srgbClr val="000000"/>
                  </a:solidFill>
                  <a:latin typeface="Graphik Semibold" panose="020B0503030202060203" pitchFamily="34" charset="77"/>
                </a:rPr>
                <a:t>X-Axis</a:t>
              </a:r>
            </a:p>
          </p:txBody>
        </p:sp>
      </p:grpSp>
      <p:grpSp>
        <p:nvGrpSpPr>
          <p:cNvPr id="21" name="Group 4" descr="Example of a decreasing exponential curve. The graph starts high on the Y-axis and slowly decreases as it moves along the X-axis.">
            <a:extLst>
              <a:ext uri="{FF2B5EF4-FFF2-40B4-BE49-F238E27FC236}">
                <a16:creationId xmlns:a16="http://schemas.microsoft.com/office/drawing/2014/main" id="{AAC18F72-4101-7CE6-5E99-D1732C10AF59}"/>
              </a:ext>
              <a:ext uri="{C183D7F6-B498-43B3-948B-1728B52AA6E4}">
                <adec:decorative xmlns:adec="http://schemas.microsoft.com/office/drawing/2017/decorative" val="0"/>
              </a:ext>
            </a:extLst>
          </p:cNvPr>
          <p:cNvGrpSpPr/>
          <p:nvPr/>
        </p:nvGrpSpPr>
        <p:grpSpPr>
          <a:xfrm>
            <a:off x="8815770" y="3893815"/>
            <a:ext cx="2320623" cy="1779479"/>
            <a:chOff x="1753410" y="1602463"/>
            <a:chExt cx="4870497" cy="3734749"/>
          </a:xfrm>
        </p:grpSpPr>
        <p:sp>
          <p:nvSpPr>
            <p:cNvPr id="22" name="Arc 4">
              <a:extLst>
                <a:ext uri="{FF2B5EF4-FFF2-40B4-BE49-F238E27FC236}">
                  <a16:creationId xmlns:a16="http://schemas.microsoft.com/office/drawing/2014/main" id="{269C1FC4-D8F8-F21E-E6AA-99E61A087A0D}"/>
                </a:ext>
              </a:extLst>
            </p:cNvPr>
            <p:cNvSpPr>
              <a:spLocks/>
            </p:cNvSpPr>
            <p:nvPr/>
          </p:nvSpPr>
          <p:spPr bwMode="auto">
            <a:xfrm rot="10800000" flipH="1" flipV="1">
              <a:off x="3372591" y="1808820"/>
              <a:ext cx="2998753" cy="298020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25400">
              <a:solidFill>
                <a:schemeClr val="tx2">
                  <a:lumMod val="20000"/>
                  <a:lumOff val="80000"/>
                </a:schemeClr>
              </a:solidFill>
              <a:round/>
              <a:headEnd/>
              <a:tailEnd/>
            </a:ln>
            <a:effectLst/>
          </p:spPr>
          <p:txBody>
            <a:bodyPr wrap="none" lIns="36000" tIns="36000" rIns="36000" bIns="36000" anchor="ctr"/>
            <a:lstStyle/>
            <a:p>
              <a:pPr>
                <a:defRPr/>
              </a:pPr>
              <a:endParaRPr lang="pt-BR" sz="1400" kern="0" noProof="1">
                <a:solidFill>
                  <a:srgbClr val="000000"/>
                </a:solidFill>
                <a:latin typeface="Graphik" panose="020B0503030202060203" pitchFamily="34" charset="77"/>
              </a:endParaRPr>
            </a:p>
          </p:txBody>
        </p:sp>
        <p:sp>
          <p:nvSpPr>
            <p:cNvPr id="23" name="Line 4">
              <a:extLst>
                <a:ext uri="{FF2B5EF4-FFF2-40B4-BE49-F238E27FC236}">
                  <a16:creationId xmlns:a16="http://schemas.microsoft.com/office/drawing/2014/main" id="{2B7095FA-0E92-F04E-6BF7-7830678D452F}"/>
                </a:ext>
              </a:extLst>
            </p:cNvPr>
            <p:cNvSpPr>
              <a:spLocks noChangeShapeType="1"/>
            </p:cNvSpPr>
            <p:nvPr/>
          </p:nvSpPr>
          <p:spPr bwMode="auto">
            <a:xfrm flipV="1">
              <a:off x="3265020" y="1602463"/>
              <a:ext cx="0" cy="3316871"/>
            </a:xfrm>
            <a:prstGeom prst="line">
              <a:avLst/>
            </a:prstGeom>
            <a:noFill/>
            <a:ln w="6350">
              <a:solidFill>
                <a:srgbClr val="000000"/>
              </a:solidFill>
              <a:round/>
              <a:headEnd/>
              <a:tailEnd type="triangle" w="med" len="med"/>
            </a:ln>
            <a:effectLst/>
          </p:spPr>
          <p:txBody>
            <a:bodyPr wrap="none" lIns="45720" rIns="45720"/>
            <a:lstStyle/>
            <a:p>
              <a:pPr>
                <a:defRPr/>
              </a:pPr>
              <a:endParaRPr lang="pt-BR" sz="1400" kern="0" noProof="1">
                <a:solidFill>
                  <a:srgbClr val="000000"/>
                </a:solidFill>
                <a:latin typeface="Graphik" panose="020B0503030202060203" pitchFamily="34" charset="77"/>
              </a:endParaRPr>
            </a:p>
          </p:txBody>
        </p:sp>
        <p:sp>
          <p:nvSpPr>
            <p:cNvPr id="24" name="Line 5">
              <a:extLst>
                <a:ext uri="{FF2B5EF4-FFF2-40B4-BE49-F238E27FC236}">
                  <a16:creationId xmlns:a16="http://schemas.microsoft.com/office/drawing/2014/main" id="{5356E52A-B22F-C8E5-E137-6B9E3AEA648A}"/>
                </a:ext>
              </a:extLst>
            </p:cNvPr>
            <p:cNvSpPr>
              <a:spLocks noChangeShapeType="1"/>
            </p:cNvSpPr>
            <p:nvPr/>
          </p:nvSpPr>
          <p:spPr bwMode="auto">
            <a:xfrm rot="5400000" flipV="1">
              <a:off x="4944892" y="3239391"/>
              <a:ext cx="0" cy="3358030"/>
            </a:xfrm>
            <a:prstGeom prst="line">
              <a:avLst/>
            </a:prstGeom>
            <a:noFill/>
            <a:ln w="6350">
              <a:solidFill>
                <a:srgbClr val="000000"/>
              </a:solidFill>
              <a:round/>
              <a:headEnd/>
              <a:tailEnd type="triangle" w="med" len="med"/>
            </a:ln>
            <a:effectLst/>
          </p:spPr>
          <p:txBody>
            <a:bodyPr wrap="none" lIns="45720" rIns="45720"/>
            <a:lstStyle/>
            <a:p>
              <a:pPr>
                <a:defRPr/>
              </a:pPr>
              <a:endParaRPr lang="pt-BR" sz="1400" kern="0" noProof="1">
                <a:solidFill>
                  <a:srgbClr val="000000"/>
                </a:solidFill>
                <a:latin typeface="Graphik" panose="020B0503030202060203" pitchFamily="34" charset="77"/>
              </a:endParaRPr>
            </a:p>
          </p:txBody>
        </p:sp>
        <p:sp>
          <p:nvSpPr>
            <p:cNvPr id="25" name="Text Box 6">
              <a:extLst>
                <a:ext uri="{FF2B5EF4-FFF2-40B4-BE49-F238E27FC236}">
                  <a16:creationId xmlns:a16="http://schemas.microsoft.com/office/drawing/2014/main" id="{760FF888-37F1-4A07-AC1B-89C6171B4834}"/>
                </a:ext>
              </a:extLst>
            </p:cNvPr>
            <p:cNvSpPr txBox="1">
              <a:spLocks noChangeArrowheads="1"/>
            </p:cNvSpPr>
            <p:nvPr/>
          </p:nvSpPr>
          <p:spPr bwMode="auto">
            <a:xfrm>
              <a:off x="1753410" y="3031483"/>
              <a:ext cx="1450347" cy="721538"/>
            </a:xfrm>
            <a:prstGeom prst="rect">
              <a:avLst/>
            </a:prstGeom>
            <a:noFill/>
            <a:ln w="6350">
              <a:noFill/>
              <a:miter lim="800000"/>
              <a:headEnd/>
              <a:tailEnd/>
            </a:ln>
            <a:effectLst/>
          </p:spPr>
          <p:txBody>
            <a:bodyPr wrap="none" lIns="45720" rIns="45720"/>
            <a:lstStyle/>
            <a:p>
              <a:pPr eaLnBrk="0" hangingPunct="0">
                <a:spcBef>
                  <a:spcPct val="0"/>
                </a:spcBef>
                <a:defRPr/>
              </a:pPr>
              <a:r>
                <a:rPr lang="pt-BR" sz="1400" b="1" kern="0" noProof="1">
                  <a:solidFill>
                    <a:srgbClr val="000000"/>
                  </a:solidFill>
                  <a:latin typeface="Graphik Semibold" panose="020B0503030202060203" pitchFamily="34" charset="77"/>
                </a:rPr>
                <a:t>Y-Axis</a:t>
              </a:r>
            </a:p>
          </p:txBody>
        </p:sp>
        <p:sp>
          <p:nvSpPr>
            <p:cNvPr id="26" name="Text Box 7">
              <a:extLst>
                <a:ext uri="{FF2B5EF4-FFF2-40B4-BE49-F238E27FC236}">
                  <a16:creationId xmlns:a16="http://schemas.microsoft.com/office/drawing/2014/main" id="{CC653889-451A-2B51-752B-5BE1F1E8B368}"/>
                </a:ext>
              </a:extLst>
            </p:cNvPr>
            <p:cNvSpPr txBox="1">
              <a:spLocks noChangeArrowheads="1"/>
            </p:cNvSpPr>
            <p:nvPr/>
          </p:nvSpPr>
          <p:spPr bwMode="auto">
            <a:xfrm>
              <a:off x="3265020" y="4965782"/>
              <a:ext cx="3231182" cy="371430"/>
            </a:xfrm>
            <a:prstGeom prst="rect">
              <a:avLst/>
            </a:prstGeom>
            <a:noFill/>
            <a:ln w="6350">
              <a:noFill/>
              <a:miter lim="800000"/>
              <a:headEnd/>
              <a:tailEnd/>
            </a:ln>
            <a:effectLst/>
          </p:spPr>
          <p:txBody>
            <a:bodyPr wrap="none" lIns="45720" rIns="45720"/>
            <a:lstStyle/>
            <a:p>
              <a:pPr algn="ctr" eaLnBrk="0" hangingPunct="0">
                <a:spcBef>
                  <a:spcPct val="0"/>
                </a:spcBef>
                <a:defRPr/>
              </a:pPr>
              <a:r>
                <a:rPr lang="pt-BR" sz="1400" b="1" kern="0" noProof="1">
                  <a:solidFill>
                    <a:srgbClr val="000000"/>
                  </a:solidFill>
                  <a:latin typeface="Graphik Semibold" panose="020B0503030202060203" pitchFamily="34" charset="77"/>
                </a:rPr>
                <a:t>X-Axis</a:t>
              </a:r>
            </a:p>
          </p:txBody>
        </p:sp>
      </p:grpSp>
    </p:spTree>
    <p:extLst>
      <p:ext uri="{BB962C8B-B14F-4D97-AF65-F5344CB8AC3E}">
        <p14:creationId xmlns:p14="http://schemas.microsoft.com/office/powerpoint/2010/main" val="1021833205"/>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E8AE3A23-BFF4-114A-54A6-F2F30B2373CC}"/>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DD6E8FE-8CE6-37E5-A1BC-E3D345D8AB4E}"/>
              </a:ext>
            </a:extLst>
          </p:cNvPr>
          <p:cNvGraphicFramePr>
            <a:graphicFrameLocks noChangeAspect="1"/>
          </p:cNvGraphicFramePr>
          <p:nvPr>
            <p:custDataLst>
              <p:tags r:id="rId1"/>
            </p:custDataLst>
            <p:extLst>
              <p:ext uri="{D42A27DB-BD31-4B8C-83A1-F6EECF244321}">
                <p14:modId xmlns:p14="http://schemas.microsoft.com/office/powerpoint/2010/main" val="341470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50" imgH="350" progId="TCLayout.ActiveDocument.1">
                  <p:embed/>
                </p:oleObj>
              </mc:Choice>
              <mc:Fallback>
                <p:oleObj name="think-cell Slide" r:id="rId13" imgW="350" imgH="350" progId="TCLayout.ActiveDocument.1">
                  <p:embed/>
                  <p:pic>
                    <p:nvPicPr>
                      <p:cNvPr id="4" name="think-cell data - do not delete" hidden="1">
                        <a:extLst>
                          <a:ext uri="{FF2B5EF4-FFF2-40B4-BE49-F238E27FC236}">
                            <a16:creationId xmlns:a16="http://schemas.microsoft.com/office/drawing/2014/main" id="{CDD6E8FE-8CE6-37E5-A1BC-E3D345D8AB4E}"/>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8F0718C-43B5-CE98-447B-D49A1DC580A1}"/>
              </a:ext>
            </a:extLst>
          </p:cNvPr>
          <p:cNvSpPr>
            <a:spLocks noGrp="1"/>
          </p:cNvSpPr>
          <p:nvPr>
            <p:ph type="title"/>
          </p:nvPr>
        </p:nvSpPr>
        <p:spPr/>
        <p:txBody>
          <a:bodyPr vert="horz"/>
          <a:lstStyle/>
          <a:p>
            <a:r>
              <a:rPr lang="pt-BR" noProof="1"/>
              <a:t>Distribution illustrative graphs</a:t>
            </a:r>
          </a:p>
        </p:txBody>
      </p:sp>
      <p:grpSp>
        <p:nvGrpSpPr>
          <p:cNvPr id="27" name="Group 4" descr="Normal Distribution graph example showing a normal distribution curve with values representing the spread of data">
            <a:extLst>
              <a:ext uri="{FF2B5EF4-FFF2-40B4-BE49-F238E27FC236}">
                <a16:creationId xmlns:a16="http://schemas.microsoft.com/office/drawing/2014/main" id="{DEBE16B3-8AB7-8CE2-94B7-81C4DBBA6E6C}"/>
              </a:ext>
            </a:extLst>
          </p:cNvPr>
          <p:cNvGrpSpPr/>
          <p:nvPr/>
        </p:nvGrpSpPr>
        <p:grpSpPr>
          <a:xfrm>
            <a:off x="1625599" y="2489598"/>
            <a:ext cx="4451135" cy="2844479"/>
            <a:chOff x="3028950" y="2202669"/>
            <a:chExt cx="5456238" cy="3089276"/>
          </a:xfrm>
        </p:grpSpPr>
        <p:grpSp>
          <p:nvGrpSpPr>
            <p:cNvPr id="28" name="Group 4">
              <a:extLst>
                <a:ext uri="{FF2B5EF4-FFF2-40B4-BE49-F238E27FC236}">
                  <a16:creationId xmlns:a16="http://schemas.microsoft.com/office/drawing/2014/main" id="{3BACB77A-8D4B-7E7C-4E36-7F2A7126DFD2}"/>
                </a:ext>
              </a:extLst>
            </p:cNvPr>
            <p:cNvGrpSpPr>
              <a:grpSpLocks/>
            </p:cNvGrpSpPr>
            <p:nvPr/>
          </p:nvGrpSpPr>
          <p:grpSpPr bwMode="auto">
            <a:xfrm>
              <a:off x="3469962" y="2467782"/>
              <a:ext cx="4883362" cy="1522413"/>
              <a:chOff x="984" y="1875"/>
              <a:chExt cx="3840" cy="730"/>
            </a:xfrm>
          </p:grpSpPr>
          <p:sp>
            <p:nvSpPr>
              <p:cNvPr id="51" name="Freeform 5">
                <a:extLst>
                  <a:ext uri="{FF2B5EF4-FFF2-40B4-BE49-F238E27FC236}">
                    <a16:creationId xmlns:a16="http://schemas.microsoft.com/office/drawing/2014/main" id="{B8EF2F0B-25B8-9E84-5EAC-28AD00FAAD2D}"/>
                  </a:ext>
                </a:extLst>
              </p:cNvPr>
              <p:cNvSpPr>
                <a:spLocks/>
              </p:cNvSpPr>
              <p:nvPr/>
            </p:nvSpPr>
            <p:spPr bwMode="auto">
              <a:xfrm>
                <a:off x="2946" y="1875"/>
                <a:ext cx="1878" cy="730"/>
              </a:xfrm>
              <a:custGeom>
                <a:avLst/>
                <a:gdLst/>
                <a:ahLst/>
                <a:cxnLst>
                  <a:cxn ang="0">
                    <a:pos x="900" y="720"/>
                  </a:cxn>
                  <a:cxn ang="0">
                    <a:pos x="805" y="712"/>
                  </a:cxn>
                  <a:cxn ang="0">
                    <a:pos x="758" y="704"/>
                  </a:cxn>
                  <a:cxn ang="0">
                    <a:pos x="711" y="691"/>
                  </a:cxn>
                  <a:cxn ang="0">
                    <a:pos x="663" y="675"/>
                  </a:cxn>
                  <a:cxn ang="0">
                    <a:pos x="615" y="653"/>
                  </a:cxn>
                  <a:cxn ang="0">
                    <a:pos x="568" y="623"/>
                  </a:cxn>
                  <a:cxn ang="0">
                    <a:pos x="473" y="540"/>
                  </a:cxn>
                  <a:cxn ang="0">
                    <a:pos x="378" y="422"/>
                  </a:cxn>
                  <a:cxn ang="0">
                    <a:pos x="284" y="281"/>
                  </a:cxn>
                  <a:cxn ang="0">
                    <a:pos x="236" y="209"/>
                  </a:cxn>
                  <a:cxn ang="0">
                    <a:pos x="189" y="142"/>
                  </a:cxn>
                  <a:cxn ang="0">
                    <a:pos x="142" y="83"/>
                  </a:cxn>
                  <a:cxn ang="0">
                    <a:pos x="94" y="38"/>
                  </a:cxn>
                  <a:cxn ang="0">
                    <a:pos x="47" y="9"/>
                  </a:cxn>
                  <a:cxn ang="0">
                    <a:pos x="0" y="0"/>
                  </a:cxn>
                </a:cxnLst>
                <a:rect l="0" t="0" r="r" b="b"/>
                <a:pathLst>
                  <a:path w="901" h="721">
                    <a:moveTo>
                      <a:pt x="900" y="720"/>
                    </a:moveTo>
                    <a:lnTo>
                      <a:pt x="805" y="712"/>
                    </a:lnTo>
                    <a:lnTo>
                      <a:pt x="758" y="704"/>
                    </a:lnTo>
                    <a:lnTo>
                      <a:pt x="711" y="691"/>
                    </a:lnTo>
                    <a:lnTo>
                      <a:pt x="663" y="675"/>
                    </a:lnTo>
                    <a:lnTo>
                      <a:pt x="615" y="653"/>
                    </a:lnTo>
                    <a:lnTo>
                      <a:pt x="568" y="623"/>
                    </a:lnTo>
                    <a:lnTo>
                      <a:pt x="473" y="540"/>
                    </a:lnTo>
                    <a:lnTo>
                      <a:pt x="378" y="422"/>
                    </a:lnTo>
                    <a:lnTo>
                      <a:pt x="284" y="281"/>
                    </a:lnTo>
                    <a:lnTo>
                      <a:pt x="236" y="209"/>
                    </a:lnTo>
                    <a:lnTo>
                      <a:pt x="189" y="142"/>
                    </a:lnTo>
                    <a:lnTo>
                      <a:pt x="142" y="83"/>
                    </a:lnTo>
                    <a:lnTo>
                      <a:pt x="94" y="38"/>
                    </a:lnTo>
                    <a:lnTo>
                      <a:pt x="47" y="9"/>
                    </a:lnTo>
                    <a:lnTo>
                      <a:pt x="0" y="0"/>
                    </a:lnTo>
                  </a:path>
                </a:pathLst>
              </a:custGeom>
              <a:noFill/>
              <a:ln w="25400" cap="rnd" cmpd="sng">
                <a:solidFill>
                  <a:srgbClr val="A100FF"/>
                </a:solidFill>
                <a:prstDash val="solid"/>
                <a:round/>
                <a:headEnd type="none" w="med" len="med"/>
                <a:tailEnd type="none" w="med" len="med"/>
              </a:ln>
              <a:effectLst/>
            </p:spPr>
            <p:txBody>
              <a:bodyPr lIns="45720" rIns="45720"/>
              <a:lstStyle/>
              <a:p>
                <a:pPr>
                  <a:defRPr/>
                </a:pPr>
                <a:endParaRPr lang="pt-BR" sz="1400" kern="0" noProof="1">
                  <a:solidFill>
                    <a:srgbClr val="000000"/>
                  </a:solidFill>
                  <a:latin typeface="Graphik" panose="020B0503030202060203" pitchFamily="34" charset="77"/>
                </a:endParaRPr>
              </a:p>
            </p:txBody>
          </p:sp>
          <p:sp>
            <p:nvSpPr>
              <p:cNvPr id="52" name="Freeform 6">
                <a:extLst>
                  <a:ext uri="{FF2B5EF4-FFF2-40B4-BE49-F238E27FC236}">
                    <a16:creationId xmlns:a16="http://schemas.microsoft.com/office/drawing/2014/main" id="{8DECB808-E18A-E52D-94B5-BDB025B71C24}"/>
                  </a:ext>
                </a:extLst>
              </p:cNvPr>
              <p:cNvSpPr>
                <a:spLocks/>
              </p:cNvSpPr>
              <p:nvPr/>
            </p:nvSpPr>
            <p:spPr bwMode="auto">
              <a:xfrm>
                <a:off x="984" y="1875"/>
                <a:ext cx="1980" cy="730"/>
              </a:xfrm>
              <a:custGeom>
                <a:avLst/>
                <a:gdLst/>
                <a:ahLst/>
                <a:cxnLst>
                  <a:cxn ang="0">
                    <a:pos x="0" y="720"/>
                  </a:cxn>
                  <a:cxn ang="0">
                    <a:pos x="95" y="712"/>
                  </a:cxn>
                  <a:cxn ang="0">
                    <a:pos x="142" y="704"/>
                  </a:cxn>
                  <a:cxn ang="0">
                    <a:pos x="189" y="691"/>
                  </a:cxn>
                  <a:cxn ang="0">
                    <a:pos x="237" y="675"/>
                  </a:cxn>
                  <a:cxn ang="0">
                    <a:pos x="284" y="653"/>
                  </a:cxn>
                  <a:cxn ang="0">
                    <a:pos x="331" y="623"/>
                  </a:cxn>
                  <a:cxn ang="0">
                    <a:pos x="426" y="540"/>
                  </a:cxn>
                  <a:cxn ang="0">
                    <a:pos x="521" y="422"/>
                  </a:cxn>
                  <a:cxn ang="0">
                    <a:pos x="616" y="281"/>
                  </a:cxn>
                  <a:cxn ang="0">
                    <a:pos x="663" y="209"/>
                  </a:cxn>
                  <a:cxn ang="0">
                    <a:pos x="710" y="142"/>
                  </a:cxn>
                  <a:cxn ang="0">
                    <a:pos x="757" y="83"/>
                  </a:cxn>
                  <a:cxn ang="0">
                    <a:pos x="805" y="38"/>
                  </a:cxn>
                  <a:cxn ang="0">
                    <a:pos x="852" y="9"/>
                  </a:cxn>
                  <a:cxn ang="0">
                    <a:pos x="900" y="0"/>
                  </a:cxn>
                </a:cxnLst>
                <a:rect l="0" t="0" r="r" b="b"/>
                <a:pathLst>
                  <a:path w="901" h="721">
                    <a:moveTo>
                      <a:pt x="0" y="720"/>
                    </a:moveTo>
                    <a:lnTo>
                      <a:pt x="95" y="712"/>
                    </a:lnTo>
                    <a:lnTo>
                      <a:pt x="142" y="704"/>
                    </a:lnTo>
                    <a:lnTo>
                      <a:pt x="189" y="691"/>
                    </a:lnTo>
                    <a:lnTo>
                      <a:pt x="237" y="675"/>
                    </a:lnTo>
                    <a:lnTo>
                      <a:pt x="284" y="653"/>
                    </a:lnTo>
                    <a:lnTo>
                      <a:pt x="331" y="623"/>
                    </a:lnTo>
                    <a:lnTo>
                      <a:pt x="426" y="540"/>
                    </a:lnTo>
                    <a:lnTo>
                      <a:pt x="521" y="422"/>
                    </a:lnTo>
                    <a:lnTo>
                      <a:pt x="616" y="281"/>
                    </a:lnTo>
                    <a:lnTo>
                      <a:pt x="663" y="209"/>
                    </a:lnTo>
                    <a:lnTo>
                      <a:pt x="710" y="142"/>
                    </a:lnTo>
                    <a:lnTo>
                      <a:pt x="757" y="83"/>
                    </a:lnTo>
                    <a:lnTo>
                      <a:pt x="805" y="38"/>
                    </a:lnTo>
                    <a:lnTo>
                      <a:pt x="852" y="9"/>
                    </a:lnTo>
                    <a:lnTo>
                      <a:pt x="900" y="0"/>
                    </a:lnTo>
                  </a:path>
                </a:pathLst>
              </a:custGeom>
              <a:noFill/>
              <a:ln w="25400" cap="rnd" cmpd="sng">
                <a:solidFill>
                  <a:srgbClr val="A100FF"/>
                </a:solidFill>
                <a:prstDash val="solid"/>
                <a:round/>
                <a:headEnd type="none" w="med" len="med"/>
                <a:tailEnd type="none" w="med" len="med"/>
              </a:ln>
              <a:effectLst/>
            </p:spPr>
            <p:txBody>
              <a:bodyPr lIns="45720" rIns="45720"/>
              <a:lstStyle/>
              <a:p>
                <a:pPr>
                  <a:defRPr/>
                </a:pPr>
                <a:endParaRPr lang="pt-BR" sz="1400" kern="0" noProof="1">
                  <a:solidFill>
                    <a:srgbClr val="000000"/>
                  </a:solidFill>
                  <a:latin typeface="Graphik" panose="020B0503030202060203" pitchFamily="34" charset="77"/>
                </a:endParaRPr>
              </a:p>
            </p:txBody>
          </p:sp>
        </p:grpSp>
        <p:sp>
          <p:nvSpPr>
            <p:cNvPr id="29" name="Freeform 7">
              <a:extLst>
                <a:ext uri="{FF2B5EF4-FFF2-40B4-BE49-F238E27FC236}">
                  <a16:creationId xmlns:a16="http://schemas.microsoft.com/office/drawing/2014/main" id="{44CDE086-3E92-0F33-6E2B-9D6536B8E222}"/>
                </a:ext>
              </a:extLst>
            </p:cNvPr>
            <p:cNvSpPr>
              <a:spLocks/>
            </p:cNvSpPr>
            <p:nvPr/>
          </p:nvSpPr>
          <p:spPr bwMode="auto">
            <a:xfrm>
              <a:off x="3430403" y="2202669"/>
              <a:ext cx="5054785" cy="1801813"/>
            </a:xfrm>
            <a:custGeom>
              <a:avLst/>
              <a:gdLst/>
              <a:ahLst/>
              <a:cxnLst>
                <a:cxn ang="0">
                  <a:pos x="0" y="0"/>
                </a:cxn>
                <a:cxn ang="0">
                  <a:pos x="0" y="764"/>
                </a:cxn>
                <a:cxn ang="0">
                  <a:pos x="1892" y="764"/>
                </a:cxn>
              </a:cxnLst>
              <a:rect l="0" t="0" r="r" b="b"/>
              <a:pathLst>
                <a:path w="1893" h="765">
                  <a:moveTo>
                    <a:pt x="0" y="0"/>
                  </a:moveTo>
                  <a:lnTo>
                    <a:pt x="0" y="764"/>
                  </a:lnTo>
                  <a:lnTo>
                    <a:pt x="1892" y="764"/>
                  </a:lnTo>
                </a:path>
              </a:pathLst>
            </a:custGeom>
            <a:noFill/>
            <a:ln w="6350" cap="rnd" cmpd="sng">
              <a:solidFill>
                <a:srgbClr val="000000"/>
              </a:solidFill>
              <a:prstDash val="solid"/>
              <a:round/>
              <a:headEnd type="triangle" w="med" len="med"/>
              <a:tailEnd type="triangle" w="med" len="med"/>
            </a:ln>
            <a:effectLst/>
          </p:spPr>
          <p:txBody>
            <a:bodyPr lIns="45720" rIns="45720"/>
            <a:lstStyle/>
            <a:p>
              <a:pPr>
                <a:defRPr/>
              </a:pPr>
              <a:endParaRPr lang="pt-BR" sz="1400" kern="0" noProof="1">
                <a:solidFill>
                  <a:srgbClr val="000000"/>
                </a:solidFill>
                <a:latin typeface="Graphik" panose="020B0503030202060203" pitchFamily="34" charset="77"/>
              </a:endParaRPr>
            </a:p>
          </p:txBody>
        </p:sp>
        <p:sp>
          <p:nvSpPr>
            <p:cNvPr id="30" name="Line 8">
              <a:extLst>
                <a:ext uri="{FF2B5EF4-FFF2-40B4-BE49-F238E27FC236}">
                  <a16:creationId xmlns:a16="http://schemas.microsoft.com/office/drawing/2014/main" id="{BF7A6E75-B5C9-2648-573A-96413B966CA5}"/>
                </a:ext>
              </a:extLst>
            </p:cNvPr>
            <p:cNvSpPr>
              <a:spLocks noChangeShapeType="1"/>
            </p:cNvSpPr>
            <p:nvPr/>
          </p:nvSpPr>
          <p:spPr bwMode="auto">
            <a:xfrm flipV="1">
              <a:off x="4430477" y="4280705"/>
              <a:ext cx="2952328" cy="0"/>
            </a:xfrm>
            <a:prstGeom prst="line">
              <a:avLst/>
            </a:prstGeom>
            <a:noFill/>
            <a:ln w="6350">
              <a:solidFill>
                <a:srgbClr val="778888"/>
              </a:solidFill>
              <a:round/>
              <a:headEnd type="triangle" w="med" len="med"/>
              <a:tailEnd type="triangle" w="med" len="med"/>
            </a:ln>
            <a:effectLst/>
          </p:spPr>
          <p:txBody>
            <a:bodyPr lIns="45720" rIns="45720"/>
            <a:lstStyle/>
            <a:p>
              <a:pPr>
                <a:defRPr/>
              </a:pPr>
              <a:endParaRPr lang="pt-BR" sz="1400" kern="0" noProof="1">
                <a:solidFill>
                  <a:srgbClr val="000000"/>
                </a:solidFill>
                <a:latin typeface="Graphik" panose="020B0503030202060203" pitchFamily="34" charset="77"/>
              </a:endParaRPr>
            </a:p>
          </p:txBody>
        </p:sp>
        <p:sp>
          <p:nvSpPr>
            <p:cNvPr id="31" name="Text Box 9">
              <a:extLst>
                <a:ext uri="{FF2B5EF4-FFF2-40B4-BE49-F238E27FC236}">
                  <a16:creationId xmlns:a16="http://schemas.microsoft.com/office/drawing/2014/main" id="{595817ED-861A-AD64-B98A-5CF29FC1C7AB}"/>
                </a:ext>
              </a:extLst>
            </p:cNvPr>
            <p:cNvSpPr txBox="1">
              <a:spLocks noChangeArrowheads="1"/>
            </p:cNvSpPr>
            <p:nvPr/>
          </p:nvSpPr>
          <p:spPr bwMode="auto">
            <a:xfrm>
              <a:off x="7372376" y="4265142"/>
              <a:ext cx="442477" cy="274638"/>
            </a:xfrm>
            <a:prstGeom prst="rect">
              <a:avLst/>
            </a:prstGeom>
            <a:noFill/>
            <a:ln w="6350">
              <a:noFill/>
              <a:miter lim="800000"/>
              <a:headEnd/>
              <a:tailEnd/>
            </a:ln>
            <a:effectLst/>
          </p:spPr>
          <p:txBody>
            <a:bodyPr wrap="none" lIns="45720" rIns="45720"/>
            <a:lstStyle/>
            <a:p>
              <a:pPr eaLnBrk="0" hangingPunct="0">
                <a:spcBef>
                  <a:spcPct val="50000"/>
                </a:spcBef>
                <a:defRPr/>
              </a:pPr>
              <a:r>
                <a:rPr lang="pt-BR" sz="1400" kern="0" noProof="1">
                  <a:solidFill>
                    <a:srgbClr val="000000"/>
                  </a:solidFill>
                  <a:latin typeface="Graphik" panose="020B0503030202060203" pitchFamily="34" charset="77"/>
                </a:rPr>
                <a:t>99.7</a:t>
              </a:r>
            </a:p>
          </p:txBody>
        </p:sp>
        <p:sp>
          <p:nvSpPr>
            <p:cNvPr id="32" name="Line 10">
              <a:extLst>
                <a:ext uri="{FF2B5EF4-FFF2-40B4-BE49-F238E27FC236}">
                  <a16:creationId xmlns:a16="http://schemas.microsoft.com/office/drawing/2014/main" id="{30780422-F267-FAEE-E20C-4A78617F977C}"/>
                </a:ext>
              </a:extLst>
            </p:cNvPr>
            <p:cNvSpPr>
              <a:spLocks noChangeShapeType="1"/>
            </p:cNvSpPr>
            <p:nvPr/>
          </p:nvSpPr>
          <p:spPr bwMode="auto">
            <a:xfrm>
              <a:off x="5576855" y="5060169"/>
              <a:ext cx="729647" cy="0"/>
            </a:xfrm>
            <a:prstGeom prst="line">
              <a:avLst/>
            </a:prstGeom>
            <a:noFill/>
            <a:ln w="6350">
              <a:solidFill>
                <a:srgbClr val="778888"/>
              </a:solidFill>
              <a:round/>
              <a:headEnd type="triangle" w="med" len="med"/>
              <a:tailEnd type="triangle" w="med" len="med"/>
            </a:ln>
            <a:effectLst/>
          </p:spPr>
          <p:txBody>
            <a:bodyPr lIns="45720" rIns="45720"/>
            <a:lstStyle/>
            <a:p>
              <a:pPr>
                <a:defRPr/>
              </a:pPr>
              <a:endParaRPr lang="pt-BR" sz="1400" kern="0" noProof="1">
                <a:solidFill>
                  <a:srgbClr val="000000"/>
                </a:solidFill>
                <a:latin typeface="Graphik" panose="020B0503030202060203" pitchFamily="34" charset="77"/>
              </a:endParaRPr>
            </a:p>
          </p:txBody>
        </p:sp>
        <p:sp>
          <p:nvSpPr>
            <p:cNvPr id="33" name="Text Box 11">
              <a:extLst>
                <a:ext uri="{FF2B5EF4-FFF2-40B4-BE49-F238E27FC236}">
                  <a16:creationId xmlns:a16="http://schemas.microsoft.com/office/drawing/2014/main" id="{8A471C4C-295E-44C0-9A52-630B39867F05}"/>
                </a:ext>
              </a:extLst>
            </p:cNvPr>
            <p:cNvSpPr txBox="1">
              <a:spLocks noChangeArrowheads="1"/>
            </p:cNvSpPr>
            <p:nvPr/>
          </p:nvSpPr>
          <p:spPr bwMode="auto">
            <a:xfrm>
              <a:off x="6306502" y="5017307"/>
              <a:ext cx="442477" cy="274638"/>
            </a:xfrm>
            <a:prstGeom prst="rect">
              <a:avLst/>
            </a:prstGeom>
            <a:noFill/>
            <a:ln w="6350">
              <a:noFill/>
              <a:miter lim="800000"/>
              <a:headEnd/>
              <a:tailEnd/>
            </a:ln>
            <a:effectLst/>
          </p:spPr>
          <p:txBody>
            <a:bodyPr wrap="none" lIns="45720" rIns="45720"/>
            <a:lstStyle/>
            <a:p>
              <a:pPr eaLnBrk="0" hangingPunct="0">
                <a:spcBef>
                  <a:spcPct val="50000"/>
                </a:spcBef>
                <a:defRPr/>
              </a:pPr>
              <a:r>
                <a:rPr lang="pt-BR" sz="1400" kern="0" noProof="1">
                  <a:solidFill>
                    <a:srgbClr val="000000"/>
                  </a:solidFill>
                  <a:latin typeface="Graphik" panose="020B0503030202060203" pitchFamily="34" charset="77"/>
                </a:rPr>
                <a:t>68.3</a:t>
              </a:r>
            </a:p>
          </p:txBody>
        </p:sp>
        <p:sp>
          <p:nvSpPr>
            <p:cNvPr id="34" name="Line 12">
              <a:extLst>
                <a:ext uri="{FF2B5EF4-FFF2-40B4-BE49-F238E27FC236}">
                  <a16:creationId xmlns:a16="http://schemas.microsoft.com/office/drawing/2014/main" id="{9F0DDCFE-A7E5-FDEC-2612-E7558F8AC76D}"/>
                </a:ext>
              </a:extLst>
            </p:cNvPr>
            <p:cNvSpPr>
              <a:spLocks noChangeShapeType="1"/>
            </p:cNvSpPr>
            <p:nvPr/>
          </p:nvSpPr>
          <p:spPr bwMode="auto">
            <a:xfrm flipV="1">
              <a:off x="5080015" y="4653769"/>
              <a:ext cx="1690721" cy="1"/>
            </a:xfrm>
            <a:prstGeom prst="line">
              <a:avLst/>
            </a:prstGeom>
            <a:noFill/>
            <a:ln w="6350">
              <a:solidFill>
                <a:srgbClr val="778888"/>
              </a:solidFill>
              <a:round/>
              <a:headEnd type="triangle" w="med" len="med"/>
              <a:tailEnd type="triangle" w="med" len="med"/>
            </a:ln>
            <a:effectLst/>
          </p:spPr>
          <p:txBody>
            <a:bodyPr lIns="45720" rIns="45720"/>
            <a:lstStyle/>
            <a:p>
              <a:pPr>
                <a:defRPr/>
              </a:pPr>
              <a:endParaRPr lang="pt-BR" sz="1400" kern="0" noProof="1">
                <a:solidFill>
                  <a:srgbClr val="000000"/>
                </a:solidFill>
                <a:latin typeface="Graphik" panose="020B0503030202060203" pitchFamily="34" charset="77"/>
              </a:endParaRPr>
            </a:p>
          </p:txBody>
        </p:sp>
        <p:sp>
          <p:nvSpPr>
            <p:cNvPr id="35" name="Text Box 13">
              <a:extLst>
                <a:ext uri="{FF2B5EF4-FFF2-40B4-BE49-F238E27FC236}">
                  <a16:creationId xmlns:a16="http://schemas.microsoft.com/office/drawing/2014/main" id="{6C0F943E-03CE-7604-30A6-55BD9317ECD8}"/>
                </a:ext>
              </a:extLst>
            </p:cNvPr>
            <p:cNvSpPr txBox="1">
              <a:spLocks noChangeArrowheads="1"/>
            </p:cNvSpPr>
            <p:nvPr/>
          </p:nvSpPr>
          <p:spPr bwMode="auto">
            <a:xfrm>
              <a:off x="6724304" y="4683796"/>
              <a:ext cx="442477" cy="274638"/>
            </a:xfrm>
            <a:prstGeom prst="rect">
              <a:avLst/>
            </a:prstGeom>
            <a:noFill/>
            <a:ln w="6350">
              <a:noFill/>
              <a:miter lim="800000"/>
              <a:headEnd/>
              <a:tailEnd/>
            </a:ln>
            <a:effectLst/>
          </p:spPr>
          <p:txBody>
            <a:bodyPr wrap="none" lIns="45720" rIns="45720"/>
            <a:lstStyle/>
            <a:p>
              <a:pPr eaLnBrk="0" hangingPunct="0">
                <a:spcBef>
                  <a:spcPct val="50000"/>
                </a:spcBef>
                <a:defRPr/>
              </a:pPr>
              <a:r>
                <a:rPr lang="pt-BR" sz="1400" kern="0" noProof="1">
                  <a:solidFill>
                    <a:srgbClr val="000000"/>
                  </a:solidFill>
                  <a:latin typeface="Graphik" panose="020B0503030202060203" pitchFamily="34" charset="77"/>
                </a:rPr>
                <a:t>95.4</a:t>
              </a:r>
            </a:p>
          </p:txBody>
        </p:sp>
        <p:sp>
          <p:nvSpPr>
            <p:cNvPr id="36" name="Line 14">
              <a:extLst>
                <a:ext uri="{FF2B5EF4-FFF2-40B4-BE49-F238E27FC236}">
                  <a16:creationId xmlns:a16="http://schemas.microsoft.com/office/drawing/2014/main" id="{9314048D-DBDF-694D-8456-5BE942DE921C}"/>
                </a:ext>
              </a:extLst>
            </p:cNvPr>
            <p:cNvSpPr>
              <a:spLocks noChangeShapeType="1"/>
            </p:cNvSpPr>
            <p:nvPr/>
          </p:nvSpPr>
          <p:spPr bwMode="auto">
            <a:xfrm>
              <a:off x="5938748" y="4004482"/>
              <a:ext cx="0" cy="1055688"/>
            </a:xfrm>
            <a:prstGeom prst="line">
              <a:avLst/>
            </a:prstGeom>
            <a:noFill/>
            <a:ln w="6350">
              <a:solidFill>
                <a:srgbClr val="778888"/>
              </a:solidFill>
              <a:prstDash val="sysDot"/>
              <a:round/>
              <a:headEnd/>
              <a:tailEnd/>
            </a:ln>
            <a:effectLst/>
          </p:spPr>
          <p:txBody>
            <a:bodyPr lIns="45720" rIns="45720"/>
            <a:lstStyle/>
            <a:p>
              <a:pPr>
                <a:defRPr/>
              </a:pPr>
              <a:endParaRPr lang="pt-BR" sz="1400" kern="0" noProof="1">
                <a:solidFill>
                  <a:srgbClr val="000000"/>
                </a:solidFill>
                <a:latin typeface="Graphik" panose="020B0503030202060203" pitchFamily="34" charset="77"/>
              </a:endParaRPr>
            </a:p>
          </p:txBody>
        </p:sp>
        <p:sp>
          <p:nvSpPr>
            <p:cNvPr id="37" name="Line 15">
              <a:extLst>
                <a:ext uri="{FF2B5EF4-FFF2-40B4-BE49-F238E27FC236}">
                  <a16:creationId xmlns:a16="http://schemas.microsoft.com/office/drawing/2014/main" id="{5CC7428D-A9E5-2C5F-A332-6D2462CD955A}"/>
                </a:ext>
              </a:extLst>
            </p:cNvPr>
            <p:cNvSpPr>
              <a:spLocks noChangeShapeType="1"/>
            </p:cNvSpPr>
            <p:nvPr/>
          </p:nvSpPr>
          <p:spPr bwMode="auto">
            <a:xfrm>
              <a:off x="6309433" y="2661457"/>
              <a:ext cx="0" cy="1343025"/>
            </a:xfrm>
            <a:prstGeom prst="line">
              <a:avLst/>
            </a:prstGeom>
            <a:noFill/>
            <a:ln w="6350">
              <a:solidFill>
                <a:srgbClr val="778888"/>
              </a:solidFill>
              <a:round/>
              <a:headEnd/>
              <a:tailEnd/>
            </a:ln>
            <a:effectLst/>
          </p:spPr>
          <p:txBody>
            <a:bodyPr lIns="45720" rIns="45720"/>
            <a:lstStyle/>
            <a:p>
              <a:pPr>
                <a:defRPr/>
              </a:pPr>
              <a:endParaRPr lang="pt-BR" sz="1400" kern="0" noProof="1">
                <a:solidFill>
                  <a:srgbClr val="000000"/>
                </a:solidFill>
                <a:latin typeface="Graphik" panose="020B0503030202060203" pitchFamily="34" charset="77"/>
              </a:endParaRPr>
            </a:p>
          </p:txBody>
        </p:sp>
        <p:sp>
          <p:nvSpPr>
            <p:cNvPr id="38" name="Line 16">
              <a:extLst>
                <a:ext uri="{FF2B5EF4-FFF2-40B4-BE49-F238E27FC236}">
                  <a16:creationId xmlns:a16="http://schemas.microsoft.com/office/drawing/2014/main" id="{79B556ED-5698-13A6-C3AF-BD008E16F42E}"/>
                </a:ext>
              </a:extLst>
            </p:cNvPr>
            <p:cNvSpPr>
              <a:spLocks noChangeShapeType="1"/>
            </p:cNvSpPr>
            <p:nvPr/>
          </p:nvSpPr>
          <p:spPr bwMode="auto">
            <a:xfrm>
              <a:off x="6806741" y="3228988"/>
              <a:ext cx="0" cy="775494"/>
            </a:xfrm>
            <a:prstGeom prst="line">
              <a:avLst/>
            </a:prstGeom>
            <a:noFill/>
            <a:ln w="6350">
              <a:solidFill>
                <a:srgbClr val="778888"/>
              </a:solidFill>
              <a:round/>
              <a:headEnd/>
              <a:tailEnd/>
            </a:ln>
            <a:effectLst/>
          </p:spPr>
          <p:txBody>
            <a:bodyPr lIns="45720" rIns="45720"/>
            <a:lstStyle/>
            <a:p>
              <a:pPr>
                <a:defRPr/>
              </a:pPr>
              <a:endParaRPr lang="pt-BR" sz="1400" kern="0" noProof="1">
                <a:solidFill>
                  <a:srgbClr val="000000"/>
                </a:solidFill>
                <a:latin typeface="Graphik" panose="020B0503030202060203" pitchFamily="34" charset="77"/>
              </a:endParaRPr>
            </a:p>
          </p:txBody>
        </p:sp>
        <p:sp>
          <p:nvSpPr>
            <p:cNvPr id="39" name="Line 17">
              <a:extLst>
                <a:ext uri="{FF2B5EF4-FFF2-40B4-BE49-F238E27FC236}">
                  <a16:creationId xmlns:a16="http://schemas.microsoft.com/office/drawing/2014/main" id="{C76B2E3F-A870-3BAB-47D6-38659D62FE39}"/>
                </a:ext>
              </a:extLst>
            </p:cNvPr>
            <p:cNvSpPr>
              <a:spLocks noChangeShapeType="1"/>
            </p:cNvSpPr>
            <p:nvPr/>
          </p:nvSpPr>
          <p:spPr bwMode="auto">
            <a:xfrm>
              <a:off x="7382805" y="3729050"/>
              <a:ext cx="0" cy="275432"/>
            </a:xfrm>
            <a:prstGeom prst="line">
              <a:avLst/>
            </a:prstGeom>
            <a:noFill/>
            <a:ln w="6350">
              <a:solidFill>
                <a:srgbClr val="778888"/>
              </a:solidFill>
              <a:round/>
              <a:headEnd/>
              <a:tailEnd/>
            </a:ln>
            <a:effectLst/>
          </p:spPr>
          <p:txBody>
            <a:bodyPr lIns="45720" rIns="45720"/>
            <a:lstStyle/>
            <a:p>
              <a:pPr>
                <a:defRPr/>
              </a:pPr>
              <a:endParaRPr lang="pt-BR" sz="1400" kern="0" noProof="1">
                <a:solidFill>
                  <a:srgbClr val="000000"/>
                </a:solidFill>
                <a:latin typeface="Graphik" panose="020B0503030202060203" pitchFamily="34" charset="77"/>
              </a:endParaRPr>
            </a:p>
          </p:txBody>
        </p:sp>
        <p:sp>
          <p:nvSpPr>
            <p:cNvPr id="40" name="Line 18">
              <a:extLst>
                <a:ext uri="{FF2B5EF4-FFF2-40B4-BE49-F238E27FC236}">
                  <a16:creationId xmlns:a16="http://schemas.microsoft.com/office/drawing/2014/main" id="{7CFB9DF9-7BFB-D5D1-D008-D86D9D1CE36D}"/>
                </a:ext>
              </a:extLst>
            </p:cNvPr>
            <p:cNvSpPr>
              <a:spLocks noChangeShapeType="1"/>
            </p:cNvSpPr>
            <p:nvPr/>
          </p:nvSpPr>
          <p:spPr bwMode="auto">
            <a:xfrm flipH="1">
              <a:off x="7382805" y="4004482"/>
              <a:ext cx="0" cy="246063"/>
            </a:xfrm>
            <a:prstGeom prst="line">
              <a:avLst/>
            </a:prstGeom>
            <a:noFill/>
            <a:ln w="6350" cap="rnd">
              <a:solidFill>
                <a:srgbClr val="778888"/>
              </a:solidFill>
              <a:prstDash val="sysDot"/>
              <a:round/>
              <a:headEnd/>
              <a:tailEnd/>
            </a:ln>
            <a:effectLst/>
          </p:spPr>
          <p:txBody>
            <a:bodyPr lIns="45720" rIns="45720"/>
            <a:lstStyle/>
            <a:p>
              <a:pPr>
                <a:defRPr/>
              </a:pPr>
              <a:endParaRPr lang="pt-BR" sz="1400" kern="0" noProof="1">
                <a:solidFill>
                  <a:srgbClr val="000000"/>
                </a:solidFill>
                <a:latin typeface="Graphik" panose="020B0503030202060203" pitchFamily="34" charset="77"/>
              </a:endParaRPr>
            </a:p>
          </p:txBody>
        </p:sp>
        <p:sp>
          <p:nvSpPr>
            <p:cNvPr id="41" name="Rectangle 19">
              <a:extLst>
                <a:ext uri="{FF2B5EF4-FFF2-40B4-BE49-F238E27FC236}">
                  <a16:creationId xmlns:a16="http://schemas.microsoft.com/office/drawing/2014/main" id="{C1346769-0C71-B715-8B07-9A4925402ECB}"/>
                </a:ext>
              </a:extLst>
            </p:cNvPr>
            <p:cNvSpPr>
              <a:spLocks noChangeArrowheads="1"/>
            </p:cNvSpPr>
            <p:nvPr/>
          </p:nvSpPr>
          <p:spPr bwMode="auto">
            <a:xfrm>
              <a:off x="3028950" y="2302682"/>
              <a:ext cx="401453" cy="271463"/>
            </a:xfrm>
            <a:prstGeom prst="rect">
              <a:avLst/>
            </a:prstGeom>
            <a:noFill/>
            <a:ln w="6350">
              <a:noFill/>
              <a:miter lim="800000"/>
              <a:headEnd/>
              <a:tailEnd/>
            </a:ln>
            <a:effectLst/>
          </p:spPr>
          <p:txBody>
            <a:bodyPr wrap="none" lIns="45720" rIns="45720"/>
            <a:lstStyle/>
            <a:p>
              <a:pPr eaLnBrk="0" hangingPunct="0">
                <a:spcBef>
                  <a:spcPct val="0"/>
                </a:spcBef>
                <a:defRPr/>
              </a:pPr>
              <a:r>
                <a:rPr lang="pt-BR" sz="1400" kern="0" noProof="1">
                  <a:solidFill>
                    <a:srgbClr val="000000"/>
                  </a:solidFill>
                  <a:latin typeface="Graphik" panose="020B0503030202060203" pitchFamily="34" charset="77"/>
                </a:rPr>
                <a:t>f(X)</a:t>
              </a:r>
            </a:p>
          </p:txBody>
        </p:sp>
        <p:sp>
          <p:nvSpPr>
            <p:cNvPr id="42" name="Text Box 20">
              <a:extLst>
                <a:ext uri="{FF2B5EF4-FFF2-40B4-BE49-F238E27FC236}">
                  <a16:creationId xmlns:a16="http://schemas.microsoft.com/office/drawing/2014/main" id="{1A805AF5-3AA7-0485-6476-52692C7A3145}"/>
                </a:ext>
              </a:extLst>
            </p:cNvPr>
            <p:cNvSpPr txBox="1">
              <a:spLocks noChangeArrowheads="1"/>
            </p:cNvSpPr>
            <p:nvPr/>
          </p:nvSpPr>
          <p:spPr bwMode="auto">
            <a:xfrm>
              <a:off x="8140877" y="4006069"/>
              <a:ext cx="247611" cy="274638"/>
            </a:xfrm>
            <a:prstGeom prst="rect">
              <a:avLst/>
            </a:prstGeom>
            <a:noFill/>
            <a:ln w="6350">
              <a:noFill/>
              <a:miter lim="800000"/>
              <a:headEnd/>
              <a:tailEnd/>
            </a:ln>
            <a:effectLst/>
          </p:spPr>
          <p:txBody>
            <a:bodyPr wrap="none" lIns="45720" rIns="45720"/>
            <a:lstStyle/>
            <a:p>
              <a:pPr eaLnBrk="0" hangingPunct="0">
                <a:spcBef>
                  <a:spcPct val="50000"/>
                </a:spcBef>
                <a:defRPr/>
              </a:pPr>
              <a:r>
                <a:rPr lang="pt-BR" sz="1400" kern="0" noProof="1">
                  <a:solidFill>
                    <a:srgbClr val="000000"/>
                  </a:solidFill>
                  <a:latin typeface="Graphik" panose="020B0503030202060203" pitchFamily="34" charset="77"/>
                </a:rPr>
                <a:t>x</a:t>
              </a:r>
            </a:p>
          </p:txBody>
        </p:sp>
        <p:sp>
          <p:nvSpPr>
            <p:cNvPr id="43" name="Line 21">
              <a:extLst>
                <a:ext uri="{FF2B5EF4-FFF2-40B4-BE49-F238E27FC236}">
                  <a16:creationId xmlns:a16="http://schemas.microsoft.com/office/drawing/2014/main" id="{64DA7E44-9B0B-1D33-17A1-271B1B8B174E}"/>
                </a:ext>
              </a:extLst>
            </p:cNvPr>
            <p:cNvSpPr>
              <a:spLocks noChangeShapeType="1"/>
            </p:cNvSpPr>
            <p:nvPr/>
          </p:nvSpPr>
          <p:spPr bwMode="auto">
            <a:xfrm>
              <a:off x="5546601" y="2661457"/>
              <a:ext cx="0" cy="1343025"/>
            </a:xfrm>
            <a:prstGeom prst="line">
              <a:avLst/>
            </a:prstGeom>
            <a:noFill/>
            <a:ln w="6350">
              <a:solidFill>
                <a:srgbClr val="778888"/>
              </a:solidFill>
              <a:round/>
              <a:headEnd/>
              <a:tailEnd/>
            </a:ln>
            <a:effectLst/>
          </p:spPr>
          <p:txBody>
            <a:bodyPr lIns="45720" rIns="45720"/>
            <a:lstStyle/>
            <a:p>
              <a:pPr>
                <a:defRPr/>
              </a:pPr>
              <a:endParaRPr lang="pt-BR" sz="1400" kern="0" noProof="1">
                <a:solidFill>
                  <a:srgbClr val="000000"/>
                </a:solidFill>
                <a:latin typeface="Graphik" panose="020B0503030202060203" pitchFamily="34" charset="77"/>
              </a:endParaRPr>
            </a:p>
          </p:txBody>
        </p:sp>
        <p:sp>
          <p:nvSpPr>
            <p:cNvPr id="44" name="Line 22">
              <a:extLst>
                <a:ext uri="{FF2B5EF4-FFF2-40B4-BE49-F238E27FC236}">
                  <a16:creationId xmlns:a16="http://schemas.microsoft.com/office/drawing/2014/main" id="{D3739C88-FEC0-F569-C674-1A3A931F1275}"/>
                </a:ext>
              </a:extLst>
            </p:cNvPr>
            <p:cNvSpPr>
              <a:spLocks noChangeShapeType="1"/>
            </p:cNvSpPr>
            <p:nvPr/>
          </p:nvSpPr>
          <p:spPr bwMode="auto">
            <a:xfrm>
              <a:off x="6309433" y="4004482"/>
              <a:ext cx="0" cy="1055688"/>
            </a:xfrm>
            <a:prstGeom prst="line">
              <a:avLst/>
            </a:prstGeom>
            <a:noFill/>
            <a:ln w="6350" cap="rnd">
              <a:solidFill>
                <a:srgbClr val="778888"/>
              </a:solidFill>
              <a:prstDash val="sysDot"/>
              <a:round/>
              <a:headEnd/>
              <a:tailEnd/>
            </a:ln>
            <a:effectLst/>
          </p:spPr>
          <p:txBody>
            <a:bodyPr lIns="45720" rIns="45720"/>
            <a:lstStyle/>
            <a:p>
              <a:pPr>
                <a:defRPr/>
              </a:pPr>
              <a:endParaRPr lang="pt-BR" sz="1400" kern="0" noProof="1">
                <a:solidFill>
                  <a:srgbClr val="000000"/>
                </a:solidFill>
                <a:latin typeface="Graphik" panose="020B0503030202060203" pitchFamily="34" charset="77"/>
              </a:endParaRPr>
            </a:p>
          </p:txBody>
        </p:sp>
        <p:sp>
          <p:nvSpPr>
            <p:cNvPr id="45" name="Line 23">
              <a:extLst>
                <a:ext uri="{FF2B5EF4-FFF2-40B4-BE49-F238E27FC236}">
                  <a16:creationId xmlns:a16="http://schemas.microsoft.com/office/drawing/2014/main" id="{ABF809B9-B812-16DC-5062-001D8DE97054}"/>
                </a:ext>
              </a:extLst>
            </p:cNvPr>
            <p:cNvSpPr>
              <a:spLocks noChangeShapeType="1"/>
            </p:cNvSpPr>
            <p:nvPr/>
          </p:nvSpPr>
          <p:spPr bwMode="auto">
            <a:xfrm>
              <a:off x="5565134" y="4004482"/>
              <a:ext cx="0" cy="1055688"/>
            </a:xfrm>
            <a:prstGeom prst="line">
              <a:avLst/>
            </a:prstGeom>
            <a:noFill/>
            <a:ln w="6350" cap="rnd">
              <a:solidFill>
                <a:srgbClr val="778888"/>
              </a:solidFill>
              <a:prstDash val="sysDot"/>
              <a:round/>
              <a:headEnd/>
              <a:tailEnd/>
            </a:ln>
            <a:effectLst/>
          </p:spPr>
          <p:txBody>
            <a:bodyPr lIns="45720" rIns="45720"/>
            <a:lstStyle/>
            <a:p>
              <a:pPr>
                <a:defRPr/>
              </a:pPr>
              <a:endParaRPr lang="pt-BR" sz="1400" kern="0" noProof="1">
                <a:solidFill>
                  <a:srgbClr val="000000"/>
                </a:solidFill>
                <a:latin typeface="Graphik" panose="020B0503030202060203" pitchFamily="34" charset="77"/>
              </a:endParaRPr>
            </a:p>
          </p:txBody>
        </p:sp>
        <p:sp>
          <p:nvSpPr>
            <p:cNvPr id="46" name="Line 24">
              <a:extLst>
                <a:ext uri="{FF2B5EF4-FFF2-40B4-BE49-F238E27FC236}">
                  <a16:creationId xmlns:a16="http://schemas.microsoft.com/office/drawing/2014/main" id="{9F26CB50-D4B4-E212-8A80-D8E71EB2D187}"/>
                </a:ext>
              </a:extLst>
            </p:cNvPr>
            <p:cNvSpPr>
              <a:spLocks noChangeShapeType="1"/>
            </p:cNvSpPr>
            <p:nvPr/>
          </p:nvSpPr>
          <p:spPr bwMode="auto">
            <a:xfrm>
              <a:off x="5042545" y="3228988"/>
              <a:ext cx="0" cy="775494"/>
            </a:xfrm>
            <a:prstGeom prst="line">
              <a:avLst/>
            </a:prstGeom>
            <a:noFill/>
            <a:ln w="6350">
              <a:solidFill>
                <a:srgbClr val="778888"/>
              </a:solidFill>
              <a:round/>
              <a:headEnd/>
              <a:tailEnd/>
            </a:ln>
            <a:effectLst/>
          </p:spPr>
          <p:txBody>
            <a:bodyPr lIns="45720" rIns="45720"/>
            <a:lstStyle/>
            <a:p>
              <a:pPr>
                <a:defRPr/>
              </a:pPr>
              <a:endParaRPr lang="pt-BR" sz="1400" kern="0" noProof="1">
                <a:solidFill>
                  <a:srgbClr val="000000"/>
                </a:solidFill>
                <a:latin typeface="Graphik" panose="020B0503030202060203" pitchFamily="34" charset="77"/>
              </a:endParaRPr>
            </a:p>
          </p:txBody>
        </p:sp>
        <p:sp>
          <p:nvSpPr>
            <p:cNvPr id="47" name="Line 25">
              <a:extLst>
                <a:ext uri="{FF2B5EF4-FFF2-40B4-BE49-F238E27FC236}">
                  <a16:creationId xmlns:a16="http://schemas.microsoft.com/office/drawing/2014/main" id="{855005E8-DAFA-6293-0EFB-1D3A289C929A}"/>
                </a:ext>
              </a:extLst>
            </p:cNvPr>
            <p:cNvSpPr>
              <a:spLocks noChangeShapeType="1"/>
            </p:cNvSpPr>
            <p:nvPr/>
          </p:nvSpPr>
          <p:spPr bwMode="auto">
            <a:xfrm>
              <a:off x="6806741" y="4004482"/>
              <a:ext cx="0" cy="649288"/>
            </a:xfrm>
            <a:prstGeom prst="line">
              <a:avLst/>
            </a:prstGeom>
            <a:noFill/>
            <a:ln w="6350" cap="rnd">
              <a:solidFill>
                <a:srgbClr val="778888"/>
              </a:solidFill>
              <a:prstDash val="sysDot"/>
              <a:round/>
              <a:headEnd/>
              <a:tailEnd/>
            </a:ln>
            <a:effectLst/>
          </p:spPr>
          <p:txBody>
            <a:bodyPr wrap="none" lIns="45720" rIns="45720"/>
            <a:lstStyle/>
            <a:p>
              <a:pPr>
                <a:defRPr/>
              </a:pPr>
              <a:endParaRPr lang="pt-BR" sz="1400" kern="0" noProof="1">
                <a:solidFill>
                  <a:srgbClr val="000000"/>
                </a:solidFill>
                <a:latin typeface="Graphik" panose="020B0503030202060203" pitchFamily="34" charset="77"/>
              </a:endParaRPr>
            </a:p>
          </p:txBody>
        </p:sp>
        <p:sp>
          <p:nvSpPr>
            <p:cNvPr id="48" name="Line 26">
              <a:extLst>
                <a:ext uri="{FF2B5EF4-FFF2-40B4-BE49-F238E27FC236}">
                  <a16:creationId xmlns:a16="http://schemas.microsoft.com/office/drawing/2014/main" id="{8B4189F5-5D26-4449-E133-A41401B57A70}"/>
                </a:ext>
              </a:extLst>
            </p:cNvPr>
            <p:cNvSpPr>
              <a:spLocks noChangeShapeType="1"/>
            </p:cNvSpPr>
            <p:nvPr/>
          </p:nvSpPr>
          <p:spPr bwMode="auto">
            <a:xfrm>
              <a:off x="5042545" y="4004482"/>
              <a:ext cx="0" cy="649288"/>
            </a:xfrm>
            <a:prstGeom prst="line">
              <a:avLst/>
            </a:prstGeom>
            <a:noFill/>
            <a:ln w="6350" cap="rnd">
              <a:solidFill>
                <a:srgbClr val="778888"/>
              </a:solidFill>
              <a:prstDash val="sysDot"/>
              <a:round/>
              <a:headEnd/>
              <a:tailEnd/>
            </a:ln>
            <a:effectLst/>
          </p:spPr>
          <p:txBody>
            <a:bodyPr wrap="none" lIns="45720" rIns="45720"/>
            <a:lstStyle/>
            <a:p>
              <a:pPr>
                <a:defRPr/>
              </a:pPr>
              <a:endParaRPr lang="pt-BR" sz="1400" kern="0" noProof="1">
                <a:solidFill>
                  <a:srgbClr val="000000"/>
                </a:solidFill>
                <a:latin typeface="Graphik" panose="020B0503030202060203" pitchFamily="34" charset="77"/>
              </a:endParaRPr>
            </a:p>
          </p:txBody>
        </p:sp>
        <p:sp>
          <p:nvSpPr>
            <p:cNvPr id="49" name="Line 27">
              <a:extLst>
                <a:ext uri="{FF2B5EF4-FFF2-40B4-BE49-F238E27FC236}">
                  <a16:creationId xmlns:a16="http://schemas.microsoft.com/office/drawing/2014/main" id="{C6D95A72-4801-A087-DA13-09EB7ED1AF38}"/>
                </a:ext>
              </a:extLst>
            </p:cNvPr>
            <p:cNvSpPr>
              <a:spLocks noChangeShapeType="1"/>
            </p:cNvSpPr>
            <p:nvPr/>
          </p:nvSpPr>
          <p:spPr bwMode="auto">
            <a:xfrm>
              <a:off x="4430477" y="3729050"/>
              <a:ext cx="0" cy="275432"/>
            </a:xfrm>
            <a:prstGeom prst="line">
              <a:avLst/>
            </a:prstGeom>
            <a:noFill/>
            <a:ln w="6350">
              <a:solidFill>
                <a:srgbClr val="778888"/>
              </a:solidFill>
              <a:round/>
              <a:headEnd/>
              <a:tailEnd/>
            </a:ln>
            <a:effectLst/>
          </p:spPr>
          <p:txBody>
            <a:bodyPr lIns="45720" rIns="45720"/>
            <a:lstStyle/>
            <a:p>
              <a:pPr>
                <a:defRPr/>
              </a:pPr>
              <a:endParaRPr lang="pt-BR" sz="1400" kern="0" noProof="1">
                <a:solidFill>
                  <a:srgbClr val="000000"/>
                </a:solidFill>
                <a:latin typeface="Graphik" panose="020B0503030202060203" pitchFamily="34" charset="77"/>
              </a:endParaRPr>
            </a:p>
          </p:txBody>
        </p:sp>
        <p:sp>
          <p:nvSpPr>
            <p:cNvPr id="50" name="Line 28">
              <a:extLst>
                <a:ext uri="{FF2B5EF4-FFF2-40B4-BE49-F238E27FC236}">
                  <a16:creationId xmlns:a16="http://schemas.microsoft.com/office/drawing/2014/main" id="{B03B4896-8316-30A0-396E-D50E5CBD4F70}"/>
                </a:ext>
              </a:extLst>
            </p:cNvPr>
            <p:cNvSpPr>
              <a:spLocks noChangeShapeType="1"/>
            </p:cNvSpPr>
            <p:nvPr/>
          </p:nvSpPr>
          <p:spPr bwMode="auto">
            <a:xfrm flipH="1">
              <a:off x="4430477" y="4004482"/>
              <a:ext cx="0" cy="246063"/>
            </a:xfrm>
            <a:prstGeom prst="line">
              <a:avLst/>
            </a:prstGeom>
            <a:noFill/>
            <a:ln w="6350" cap="rnd">
              <a:solidFill>
                <a:srgbClr val="778888"/>
              </a:solidFill>
              <a:prstDash val="sysDot"/>
              <a:round/>
              <a:headEnd/>
              <a:tailEnd/>
            </a:ln>
            <a:effectLst/>
          </p:spPr>
          <p:txBody>
            <a:bodyPr lIns="45720" rIns="45720"/>
            <a:lstStyle/>
            <a:p>
              <a:pPr>
                <a:defRPr/>
              </a:pPr>
              <a:endParaRPr lang="pt-BR" sz="1400" kern="0" noProof="1">
                <a:solidFill>
                  <a:srgbClr val="000000"/>
                </a:solidFill>
                <a:latin typeface="Graphik" panose="020B0503030202060203" pitchFamily="34" charset="77"/>
              </a:endParaRPr>
            </a:p>
          </p:txBody>
        </p:sp>
      </p:grpSp>
      <p:grpSp>
        <p:nvGrpSpPr>
          <p:cNvPr id="53" name="Group 14" descr="Another example of a normal distribution curve with shaded areas representing specific data ranges.">
            <a:extLst>
              <a:ext uri="{FF2B5EF4-FFF2-40B4-BE49-F238E27FC236}">
                <a16:creationId xmlns:a16="http://schemas.microsoft.com/office/drawing/2014/main" id="{07887862-09F0-DA8D-E6D4-A545D86F37BC}"/>
              </a:ext>
            </a:extLst>
          </p:cNvPr>
          <p:cNvGrpSpPr/>
          <p:nvPr/>
        </p:nvGrpSpPr>
        <p:grpSpPr>
          <a:xfrm>
            <a:off x="6231466" y="2687834"/>
            <a:ext cx="4316052" cy="1464989"/>
            <a:chOff x="2553494" y="1599802"/>
            <a:chExt cx="7085012" cy="3788173"/>
          </a:xfrm>
        </p:grpSpPr>
        <p:sp>
          <p:nvSpPr>
            <p:cNvPr id="54" name="Freeform 4">
              <a:extLst>
                <a:ext uri="{FF2B5EF4-FFF2-40B4-BE49-F238E27FC236}">
                  <a16:creationId xmlns:a16="http://schemas.microsoft.com/office/drawing/2014/main" id="{0FE03A1B-E0C7-34E3-B797-DA13713946AC}"/>
                </a:ext>
              </a:extLst>
            </p:cNvPr>
            <p:cNvSpPr>
              <a:spLocks/>
            </p:cNvSpPr>
            <p:nvPr>
              <p:custDataLst>
                <p:tags r:id="rId2"/>
              </p:custDataLst>
            </p:nvPr>
          </p:nvSpPr>
          <p:spPr bwMode="auto">
            <a:xfrm>
              <a:off x="4622006" y="1644650"/>
              <a:ext cx="1398588" cy="3743325"/>
            </a:xfrm>
            <a:custGeom>
              <a:avLst/>
              <a:gdLst/>
              <a:ahLst/>
              <a:cxnLst>
                <a:cxn ang="0">
                  <a:pos x="881" y="0"/>
                </a:cxn>
                <a:cxn ang="0">
                  <a:pos x="787" y="31"/>
                </a:cxn>
                <a:cxn ang="0">
                  <a:pos x="684" y="126"/>
                </a:cxn>
                <a:cxn ang="0">
                  <a:pos x="594" y="240"/>
                </a:cxn>
                <a:cxn ang="0">
                  <a:pos x="505" y="394"/>
                </a:cxn>
                <a:cxn ang="0">
                  <a:pos x="433" y="536"/>
                </a:cxn>
                <a:cxn ang="0">
                  <a:pos x="366" y="672"/>
                </a:cxn>
                <a:cxn ang="0">
                  <a:pos x="277" y="867"/>
                </a:cxn>
                <a:cxn ang="0">
                  <a:pos x="193" y="1045"/>
                </a:cxn>
                <a:cxn ang="0">
                  <a:pos x="115" y="1215"/>
                </a:cxn>
                <a:cxn ang="0">
                  <a:pos x="1" y="1450"/>
                </a:cxn>
                <a:cxn ang="0">
                  <a:pos x="0" y="2358"/>
                </a:cxn>
                <a:cxn ang="0">
                  <a:pos x="881" y="2358"/>
                </a:cxn>
                <a:cxn ang="0">
                  <a:pos x="881" y="0"/>
                </a:cxn>
              </a:cxnLst>
              <a:rect l="0" t="0" r="r" b="b"/>
              <a:pathLst>
                <a:path w="881" h="2358">
                  <a:moveTo>
                    <a:pt x="881" y="0"/>
                  </a:moveTo>
                  <a:cubicBezTo>
                    <a:pt x="881" y="0"/>
                    <a:pt x="820" y="10"/>
                    <a:pt x="787" y="31"/>
                  </a:cubicBezTo>
                  <a:cubicBezTo>
                    <a:pt x="754" y="52"/>
                    <a:pt x="716" y="91"/>
                    <a:pt x="684" y="126"/>
                  </a:cubicBezTo>
                  <a:cubicBezTo>
                    <a:pt x="652" y="161"/>
                    <a:pt x="624" y="195"/>
                    <a:pt x="594" y="240"/>
                  </a:cubicBezTo>
                  <a:lnTo>
                    <a:pt x="505" y="394"/>
                  </a:lnTo>
                  <a:lnTo>
                    <a:pt x="433" y="536"/>
                  </a:lnTo>
                  <a:lnTo>
                    <a:pt x="366" y="672"/>
                  </a:lnTo>
                  <a:lnTo>
                    <a:pt x="277" y="867"/>
                  </a:lnTo>
                  <a:cubicBezTo>
                    <a:pt x="248" y="929"/>
                    <a:pt x="220" y="987"/>
                    <a:pt x="193" y="1045"/>
                  </a:cubicBezTo>
                  <a:cubicBezTo>
                    <a:pt x="166" y="1103"/>
                    <a:pt x="147" y="1148"/>
                    <a:pt x="115" y="1215"/>
                  </a:cubicBezTo>
                  <a:lnTo>
                    <a:pt x="1" y="1450"/>
                  </a:lnTo>
                  <a:lnTo>
                    <a:pt x="0" y="2358"/>
                  </a:lnTo>
                  <a:lnTo>
                    <a:pt x="881" y="2358"/>
                  </a:lnTo>
                  <a:lnTo>
                    <a:pt x="881" y="0"/>
                  </a:lnTo>
                  <a:close/>
                </a:path>
              </a:pathLst>
            </a:custGeom>
            <a:solidFill>
              <a:schemeClr val="accent1"/>
            </a:solidFill>
            <a:ln w="6350" cap="flat" cmpd="sng">
              <a:solidFill>
                <a:schemeClr val="bg1"/>
              </a:solidFill>
              <a:prstDash val="solid"/>
              <a:round/>
              <a:headEnd type="none" w="sm" len="sm"/>
              <a:tailEnd type="none" w="med" len="med"/>
            </a:ln>
            <a:effectLst/>
          </p:spPr>
          <p:txBody>
            <a:bodyPr wrap="none" anchor="ctr"/>
            <a:lstStyle/>
            <a:p>
              <a:endParaRPr lang="pt-BR" sz="1351" noProof="1">
                <a:latin typeface="Graphik" panose="020B0503030202060203" pitchFamily="34" charset="77"/>
              </a:endParaRPr>
            </a:p>
          </p:txBody>
        </p:sp>
        <p:sp>
          <p:nvSpPr>
            <p:cNvPr id="55" name="Freeform 6">
              <a:extLst>
                <a:ext uri="{FF2B5EF4-FFF2-40B4-BE49-F238E27FC236}">
                  <a16:creationId xmlns:a16="http://schemas.microsoft.com/office/drawing/2014/main" id="{8A26C2E9-7A3D-9DA7-2C17-696A2AB44550}"/>
                </a:ext>
              </a:extLst>
            </p:cNvPr>
            <p:cNvSpPr>
              <a:spLocks/>
            </p:cNvSpPr>
            <p:nvPr>
              <p:custDataLst>
                <p:tags r:id="rId3"/>
              </p:custDataLst>
            </p:nvPr>
          </p:nvSpPr>
          <p:spPr bwMode="auto">
            <a:xfrm>
              <a:off x="3459956" y="5113338"/>
              <a:ext cx="246063" cy="274637"/>
            </a:xfrm>
            <a:custGeom>
              <a:avLst/>
              <a:gdLst/>
              <a:ahLst/>
              <a:cxnLst>
                <a:cxn ang="0">
                  <a:pos x="0" y="65"/>
                </a:cxn>
                <a:cxn ang="0">
                  <a:pos x="93" y="38"/>
                </a:cxn>
                <a:cxn ang="0">
                  <a:pos x="192" y="0"/>
                </a:cxn>
                <a:cxn ang="0">
                  <a:pos x="192" y="141"/>
                </a:cxn>
                <a:cxn ang="0">
                  <a:pos x="0" y="141"/>
                </a:cxn>
                <a:cxn ang="0">
                  <a:pos x="0" y="65"/>
                </a:cxn>
              </a:cxnLst>
              <a:rect l="0" t="0" r="r" b="b"/>
              <a:pathLst>
                <a:path w="192" h="141">
                  <a:moveTo>
                    <a:pt x="0" y="65"/>
                  </a:moveTo>
                  <a:lnTo>
                    <a:pt x="93" y="38"/>
                  </a:lnTo>
                  <a:lnTo>
                    <a:pt x="192" y="0"/>
                  </a:lnTo>
                  <a:lnTo>
                    <a:pt x="192" y="141"/>
                  </a:lnTo>
                  <a:lnTo>
                    <a:pt x="0" y="141"/>
                  </a:lnTo>
                  <a:lnTo>
                    <a:pt x="0" y="65"/>
                  </a:lnTo>
                  <a:close/>
                </a:path>
              </a:pathLst>
            </a:custGeom>
            <a:solidFill>
              <a:schemeClr val="accent2"/>
            </a:solidFill>
            <a:ln w="6350" cap="flat" cmpd="sng">
              <a:solidFill>
                <a:schemeClr val="bg1"/>
              </a:solidFill>
              <a:prstDash val="solid"/>
              <a:round/>
              <a:headEnd type="none" w="sm" len="sm"/>
              <a:tailEnd type="none" w="med" len="med"/>
            </a:ln>
            <a:effectLst/>
          </p:spPr>
          <p:txBody>
            <a:bodyPr wrap="none" anchor="ctr"/>
            <a:lstStyle/>
            <a:p>
              <a:endParaRPr lang="pt-BR" sz="1351" noProof="1">
                <a:latin typeface="Graphik" panose="020B0503030202060203" pitchFamily="34" charset="77"/>
              </a:endParaRPr>
            </a:p>
          </p:txBody>
        </p:sp>
        <p:sp>
          <p:nvSpPr>
            <p:cNvPr id="56" name="Freeform 5">
              <a:extLst>
                <a:ext uri="{FF2B5EF4-FFF2-40B4-BE49-F238E27FC236}">
                  <a16:creationId xmlns:a16="http://schemas.microsoft.com/office/drawing/2014/main" id="{3F2B66C9-D87A-B5F4-5DBF-27E79ECD8C2F}"/>
                </a:ext>
              </a:extLst>
            </p:cNvPr>
            <p:cNvSpPr>
              <a:spLocks/>
            </p:cNvSpPr>
            <p:nvPr>
              <p:custDataLst>
                <p:tags r:id="rId4"/>
              </p:custDataLst>
            </p:nvPr>
          </p:nvSpPr>
          <p:spPr bwMode="auto">
            <a:xfrm>
              <a:off x="3701256" y="3944938"/>
              <a:ext cx="920750" cy="1443037"/>
            </a:xfrm>
            <a:custGeom>
              <a:avLst/>
              <a:gdLst/>
              <a:ahLst/>
              <a:cxnLst>
                <a:cxn ang="0">
                  <a:pos x="580" y="0"/>
                </a:cxn>
                <a:cxn ang="0">
                  <a:pos x="472" y="189"/>
                </a:cxn>
                <a:cxn ang="0">
                  <a:pos x="400" y="321"/>
                </a:cxn>
                <a:cxn ang="0">
                  <a:pos x="316" y="424"/>
                </a:cxn>
                <a:cxn ang="0">
                  <a:pos x="183" y="590"/>
                </a:cxn>
                <a:cxn ang="0">
                  <a:pos x="89" y="676"/>
                </a:cxn>
                <a:cxn ang="0">
                  <a:pos x="0" y="738"/>
                </a:cxn>
                <a:cxn ang="0">
                  <a:pos x="0" y="909"/>
                </a:cxn>
                <a:cxn ang="0">
                  <a:pos x="579" y="909"/>
                </a:cxn>
                <a:cxn ang="0">
                  <a:pos x="580" y="0"/>
                </a:cxn>
              </a:cxnLst>
              <a:rect l="0" t="0" r="r" b="b"/>
              <a:pathLst>
                <a:path w="580" h="909">
                  <a:moveTo>
                    <a:pt x="580" y="0"/>
                  </a:moveTo>
                  <a:lnTo>
                    <a:pt x="472" y="189"/>
                  </a:lnTo>
                  <a:lnTo>
                    <a:pt x="400" y="321"/>
                  </a:lnTo>
                  <a:lnTo>
                    <a:pt x="316" y="424"/>
                  </a:lnTo>
                  <a:lnTo>
                    <a:pt x="183" y="590"/>
                  </a:lnTo>
                  <a:lnTo>
                    <a:pt x="89" y="676"/>
                  </a:lnTo>
                  <a:lnTo>
                    <a:pt x="0" y="738"/>
                  </a:lnTo>
                  <a:lnTo>
                    <a:pt x="0" y="909"/>
                  </a:lnTo>
                  <a:lnTo>
                    <a:pt x="579" y="909"/>
                  </a:lnTo>
                  <a:lnTo>
                    <a:pt x="580" y="0"/>
                  </a:lnTo>
                  <a:close/>
                </a:path>
              </a:pathLst>
            </a:custGeom>
            <a:pattFill prst="wdUpDiag">
              <a:fgClr>
                <a:schemeClr val="accent3">
                  <a:lumMod val="20000"/>
                  <a:lumOff val="80000"/>
                </a:schemeClr>
              </a:fgClr>
              <a:bgClr>
                <a:schemeClr val="bg1"/>
              </a:bgClr>
            </a:pattFill>
            <a:ln>
              <a:noFill/>
            </a:ln>
          </p:spPr>
          <p:txBody>
            <a:bodyPr vert="horz" wrap="square" lIns="91440" tIns="45720" rIns="91440" bIns="45720" numCol="1" anchor="t" anchorCtr="0" compatLnSpc="1">
              <a:prstTxWarp prst="textNoShape">
                <a:avLst/>
              </a:prstTxWarp>
            </a:bodyPr>
            <a:lstStyle/>
            <a:p>
              <a:endParaRPr lang="pt-BR" sz="1351" noProof="1">
                <a:latin typeface="Graphik" panose="020B0503030202060203" pitchFamily="34" charset="77"/>
              </a:endParaRPr>
            </a:p>
          </p:txBody>
        </p:sp>
        <p:sp>
          <p:nvSpPr>
            <p:cNvPr id="57" name="Freeform 9">
              <a:extLst>
                <a:ext uri="{FF2B5EF4-FFF2-40B4-BE49-F238E27FC236}">
                  <a16:creationId xmlns:a16="http://schemas.microsoft.com/office/drawing/2014/main" id="{08104256-9123-B6E8-D33F-FE61F9256C5B}"/>
                </a:ext>
              </a:extLst>
            </p:cNvPr>
            <p:cNvSpPr>
              <a:spLocks/>
            </p:cNvSpPr>
            <p:nvPr>
              <p:custDataLst>
                <p:tags r:id="rId5"/>
              </p:custDataLst>
            </p:nvPr>
          </p:nvSpPr>
          <p:spPr bwMode="auto">
            <a:xfrm>
              <a:off x="6020594" y="1599802"/>
              <a:ext cx="1404938" cy="3743325"/>
            </a:xfrm>
            <a:custGeom>
              <a:avLst/>
              <a:gdLst/>
              <a:ahLst/>
              <a:cxnLst>
                <a:cxn ang="0">
                  <a:pos x="0" y="0"/>
                </a:cxn>
                <a:cxn ang="0">
                  <a:pos x="48" y="7"/>
                </a:cxn>
                <a:cxn ang="0">
                  <a:pos x="129" y="54"/>
                </a:cxn>
                <a:cxn ang="0">
                  <a:pos x="185" y="106"/>
                </a:cxn>
                <a:cxn ang="0">
                  <a:pos x="288" y="239"/>
                </a:cxn>
                <a:cxn ang="0">
                  <a:pos x="380" y="394"/>
                </a:cxn>
                <a:cxn ang="0">
                  <a:pos x="452" y="536"/>
                </a:cxn>
                <a:cxn ang="0">
                  <a:pos x="519" y="672"/>
                </a:cxn>
                <a:cxn ang="0">
                  <a:pos x="604" y="867"/>
                </a:cxn>
                <a:cxn ang="0">
                  <a:pos x="687" y="1043"/>
                </a:cxn>
                <a:cxn ang="0">
                  <a:pos x="769" y="1215"/>
                </a:cxn>
                <a:cxn ang="0">
                  <a:pos x="884" y="1450"/>
                </a:cxn>
                <a:cxn ang="0">
                  <a:pos x="885" y="2358"/>
                </a:cxn>
                <a:cxn ang="0">
                  <a:pos x="4" y="2358"/>
                </a:cxn>
                <a:cxn ang="0">
                  <a:pos x="0" y="0"/>
                </a:cxn>
              </a:cxnLst>
              <a:rect l="0" t="0" r="r" b="b"/>
              <a:pathLst>
                <a:path w="885" h="2358">
                  <a:moveTo>
                    <a:pt x="0" y="0"/>
                  </a:moveTo>
                  <a:lnTo>
                    <a:pt x="48" y="7"/>
                  </a:lnTo>
                  <a:cubicBezTo>
                    <a:pt x="69" y="16"/>
                    <a:pt x="106" y="38"/>
                    <a:pt x="129" y="54"/>
                  </a:cubicBezTo>
                  <a:cubicBezTo>
                    <a:pt x="148" y="69"/>
                    <a:pt x="158" y="75"/>
                    <a:pt x="185" y="106"/>
                  </a:cubicBezTo>
                  <a:cubicBezTo>
                    <a:pt x="212" y="137"/>
                    <a:pt x="256" y="191"/>
                    <a:pt x="288" y="239"/>
                  </a:cubicBezTo>
                  <a:cubicBezTo>
                    <a:pt x="320" y="287"/>
                    <a:pt x="353" y="345"/>
                    <a:pt x="380" y="394"/>
                  </a:cubicBezTo>
                  <a:cubicBezTo>
                    <a:pt x="407" y="443"/>
                    <a:pt x="429" y="490"/>
                    <a:pt x="452" y="536"/>
                  </a:cubicBezTo>
                  <a:lnTo>
                    <a:pt x="519" y="672"/>
                  </a:lnTo>
                  <a:lnTo>
                    <a:pt x="604" y="867"/>
                  </a:lnTo>
                  <a:lnTo>
                    <a:pt x="687" y="1043"/>
                  </a:lnTo>
                  <a:lnTo>
                    <a:pt x="769" y="1215"/>
                  </a:lnTo>
                  <a:lnTo>
                    <a:pt x="884" y="1450"/>
                  </a:lnTo>
                  <a:lnTo>
                    <a:pt x="885" y="2358"/>
                  </a:lnTo>
                  <a:lnTo>
                    <a:pt x="4" y="2358"/>
                  </a:lnTo>
                  <a:lnTo>
                    <a:pt x="0" y="0"/>
                  </a:lnTo>
                  <a:close/>
                </a:path>
              </a:pathLst>
            </a:custGeom>
            <a:solidFill>
              <a:schemeClr val="accent1"/>
            </a:solidFill>
            <a:ln w="6350" cap="flat" cmpd="sng">
              <a:solidFill>
                <a:schemeClr val="bg1"/>
              </a:solidFill>
              <a:prstDash val="solid"/>
              <a:round/>
              <a:headEnd type="none" w="sm" len="sm"/>
              <a:tailEnd type="none" w="med" len="med"/>
            </a:ln>
            <a:effectLst/>
          </p:spPr>
          <p:txBody>
            <a:bodyPr wrap="none" anchor="ctr"/>
            <a:lstStyle/>
            <a:p>
              <a:endParaRPr lang="pt-BR" sz="1351" noProof="1">
                <a:latin typeface="Graphik" panose="020B0503030202060203" pitchFamily="34" charset="77"/>
              </a:endParaRPr>
            </a:p>
          </p:txBody>
        </p:sp>
        <p:sp>
          <p:nvSpPr>
            <p:cNvPr id="58" name="Freeform 11">
              <a:extLst>
                <a:ext uri="{FF2B5EF4-FFF2-40B4-BE49-F238E27FC236}">
                  <a16:creationId xmlns:a16="http://schemas.microsoft.com/office/drawing/2014/main" id="{E47B0145-EE41-6991-D141-0D4B14837474}"/>
                </a:ext>
              </a:extLst>
            </p:cNvPr>
            <p:cNvSpPr>
              <a:spLocks/>
            </p:cNvSpPr>
            <p:nvPr>
              <p:custDataLst>
                <p:tags r:id="rId6"/>
              </p:custDataLst>
            </p:nvPr>
          </p:nvSpPr>
          <p:spPr bwMode="auto">
            <a:xfrm flipH="1">
              <a:off x="8338344" y="5113338"/>
              <a:ext cx="246062" cy="274637"/>
            </a:xfrm>
            <a:custGeom>
              <a:avLst/>
              <a:gdLst/>
              <a:ahLst/>
              <a:cxnLst>
                <a:cxn ang="0">
                  <a:pos x="0" y="65"/>
                </a:cxn>
                <a:cxn ang="0">
                  <a:pos x="93" y="38"/>
                </a:cxn>
                <a:cxn ang="0">
                  <a:pos x="192" y="0"/>
                </a:cxn>
                <a:cxn ang="0">
                  <a:pos x="192" y="141"/>
                </a:cxn>
                <a:cxn ang="0">
                  <a:pos x="0" y="141"/>
                </a:cxn>
                <a:cxn ang="0">
                  <a:pos x="0" y="65"/>
                </a:cxn>
              </a:cxnLst>
              <a:rect l="0" t="0" r="r" b="b"/>
              <a:pathLst>
                <a:path w="192" h="141">
                  <a:moveTo>
                    <a:pt x="0" y="65"/>
                  </a:moveTo>
                  <a:lnTo>
                    <a:pt x="93" y="38"/>
                  </a:lnTo>
                  <a:lnTo>
                    <a:pt x="192" y="0"/>
                  </a:lnTo>
                  <a:lnTo>
                    <a:pt x="192" y="141"/>
                  </a:lnTo>
                  <a:lnTo>
                    <a:pt x="0" y="141"/>
                  </a:lnTo>
                  <a:lnTo>
                    <a:pt x="0" y="65"/>
                  </a:lnTo>
                  <a:close/>
                </a:path>
              </a:pathLst>
            </a:custGeom>
            <a:solidFill>
              <a:schemeClr val="accent2"/>
            </a:solidFill>
            <a:ln w="6350" cap="flat" cmpd="sng">
              <a:solidFill>
                <a:schemeClr val="bg1"/>
              </a:solidFill>
              <a:prstDash val="solid"/>
              <a:round/>
              <a:headEnd type="none" w="sm" len="sm"/>
              <a:tailEnd type="none" w="med" len="med"/>
            </a:ln>
            <a:effectLst/>
          </p:spPr>
          <p:txBody>
            <a:bodyPr wrap="none" anchor="ctr"/>
            <a:lstStyle/>
            <a:p>
              <a:endParaRPr lang="pt-BR" sz="1351" noProof="1">
                <a:latin typeface="Graphik" panose="020B0503030202060203" pitchFamily="34" charset="77"/>
              </a:endParaRPr>
            </a:p>
          </p:txBody>
        </p:sp>
        <p:sp>
          <p:nvSpPr>
            <p:cNvPr id="59" name="Freeform 10">
              <a:extLst>
                <a:ext uri="{FF2B5EF4-FFF2-40B4-BE49-F238E27FC236}">
                  <a16:creationId xmlns:a16="http://schemas.microsoft.com/office/drawing/2014/main" id="{DB62DF2C-A2BB-68D3-A879-C9A177DC5B6A}"/>
                </a:ext>
              </a:extLst>
            </p:cNvPr>
            <p:cNvSpPr>
              <a:spLocks/>
            </p:cNvSpPr>
            <p:nvPr>
              <p:custDataLst>
                <p:tags r:id="rId7"/>
              </p:custDataLst>
            </p:nvPr>
          </p:nvSpPr>
          <p:spPr bwMode="auto">
            <a:xfrm>
              <a:off x="7422356" y="3944938"/>
              <a:ext cx="920750" cy="1443037"/>
            </a:xfrm>
            <a:custGeom>
              <a:avLst/>
              <a:gdLst/>
              <a:ahLst/>
              <a:cxnLst>
                <a:cxn ang="0">
                  <a:pos x="0" y="0"/>
                </a:cxn>
                <a:cxn ang="0">
                  <a:pos x="108" y="189"/>
                </a:cxn>
                <a:cxn ang="0">
                  <a:pos x="178" y="316"/>
                </a:cxn>
                <a:cxn ang="0">
                  <a:pos x="264" y="424"/>
                </a:cxn>
                <a:cxn ang="0">
                  <a:pos x="402" y="589"/>
                </a:cxn>
                <a:cxn ang="0">
                  <a:pos x="499" y="675"/>
                </a:cxn>
                <a:cxn ang="0">
                  <a:pos x="580" y="738"/>
                </a:cxn>
                <a:cxn ang="0">
                  <a:pos x="580" y="909"/>
                </a:cxn>
                <a:cxn ang="0">
                  <a:pos x="1" y="909"/>
                </a:cxn>
                <a:cxn ang="0">
                  <a:pos x="0" y="0"/>
                </a:cxn>
              </a:cxnLst>
              <a:rect l="0" t="0" r="r" b="b"/>
              <a:pathLst>
                <a:path w="580" h="909">
                  <a:moveTo>
                    <a:pt x="0" y="0"/>
                  </a:moveTo>
                  <a:lnTo>
                    <a:pt x="108" y="189"/>
                  </a:lnTo>
                  <a:cubicBezTo>
                    <a:pt x="138" y="242"/>
                    <a:pt x="152" y="277"/>
                    <a:pt x="178" y="316"/>
                  </a:cubicBezTo>
                  <a:cubicBezTo>
                    <a:pt x="204" y="355"/>
                    <a:pt x="228" y="378"/>
                    <a:pt x="264" y="424"/>
                  </a:cubicBezTo>
                  <a:cubicBezTo>
                    <a:pt x="301" y="469"/>
                    <a:pt x="363" y="547"/>
                    <a:pt x="402" y="589"/>
                  </a:cubicBezTo>
                  <a:cubicBezTo>
                    <a:pt x="439" y="631"/>
                    <a:pt x="469" y="651"/>
                    <a:pt x="499" y="675"/>
                  </a:cubicBezTo>
                  <a:lnTo>
                    <a:pt x="580" y="738"/>
                  </a:lnTo>
                  <a:lnTo>
                    <a:pt x="580" y="909"/>
                  </a:lnTo>
                  <a:lnTo>
                    <a:pt x="1" y="909"/>
                  </a:lnTo>
                  <a:lnTo>
                    <a:pt x="0" y="0"/>
                  </a:lnTo>
                  <a:close/>
                </a:path>
              </a:pathLst>
            </a:custGeom>
            <a:pattFill prst="wdUpDiag">
              <a:fgClr>
                <a:schemeClr val="accent3">
                  <a:lumMod val="20000"/>
                  <a:lumOff val="80000"/>
                </a:schemeClr>
              </a:fgClr>
              <a:bgClr>
                <a:schemeClr val="bg1"/>
              </a:bgClr>
            </a:pattFill>
            <a:ln>
              <a:noFill/>
            </a:ln>
          </p:spPr>
          <p:txBody>
            <a:bodyPr vert="horz" wrap="square" lIns="91440" tIns="45720" rIns="91440" bIns="45720" numCol="1" anchor="t" anchorCtr="0" compatLnSpc="1">
              <a:prstTxWarp prst="textNoShape">
                <a:avLst/>
              </a:prstTxWarp>
            </a:bodyPr>
            <a:lstStyle/>
            <a:p>
              <a:endParaRPr lang="pt-BR" sz="1351" noProof="1">
                <a:latin typeface="Graphik" panose="020B0503030202060203" pitchFamily="34" charset="77"/>
              </a:endParaRPr>
            </a:p>
          </p:txBody>
        </p:sp>
        <p:sp>
          <p:nvSpPr>
            <p:cNvPr id="60" name="Freeform 8">
              <a:extLst>
                <a:ext uri="{FF2B5EF4-FFF2-40B4-BE49-F238E27FC236}">
                  <a16:creationId xmlns:a16="http://schemas.microsoft.com/office/drawing/2014/main" id="{2480536B-4207-7BCA-F329-698BA44162E1}"/>
                </a:ext>
              </a:extLst>
            </p:cNvPr>
            <p:cNvSpPr>
              <a:spLocks/>
            </p:cNvSpPr>
            <p:nvPr>
              <p:custDataLst>
                <p:tags r:id="rId8"/>
              </p:custDataLst>
            </p:nvPr>
          </p:nvSpPr>
          <p:spPr bwMode="auto">
            <a:xfrm>
              <a:off x="2797969" y="1644650"/>
              <a:ext cx="3225800" cy="3736975"/>
            </a:xfrm>
            <a:custGeom>
              <a:avLst/>
              <a:gdLst/>
              <a:ahLst/>
              <a:cxnLst>
                <a:cxn ang="0">
                  <a:pos x="0" y="2354"/>
                </a:cxn>
                <a:cxn ang="0">
                  <a:pos x="216" y="2328"/>
                </a:cxn>
                <a:cxn ang="0">
                  <a:pos x="324" y="2302"/>
                </a:cxn>
                <a:cxn ang="0">
                  <a:pos x="431" y="2259"/>
                </a:cxn>
                <a:cxn ang="0">
                  <a:pos x="540" y="2208"/>
                </a:cxn>
                <a:cxn ang="0">
                  <a:pos x="647" y="2135"/>
                </a:cxn>
                <a:cxn ang="0">
                  <a:pos x="755" y="2037"/>
                </a:cxn>
                <a:cxn ang="0">
                  <a:pos x="971" y="1766"/>
                </a:cxn>
                <a:cxn ang="0">
                  <a:pos x="1187" y="1380"/>
                </a:cxn>
                <a:cxn ang="0">
                  <a:pos x="1404" y="919"/>
                </a:cxn>
                <a:cxn ang="0">
                  <a:pos x="1511" y="684"/>
                </a:cxn>
                <a:cxn ang="0">
                  <a:pos x="1619" y="465"/>
                </a:cxn>
                <a:cxn ang="0">
                  <a:pos x="1725" y="272"/>
                </a:cxn>
                <a:cxn ang="0">
                  <a:pos x="1835" y="124"/>
                </a:cxn>
                <a:cxn ang="0">
                  <a:pos x="1942" y="30"/>
                </a:cxn>
                <a:cxn ang="0">
                  <a:pos x="2032" y="0"/>
                </a:cxn>
              </a:cxnLst>
              <a:rect l="0" t="0" r="r" b="b"/>
              <a:pathLst>
                <a:path w="2032" h="2354">
                  <a:moveTo>
                    <a:pt x="0" y="2354"/>
                  </a:moveTo>
                  <a:lnTo>
                    <a:pt x="216" y="2328"/>
                  </a:lnTo>
                  <a:lnTo>
                    <a:pt x="324" y="2302"/>
                  </a:lnTo>
                  <a:lnTo>
                    <a:pt x="431" y="2259"/>
                  </a:lnTo>
                  <a:lnTo>
                    <a:pt x="540" y="2208"/>
                  </a:lnTo>
                  <a:lnTo>
                    <a:pt x="647" y="2135"/>
                  </a:lnTo>
                  <a:lnTo>
                    <a:pt x="755" y="2037"/>
                  </a:lnTo>
                  <a:lnTo>
                    <a:pt x="971" y="1766"/>
                  </a:lnTo>
                  <a:lnTo>
                    <a:pt x="1187" y="1380"/>
                  </a:lnTo>
                  <a:lnTo>
                    <a:pt x="1404" y="919"/>
                  </a:lnTo>
                  <a:lnTo>
                    <a:pt x="1511" y="684"/>
                  </a:lnTo>
                  <a:lnTo>
                    <a:pt x="1619" y="465"/>
                  </a:lnTo>
                  <a:lnTo>
                    <a:pt x="1725" y="272"/>
                  </a:lnTo>
                  <a:lnTo>
                    <a:pt x="1835" y="124"/>
                  </a:lnTo>
                  <a:cubicBezTo>
                    <a:pt x="1871" y="84"/>
                    <a:pt x="1909" y="51"/>
                    <a:pt x="1942" y="30"/>
                  </a:cubicBezTo>
                  <a:cubicBezTo>
                    <a:pt x="1975" y="9"/>
                    <a:pt x="2013" y="6"/>
                    <a:pt x="2032" y="0"/>
                  </a:cubicBezTo>
                </a:path>
              </a:pathLst>
            </a:custGeom>
            <a:noFill/>
            <a:ln w="28575" cap="rnd" cmpd="sng">
              <a:solidFill>
                <a:schemeClr val="bg2"/>
              </a:solidFill>
              <a:prstDash val="solid"/>
              <a:round/>
              <a:headEnd type="none" w="med" len="med"/>
              <a:tailEnd type="none" w="med" len="med"/>
            </a:ln>
            <a:effectLst/>
          </p:spPr>
          <p:txBody>
            <a:bodyPr/>
            <a:lstStyle/>
            <a:p>
              <a:endParaRPr lang="pt-BR" sz="1351" noProof="1">
                <a:latin typeface="Graphik" panose="020B0503030202060203" pitchFamily="34" charset="77"/>
              </a:endParaRPr>
            </a:p>
          </p:txBody>
        </p:sp>
        <p:sp>
          <p:nvSpPr>
            <p:cNvPr id="61" name="Freeform 12">
              <a:extLst>
                <a:ext uri="{FF2B5EF4-FFF2-40B4-BE49-F238E27FC236}">
                  <a16:creationId xmlns:a16="http://schemas.microsoft.com/office/drawing/2014/main" id="{B6EE151D-03FA-C74F-D300-D8D27EBBEFA0}"/>
                </a:ext>
              </a:extLst>
            </p:cNvPr>
            <p:cNvSpPr>
              <a:spLocks/>
            </p:cNvSpPr>
            <p:nvPr>
              <p:custDataLst>
                <p:tags r:id="rId9"/>
              </p:custDataLst>
            </p:nvPr>
          </p:nvSpPr>
          <p:spPr bwMode="auto">
            <a:xfrm>
              <a:off x="6020594" y="1649413"/>
              <a:ext cx="3227387" cy="3732212"/>
            </a:xfrm>
            <a:custGeom>
              <a:avLst/>
              <a:gdLst/>
              <a:ahLst/>
              <a:cxnLst>
                <a:cxn ang="0">
                  <a:pos x="2033" y="2351"/>
                </a:cxn>
                <a:cxn ang="0">
                  <a:pos x="1816" y="2325"/>
                </a:cxn>
                <a:cxn ang="0">
                  <a:pos x="1708" y="2299"/>
                </a:cxn>
                <a:cxn ang="0">
                  <a:pos x="1601" y="2256"/>
                </a:cxn>
                <a:cxn ang="0">
                  <a:pos x="1492" y="2205"/>
                </a:cxn>
                <a:cxn ang="0">
                  <a:pos x="1383" y="2132"/>
                </a:cxn>
                <a:cxn ang="0">
                  <a:pos x="1276" y="2034"/>
                </a:cxn>
                <a:cxn ang="0">
                  <a:pos x="1059" y="1763"/>
                </a:cxn>
                <a:cxn ang="0">
                  <a:pos x="842" y="1378"/>
                </a:cxn>
                <a:cxn ang="0">
                  <a:pos x="625" y="917"/>
                </a:cxn>
                <a:cxn ang="0">
                  <a:pos x="517" y="682"/>
                </a:cxn>
                <a:cxn ang="0">
                  <a:pos x="409" y="464"/>
                </a:cxn>
                <a:cxn ang="0">
                  <a:pos x="303" y="271"/>
                </a:cxn>
                <a:cxn ang="0">
                  <a:pos x="192" y="123"/>
                </a:cxn>
                <a:cxn ang="0">
                  <a:pos x="106" y="42"/>
                </a:cxn>
                <a:cxn ang="0">
                  <a:pos x="0" y="0"/>
                </a:cxn>
              </a:cxnLst>
              <a:rect l="0" t="0" r="r" b="b"/>
              <a:pathLst>
                <a:path w="2033" h="2351">
                  <a:moveTo>
                    <a:pt x="2033" y="2351"/>
                  </a:moveTo>
                  <a:lnTo>
                    <a:pt x="1816" y="2325"/>
                  </a:lnTo>
                  <a:lnTo>
                    <a:pt x="1708" y="2299"/>
                  </a:lnTo>
                  <a:lnTo>
                    <a:pt x="1601" y="2256"/>
                  </a:lnTo>
                  <a:lnTo>
                    <a:pt x="1492" y="2205"/>
                  </a:lnTo>
                  <a:lnTo>
                    <a:pt x="1383" y="2132"/>
                  </a:lnTo>
                  <a:lnTo>
                    <a:pt x="1276" y="2034"/>
                  </a:lnTo>
                  <a:lnTo>
                    <a:pt x="1059" y="1763"/>
                  </a:lnTo>
                  <a:lnTo>
                    <a:pt x="842" y="1378"/>
                  </a:lnTo>
                  <a:lnTo>
                    <a:pt x="625" y="917"/>
                  </a:lnTo>
                  <a:lnTo>
                    <a:pt x="517" y="682"/>
                  </a:lnTo>
                  <a:lnTo>
                    <a:pt x="409" y="464"/>
                  </a:lnTo>
                  <a:lnTo>
                    <a:pt x="303" y="271"/>
                  </a:lnTo>
                  <a:lnTo>
                    <a:pt x="192" y="123"/>
                  </a:lnTo>
                  <a:cubicBezTo>
                    <a:pt x="156" y="83"/>
                    <a:pt x="137" y="63"/>
                    <a:pt x="106" y="42"/>
                  </a:cubicBezTo>
                  <a:cubicBezTo>
                    <a:pt x="70" y="16"/>
                    <a:pt x="49" y="1"/>
                    <a:pt x="0" y="0"/>
                  </a:cubicBezTo>
                </a:path>
              </a:pathLst>
            </a:custGeom>
            <a:noFill/>
            <a:ln w="38100" cap="rnd" cmpd="sng">
              <a:solidFill>
                <a:schemeClr val="bg2"/>
              </a:solidFill>
              <a:prstDash val="solid"/>
              <a:round/>
              <a:headEnd type="none" w="med" len="med"/>
              <a:tailEnd type="none" w="med" len="med"/>
            </a:ln>
            <a:effectLst/>
          </p:spPr>
          <p:txBody>
            <a:bodyPr/>
            <a:lstStyle/>
            <a:p>
              <a:endParaRPr lang="pt-BR" sz="1351" noProof="1">
                <a:latin typeface="Graphik" panose="020B0503030202060203" pitchFamily="34" charset="77"/>
              </a:endParaRPr>
            </a:p>
          </p:txBody>
        </p:sp>
        <p:sp>
          <p:nvSpPr>
            <p:cNvPr id="62" name="Line 7">
              <a:extLst>
                <a:ext uri="{FF2B5EF4-FFF2-40B4-BE49-F238E27FC236}">
                  <a16:creationId xmlns:a16="http://schemas.microsoft.com/office/drawing/2014/main" id="{4E9D224B-9AAF-BDE2-AD88-7BFD21BD5CE1}"/>
                </a:ext>
              </a:extLst>
            </p:cNvPr>
            <p:cNvSpPr>
              <a:spLocks noChangeShapeType="1"/>
            </p:cNvSpPr>
            <p:nvPr>
              <p:custDataLst>
                <p:tags r:id="rId10"/>
              </p:custDataLst>
            </p:nvPr>
          </p:nvSpPr>
          <p:spPr bwMode="auto">
            <a:xfrm>
              <a:off x="2553494" y="5387975"/>
              <a:ext cx="7085012" cy="0"/>
            </a:xfrm>
            <a:prstGeom prst="line">
              <a:avLst/>
            </a:prstGeom>
            <a:noFill/>
            <a:ln w="6350">
              <a:solidFill>
                <a:schemeClr val="tx1"/>
              </a:solidFill>
              <a:round/>
              <a:headEnd/>
              <a:tailEnd type="triangle" w="med" len="med"/>
            </a:ln>
            <a:effectLst/>
          </p:spPr>
          <p:txBody>
            <a:bodyPr wrap="none" lIns="36000" tIns="36000" rIns="36000" bIns="36000" anchor="ctr"/>
            <a:lstStyle/>
            <a:p>
              <a:endParaRPr lang="pt-BR" sz="1351" noProof="1">
                <a:latin typeface="Graphik" panose="020B0503030202060203" pitchFamily="34" charset="77"/>
              </a:endParaRPr>
            </a:p>
          </p:txBody>
        </p:sp>
      </p:grpSp>
    </p:spTree>
    <p:extLst>
      <p:ext uri="{BB962C8B-B14F-4D97-AF65-F5344CB8AC3E}">
        <p14:creationId xmlns:p14="http://schemas.microsoft.com/office/powerpoint/2010/main" val="2598249561"/>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0214D9B8-CF58-C655-EB0C-62095179D1B8}"/>
              </a:ext>
            </a:extLst>
          </p:cNvPr>
          <p:cNvGraphicFramePr>
            <a:graphicFrameLocks noChangeAspect="1"/>
          </p:cNvGraphicFramePr>
          <p:nvPr>
            <p:custDataLst>
              <p:tags r:id="rId1"/>
            </p:custDataLst>
            <p:extLst>
              <p:ext uri="{D42A27DB-BD31-4B8C-83A1-F6EECF244321}">
                <p14:modId xmlns:p14="http://schemas.microsoft.com/office/powerpoint/2010/main" val="4213222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50" imgH="350" progId="TCLayout.ActiveDocument.1">
                  <p:embed/>
                </p:oleObj>
              </mc:Choice>
              <mc:Fallback>
                <p:oleObj name="think-cell Slide" r:id="rId15" imgW="350" imgH="350" progId="TCLayout.ActiveDocument.1">
                  <p:embed/>
                  <p:pic>
                    <p:nvPicPr>
                      <p:cNvPr id="23" name="think-cell data - do not delete" hidden="1">
                        <a:extLst>
                          <a:ext uri="{FF2B5EF4-FFF2-40B4-BE49-F238E27FC236}">
                            <a16:creationId xmlns:a16="http://schemas.microsoft.com/office/drawing/2014/main" id="{0214D9B8-CF58-C655-EB0C-62095179D1B8}"/>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vert="horz"/>
          <a:lstStyle/>
          <a:p>
            <a:r>
              <a:rPr lang="pt-BR" noProof="1"/>
              <a:t>Small illustrative graphs</a:t>
            </a:r>
          </a:p>
        </p:txBody>
      </p:sp>
      <p:grpSp>
        <p:nvGrpSpPr>
          <p:cNvPr id="28" name="Group 27" descr="A blank XY with the title “Revenue” in the X axis.">
            <a:extLst>
              <a:ext uri="{FF2B5EF4-FFF2-40B4-BE49-F238E27FC236}">
                <a16:creationId xmlns:a16="http://schemas.microsoft.com/office/drawing/2014/main" id="{4406C2A4-09D2-4764-AA83-2B076DE88BD4}"/>
              </a:ext>
              <a:ext uri="{C183D7F6-B498-43B3-948B-1728B52AA6E4}">
                <adec:decorative xmlns:adec="http://schemas.microsoft.com/office/drawing/2017/decorative" val="0"/>
              </a:ext>
            </a:extLst>
          </p:cNvPr>
          <p:cNvGrpSpPr/>
          <p:nvPr/>
        </p:nvGrpSpPr>
        <p:grpSpPr>
          <a:xfrm>
            <a:off x="1773651" y="1652286"/>
            <a:ext cx="1771651" cy="1920239"/>
            <a:chOff x="512768" y="1402193"/>
            <a:chExt cx="1771650" cy="1920238"/>
          </a:xfrm>
        </p:grpSpPr>
        <p:sp>
          <p:nvSpPr>
            <p:cNvPr id="18" name="Freeform: Shape 17">
              <a:extLst>
                <a:ext uri="{FF2B5EF4-FFF2-40B4-BE49-F238E27FC236}">
                  <a16:creationId xmlns:a16="http://schemas.microsoft.com/office/drawing/2014/main" id="{4EDDE497-5586-49C5-95D5-D4BF229710C1}"/>
                </a:ext>
                <a:ext uri="{C183D7F6-B498-43B3-948B-1728B52AA6E4}">
                  <adec:decorative xmlns:adec="http://schemas.microsoft.com/office/drawing/2017/decorative" val="1"/>
                </a:ext>
              </a:extLst>
            </p:cNvPr>
            <p:cNvSpPr/>
            <p:nvPr/>
          </p:nvSpPr>
          <p:spPr>
            <a:xfrm>
              <a:off x="512768" y="1402193"/>
              <a:ext cx="1771650" cy="1343025"/>
            </a:xfrm>
            <a:custGeom>
              <a:avLst/>
              <a:gdLst>
                <a:gd name="connsiteX0" fmla="*/ 0 w 1771650"/>
                <a:gd name="connsiteY0" fmla="*/ 0 h 1343025"/>
                <a:gd name="connsiteX1" fmla="*/ 0 w 1771650"/>
                <a:gd name="connsiteY1" fmla="*/ 1343025 h 1343025"/>
                <a:gd name="connsiteX2" fmla="*/ 1771650 w 1771650"/>
                <a:gd name="connsiteY2" fmla="*/ 1343025 h 1343025"/>
              </a:gdLst>
              <a:ahLst/>
              <a:cxnLst>
                <a:cxn ang="0">
                  <a:pos x="connsiteX0" y="connsiteY0"/>
                </a:cxn>
                <a:cxn ang="0">
                  <a:pos x="connsiteX1" y="connsiteY1"/>
                </a:cxn>
                <a:cxn ang="0">
                  <a:pos x="connsiteX2" y="connsiteY2"/>
                </a:cxn>
              </a:cxnLst>
              <a:rect l="l" t="t" r="r" b="b"/>
              <a:pathLst>
                <a:path w="1771650" h="1343025">
                  <a:moveTo>
                    <a:pt x="0" y="0"/>
                  </a:moveTo>
                  <a:lnTo>
                    <a:pt x="0" y="1343025"/>
                  </a:lnTo>
                  <a:lnTo>
                    <a:pt x="1771650" y="1343025"/>
                  </a:lnTo>
                </a:path>
              </a:pathLst>
            </a:custGeom>
            <a:noFill/>
            <a:ln w="9525" cap="flat" cmpd="sng" algn="ctr">
              <a:solidFill>
                <a:srgbClr val="77776E"/>
              </a:solidFill>
              <a:prstDash val="solid"/>
              <a:headEnd type="triangle"/>
              <a:tailEnd type="triangle"/>
            </a:ln>
            <a:effectLst/>
          </p:spPr>
          <p:txBody>
            <a:bodyPr rtlCol="0" anchor="ctr"/>
            <a:lstStyle/>
            <a:p>
              <a:pPr algn="ctr">
                <a:defRPr/>
              </a:pPr>
              <a:endParaRPr lang="pt-BR" sz="2400" kern="0" noProof="1">
                <a:solidFill>
                  <a:srgbClr val="77776E"/>
                </a:solidFill>
                <a:latin typeface="Graphik" panose="020B0503030202060203" pitchFamily="34" charset="77"/>
              </a:endParaRPr>
            </a:p>
          </p:txBody>
        </p:sp>
        <p:sp>
          <p:nvSpPr>
            <p:cNvPr id="5" name="Text Box 5">
              <a:extLst>
                <a:ext uri="{FF2B5EF4-FFF2-40B4-BE49-F238E27FC236}">
                  <a16:creationId xmlns:a16="http://schemas.microsoft.com/office/drawing/2014/main" id="{B75BFC59-026D-420F-8E77-6BD5E7AFEA2A}"/>
                </a:ext>
                <a:ext uri="{C183D7F6-B498-43B3-948B-1728B52AA6E4}">
                  <adec:decorative xmlns:adec="http://schemas.microsoft.com/office/drawing/2017/decorative" val="0"/>
                </a:ext>
              </a:extLst>
            </p:cNvPr>
            <p:cNvSpPr txBox="1">
              <a:spLocks noChangeArrowheads="1"/>
            </p:cNvSpPr>
            <p:nvPr>
              <p:custDataLst>
                <p:tags r:id="rId12"/>
              </p:custDataLst>
            </p:nvPr>
          </p:nvSpPr>
          <p:spPr bwMode="auto">
            <a:xfrm>
              <a:off x="530201" y="2823180"/>
              <a:ext cx="1754217" cy="499251"/>
            </a:xfrm>
            <a:prstGeom prst="rect">
              <a:avLst/>
            </a:prstGeom>
            <a:noFill/>
            <a:ln w="6350">
              <a:noFill/>
              <a:miter lim="800000"/>
              <a:headEnd/>
              <a:tailEnd/>
            </a:ln>
          </p:spPr>
          <p:txBody>
            <a:bodyPr lIns="0" rIns="45720"/>
            <a:lstStyle/>
            <a:p>
              <a:pPr eaLnBrk="0" hangingPunct="0">
                <a:lnSpc>
                  <a:spcPct val="80000"/>
                </a:lnSpc>
                <a:spcBef>
                  <a:spcPct val="50000"/>
                </a:spcBef>
                <a:defRPr/>
              </a:pPr>
              <a:r>
                <a:rPr lang="pt-BR" sz="1400" kern="0" noProof="1">
                  <a:solidFill>
                    <a:srgbClr val="000000"/>
                  </a:solidFill>
                  <a:latin typeface="Graphik" panose="020B0503030202060203" pitchFamily="34" charset="77"/>
                </a:rPr>
                <a:t>Revenue</a:t>
              </a:r>
            </a:p>
          </p:txBody>
        </p:sp>
      </p:grpSp>
      <p:grpSp>
        <p:nvGrpSpPr>
          <p:cNvPr id="3" name="Group 2" descr="An ascending line graph representing an increase in sales.">
            <a:extLst>
              <a:ext uri="{FF2B5EF4-FFF2-40B4-BE49-F238E27FC236}">
                <a16:creationId xmlns:a16="http://schemas.microsoft.com/office/drawing/2014/main" id="{1538357B-E554-410B-8BEC-D085C8120EF3}"/>
              </a:ext>
              <a:ext uri="{C183D7F6-B498-43B3-948B-1728B52AA6E4}">
                <adec:decorative xmlns:adec="http://schemas.microsoft.com/office/drawing/2017/decorative" val="0"/>
              </a:ext>
            </a:extLst>
          </p:cNvPr>
          <p:cNvGrpSpPr/>
          <p:nvPr/>
        </p:nvGrpSpPr>
        <p:grpSpPr>
          <a:xfrm>
            <a:off x="4848104" y="1652286"/>
            <a:ext cx="1771651" cy="1920239"/>
            <a:chOff x="3587221" y="1402193"/>
            <a:chExt cx="1771650" cy="1920238"/>
          </a:xfrm>
        </p:grpSpPr>
        <p:sp>
          <p:nvSpPr>
            <p:cNvPr id="6" name="Line 9">
              <a:extLst>
                <a:ext uri="{FF2B5EF4-FFF2-40B4-BE49-F238E27FC236}">
                  <a16:creationId xmlns:a16="http://schemas.microsoft.com/office/drawing/2014/main" id="{30534B52-EF7F-441C-9DEC-FB0545BDABA1}"/>
                </a:ext>
              </a:extLst>
            </p:cNvPr>
            <p:cNvSpPr>
              <a:spLocks noChangeShapeType="1"/>
            </p:cNvSpPr>
            <p:nvPr>
              <p:custDataLst>
                <p:tags r:id="rId10"/>
              </p:custDataLst>
            </p:nvPr>
          </p:nvSpPr>
          <p:spPr bwMode="auto">
            <a:xfrm flipV="1">
              <a:off x="3677539" y="1551117"/>
              <a:ext cx="1410554" cy="1085699"/>
            </a:xfrm>
            <a:prstGeom prst="line">
              <a:avLst/>
            </a:prstGeom>
            <a:noFill/>
            <a:ln w="25400">
              <a:solidFill>
                <a:srgbClr val="A100FF"/>
              </a:solidFill>
              <a:round/>
              <a:headEnd/>
              <a:tailEnd/>
            </a:ln>
          </p:spPr>
          <p:txBody>
            <a:bodyPr wrap="none" lIns="45720" rIns="45720"/>
            <a:lstStyle/>
            <a:p>
              <a:pPr>
                <a:defRPr/>
              </a:pPr>
              <a:endParaRPr lang="pt-BR" sz="1400" kern="0" noProof="1">
                <a:solidFill>
                  <a:srgbClr val="000000"/>
                </a:solidFill>
                <a:latin typeface="Graphik" panose="020B0503030202060203" pitchFamily="34" charset="77"/>
              </a:endParaRPr>
            </a:p>
          </p:txBody>
        </p:sp>
        <p:sp>
          <p:nvSpPr>
            <p:cNvPr id="7" name="Text Box 11" descr="An ascending line graph representing an increase in sales.">
              <a:extLst>
                <a:ext uri="{FF2B5EF4-FFF2-40B4-BE49-F238E27FC236}">
                  <a16:creationId xmlns:a16="http://schemas.microsoft.com/office/drawing/2014/main" id="{8925B2E3-F47C-4ED2-8DDF-7181526874C3}"/>
                </a:ext>
              </a:extLst>
            </p:cNvPr>
            <p:cNvSpPr txBox="1">
              <a:spLocks noChangeArrowheads="1"/>
            </p:cNvSpPr>
            <p:nvPr>
              <p:custDataLst>
                <p:tags r:id="rId11"/>
              </p:custDataLst>
            </p:nvPr>
          </p:nvSpPr>
          <p:spPr bwMode="auto">
            <a:xfrm>
              <a:off x="3587221" y="2823180"/>
              <a:ext cx="1754217" cy="499251"/>
            </a:xfrm>
            <a:prstGeom prst="rect">
              <a:avLst/>
            </a:prstGeom>
            <a:noFill/>
            <a:ln w="6350">
              <a:noFill/>
              <a:miter lim="800000"/>
              <a:headEnd/>
              <a:tailEnd/>
            </a:ln>
          </p:spPr>
          <p:txBody>
            <a:bodyPr lIns="0" rIns="45720"/>
            <a:lstStyle/>
            <a:p>
              <a:pPr eaLnBrk="0" hangingPunct="0">
                <a:lnSpc>
                  <a:spcPct val="80000"/>
                </a:lnSpc>
                <a:spcBef>
                  <a:spcPct val="50000"/>
                </a:spcBef>
                <a:defRPr/>
              </a:pPr>
              <a:r>
                <a:rPr lang="pt-BR" sz="1400" kern="0" noProof="1">
                  <a:solidFill>
                    <a:srgbClr val="000000"/>
                  </a:solidFill>
                  <a:latin typeface="Graphik" panose="020B0503030202060203" pitchFamily="34" charset="77"/>
                </a:rPr>
                <a:t>Sales</a:t>
              </a:r>
            </a:p>
          </p:txBody>
        </p:sp>
        <p:sp>
          <p:nvSpPr>
            <p:cNvPr id="17" name="Freeform: Shape 16">
              <a:extLst>
                <a:ext uri="{FF2B5EF4-FFF2-40B4-BE49-F238E27FC236}">
                  <a16:creationId xmlns:a16="http://schemas.microsoft.com/office/drawing/2014/main" id="{8328C780-CAA7-454F-9FE4-6A1CA22EA3DF}"/>
                </a:ext>
              </a:extLst>
            </p:cNvPr>
            <p:cNvSpPr/>
            <p:nvPr/>
          </p:nvSpPr>
          <p:spPr>
            <a:xfrm>
              <a:off x="3587221" y="1402193"/>
              <a:ext cx="1771650" cy="1343025"/>
            </a:xfrm>
            <a:custGeom>
              <a:avLst/>
              <a:gdLst>
                <a:gd name="connsiteX0" fmla="*/ 0 w 1771650"/>
                <a:gd name="connsiteY0" fmla="*/ 0 h 1343025"/>
                <a:gd name="connsiteX1" fmla="*/ 0 w 1771650"/>
                <a:gd name="connsiteY1" fmla="*/ 1343025 h 1343025"/>
                <a:gd name="connsiteX2" fmla="*/ 1771650 w 1771650"/>
                <a:gd name="connsiteY2" fmla="*/ 1343025 h 1343025"/>
              </a:gdLst>
              <a:ahLst/>
              <a:cxnLst>
                <a:cxn ang="0">
                  <a:pos x="connsiteX0" y="connsiteY0"/>
                </a:cxn>
                <a:cxn ang="0">
                  <a:pos x="connsiteX1" y="connsiteY1"/>
                </a:cxn>
                <a:cxn ang="0">
                  <a:pos x="connsiteX2" y="connsiteY2"/>
                </a:cxn>
              </a:cxnLst>
              <a:rect l="l" t="t" r="r" b="b"/>
              <a:pathLst>
                <a:path w="1771650" h="1343025">
                  <a:moveTo>
                    <a:pt x="0" y="0"/>
                  </a:moveTo>
                  <a:lnTo>
                    <a:pt x="0" y="1343025"/>
                  </a:lnTo>
                  <a:lnTo>
                    <a:pt x="1771650" y="1343025"/>
                  </a:lnTo>
                </a:path>
              </a:pathLst>
            </a:custGeom>
            <a:noFill/>
            <a:ln w="9525" cap="flat" cmpd="sng" algn="ctr">
              <a:solidFill>
                <a:srgbClr val="77776E"/>
              </a:solidFill>
              <a:prstDash val="solid"/>
              <a:headEnd type="triangle"/>
              <a:tailEnd type="triangle"/>
            </a:ln>
            <a:effectLst/>
          </p:spPr>
          <p:txBody>
            <a:bodyPr rtlCol="0" anchor="ctr"/>
            <a:lstStyle/>
            <a:p>
              <a:pPr algn="ctr">
                <a:defRPr/>
              </a:pPr>
              <a:endParaRPr lang="pt-BR" sz="2400" kern="0" noProof="1">
                <a:solidFill>
                  <a:srgbClr val="FFFFFF"/>
                </a:solidFill>
                <a:latin typeface="Graphik" panose="020B0503030202060203" pitchFamily="34" charset="77"/>
              </a:endParaRPr>
            </a:p>
          </p:txBody>
        </p:sp>
      </p:grpSp>
      <p:grpSp>
        <p:nvGrpSpPr>
          <p:cNvPr id="4" name="Group 3" descr="A decreasing curve representing unit costs.">
            <a:extLst>
              <a:ext uri="{FF2B5EF4-FFF2-40B4-BE49-F238E27FC236}">
                <a16:creationId xmlns:a16="http://schemas.microsoft.com/office/drawing/2014/main" id="{C9B16495-D2FD-45DA-A085-FEEC4D3B4379}"/>
              </a:ext>
              <a:ext uri="{C183D7F6-B498-43B3-948B-1728B52AA6E4}">
                <adec:decorative xmlns:adec="http://schemas.microsoft.com/office/drawing/2017/decorative" val="0"/>
              </a:ext>
            </a:extLst>
          </p:cNvPr>
          <p:cNvGrpSpPr/>
          <p:nvPr/>
        </p:nvGrpSpPr>
        <p:grpSpPr>
          <a:xfrm>
            <a:off x="8108323" y="1652286"/>
            <a:ext cx="1771651" cy="1920239"/>
            <a:chOff x="6847440" y="1402193"/>
            <a:chExt cx="1771650" cy="1920238"/>
          </a:xfrm>
        </p:grpSpPr>
        <p:sp>
          <p:nvSpPr>
            <p:cNvPr id="10" name="Arc 20">
              <a:extLst>
                <a:ext uri="{FF2B5EF4-FFF2-40B4-BE49-F238E27FC236}">
                  <a16:creationId xmlns:a16="http://schemas.microsoft.com/office/drawing/2014/main" id="{4165C1B7-8ECB-46C5-BCCB-27E6B8976F56}"/>
                </a:ext>
              </a:extLst>
            </p:cNvPr>
            <p:cNvSpPr>
              <a:spLocks/>
            </p:cNvSpPr>
            <p:nvPr>
              <p:custDataLst>
                <p:tags r:id="rId8"/>
              </p:custDataLst>
            </p:nvPr>
          </p:nvSpPr>
          <p:spPr bwMode="auto">
            <a:xfrm>
              <a:off x="6960284" y="1551117"/>
              <a:ext cx="1653340" cy="1561013"/>
            </a:xfrm>
            <a:custGeom>
              <a:avLst/>
              <a:gdLst>
                <a:gd name="T0" fmla="*/ 0 w 15207"/>
                <a:gd name="T1" fmla="*/ 0 h 21600"/>
                <a:gd name="T2" fmla="*/ 154966069 w 15207"/>
                <a:gd name="T3" fmla="*/ 28186147 h 21600"/>
                <a:gd name="T4" fmla="*/ 0 w 15207"/>
                <a:gd name="T5" fmla="*/ 97255678 h 21600"/>
                <a:gd name="T6" fmla="*/ 0 60000 65536"/>
                <a:gd name="T7" fmla="*/ 0 60000 65536"/>
                <a:gd name="T8" fmla="*/ 0 60000 65536"/>
                <a:gd name="T9" fmla="*/ 0 w 15207"/>
                <a:gd name="T10" fmla="*/ 0 h 21600"/>
                <a:gd name="T11" fmla="*/ 15207 w 15207"/>
                <a:gd name="T12" fmla="*/ 21600 h 21600"/>
              </a:gdLst>
              <a:ahLst/>
              <a:cxnLst>
                <a:cxn ang="T6">
                  <a:pos x="T0" y="T1"/>
                </a:cxn>
                <a:cxn ang="T7">
                  <a:pos x="T2" y="T3"/>
                </a:cxn>
                <a:cxn ang="T8">
                  <a:pos x="T4" y="T5"/>
                </a:cxn>
              </a:cxnLst>
              <a:rect l="T9" t="T10" r="T11" b="T12"/>
              <a:pathLst>
                <a:path w="15207" h="21600" fill="none" extrusionOk="0">
                  <a:moveTo>
                    <a:pt x="-1" y="0"/>
                  </a:moveTo>
                  <a:cubicBezTo>
                    <a:pt x="5696" y="0"/>
                    <a:pt x="11161" y="2249"/>
                    <a:pt x="15206" y="6260"/>
                  </a:cubicBezTo>
                </a:path>
                <a:path w="15207" h="21600" stroke="0" extrusionOk="0">
                  <a:moveTo>
                    <a:pt x="-1" y="0"/>
                  </a:moveTo>
                  <a:cubicBezTo>
                    <a:pt x="5696" y="0"/>
                    <a:pt x="11161" y="2249"/>
                    <a:pt x="15206" y="6260"/>
                  </a:cubicBezTo>
                  <a:lnTo>
                    <a:pt x="0" y="21600"/>
                  </a:lnTo>
                  <a:close/>
                </a:path>
              </a:pathLst>
            </a:custGeom>
            <a:noFill/>
            <a:ln w="25400">
              <a:solidFill>
                <a:srgbClr val="A100FF"/>
              </a:solidFill>
              <a:round/>
              <a:headEnd/>
              <a:tailEnd/>
            </a:ln>
          </p:spPr>
          <p:txBody>
            <a:bodyPr wrap="none" lIns="45720" rIns="45720"/>
            <a:lstStyle/>
            <a:p>
              <a:pPr>
                <a:defRPr/>
              </a:pPr>
              <a:endParaRPr lang="pt-BR" sz="1400" kern="0" noProof="1">
                <a:solidFill>
                  <a:srgbClr val="000000"/>
                </a:solidFill>
                <a:latin typeface="Graphik" panose="020B0503030202060203" pitchFamily="34" charset="77"/>
              </a:endParaRPr>
            </a:p>
          </p:txBody>
        </p:sp>
        <p:sp>
          <p:nvSpPr>
            <p:cNvPr id="11" name="Text Box 21">
              <a:extLst>
                <a:ext uri="{FF2B5EF4-FFF2-40B4-BE49-F238E27FC236}">
                  <a16:creationId xmlns:a16="http://schemas.microsoft.com/office/drawing/2014/main" id="{CAAE1680-9664-40DA-A937-E63D479310BA}"/>
                </a:ext>
              </a:extLst>
            </p:cNvPr>
            <p:cNvSpPr txBox="1">
              <a:spLocks noChangeArrowheads="1"/>
            </p:cNvSpPr>
            <p:nvPr>
              <p:custDataLst>
                <p:tags r:id="rId9"/>
              </p:custDataLst>
            </p:nvPr>
          </p:nvSpPr>
          <p:spPr bwMode="auto">
            <a:xfrm>
              <a:off x="6847440" y="2823180"/>
              <a:ext cx="1754217" cy="499251"/>
            </a:xfrm>
            <a:prstGeom prst="rect">
              <a:avLst/>
            </a:prstGeom>
            <a:noFill/>
            <a:ln w="6350">
              <a:noFill/>
              <a:miter lim="800000"/>
              <a:headEnd/>
              <a:tailEnd/>
            </a:ln>
          </p:spPr>
          <p:txBody>
            <a:bodyPr lIns="0" rIns="45720"/>
            <a:lstStyle/>
            <a:p>
              <a:pPr eaLnBrk="0" hangingPunct="0">
                <a:lnSpc>
                  <a:spcPct val="80000"/>
                </a:lnSpc>
                <a:spcBef>
                  <a:spcPct val="50000"/>
                </a:spcBef>
                <a:defRPr/>
              </a:pPr>
              <a:r>
                <a:rPr lang="pt-BR" sz="1400" kern="0" noProof="1">
                  <a:solidFill>
                    <a:srgbClr val="000000"/>
                  </a:solidFill>
                  <a:latin typeface="Graphik" panose="020B0503030202060203" pitchFamily="34" charset="77"/>
                </a:rPr>
                <a:t>Unit costs</a:t>
              </a:r>
            </a:p>
          </p:txBody>
        </p:sp>
        <p:sp>
          <p:nvSpPr>
            <p:cNvPr id="16" name="Freeform: Shape 15">
              <a:extLst>
                <a:ext uri="{FF2B5EF4-FFF2-40B4-BE49-F238E27FC236}">
                  <a16:creationId xmlns:a16="http://schemas.microsoft.com/office/drawing/2014/main" id="{6A8ECBCC-3244-4138-8FA1-77ED31307EA7}"/>
                </a:ext>
              </a:extLst>
            </p:cNvPr>
            <p:cNvSpPr/>
            <p:nvPr/>
          </p:nvSpPr>
          <p:spPr>
            <a:xfrm>
              <a:off x="6847440" y="1402193"/>
              <a:ext cx="1771650" cy="1343025"/>
            </a:xfrm>
            <a:custGeom>
              <a:avLst/>
              <a:gdLst>
                <a:gd name="connsiteX0" fmla="*/ 0 w 1771650"/>
                <a:gd name="connsiteY0" fmla="*/ 0 h 1343025"/>
                <a:gd name="connsiteX1" fmla="*/ 0 w 1771650"/>
                <a:gd name="connsiteY1" fmla="*/ 1343025 h 1343025"/>
                <a:gd name="connsiteX2" fmla="*/ 1771650 w 1771650"/>
                <a:gd name="connsiteY2" fmla="*/ 1343025 h 1343025"/>
              </a:gdLst>
              <a:ahLst/>
              <a:cxnLst>
                <a:cxn ang="0">
                  <a:pos x="connsiteX0" y="connsiteY0"/>
                </a:cxn>
                <a:cxn ang="0">
                  <a:pos x="connsiteX1" y="connsiteY1"/>
                </a:cxn>
                <a:cxn ang="0">
                  <a:pos x="connsiteX2" y="connsiteY2"/>
                </a:cxn>
              </a:cxnLst>
              <a:rect l="l" t="t" r="r" b="b"/>
              <a:pathLst>
                <a:path w="1771650" h="1343025">
                  <a:moveTo>
                    <a:pt x="0" y="0"/>
                  </a:moveTo>
                  <a:lnTo>
                    <a:pt x="0" y="1343025"/>
                  </a:lnTo>
                  <a:lnTo>
                    <a:pt x="1771650" y="1343025"/>
                  </a:lnTo>
                </a:path>
              </a:pathLst>
            </a:custGeom>
            <a:noFill/>
            <a:ln w="9525" cap="flat" cmpd="sng" algn="ctr">
              <a:solidFill>
                <a:srgbClr val="77776E"/>
              </a:solidFill>
              <a:prstDash val="solid"/>
              <a:headEnd type="triangle"/>
              <a:tailEnd type="triangle"/>
            </a:ln>
            <a:effectLst/>
          </p:spPr>
          <p:txBody>
            <a:bodyPr rtlCol="0" anchor="ctr"/>
            <a:lstStyle/>
            <a:p>
              <a:pPr algn="ctr">
                <a:defRPr/>
              </a:pPr>
              <a:endParaRPr lang="pt-BR" sz="2400" kern="0" noProof="1">
                <a:solidFill>
                  <a:srgbClr val="FFFFFF"/>
                </a:solidFill>
                <a:latin typeface="Graphik" panose="020B0503030202060203" pitchFamily="34" charset="77"/>
              </a:endParaRPr>
            </a:p>
          </p:txBody>
        </p:sp>
      </p:grpSp>
      <p:grpSp>
        <p:nvGrpSpPr>
          <p:cNvPr id="27" name="Group 26" descr="A line graph showing an increase in productivity.">
            <a:extLst>
              <a:ext uri="{FF2B5EF4-FFF2-40B4-BE49-F238E27FC236}">
                <a16:creationId xmlns:a16="http://schemas.microsoft.com/office/drawing/2014/main" id="{A249653A-FA05-4117-9532-ADEF16E9EB84}"/>
              </a:ext>
              <a:ext uri="{C183D7F6-B498-43B3-948B-1728B52AA6E4}">
                <adec:decorative xmlns:adec="http://schemas.microsoft.com/office/drawing/2017/decorative" val="0"/>
              </a:ext>
            </a:extLst>
          </p:cNvPr>
          <p:cNvGrpSpPr/>
          <p:nvPr/>
        </p:nvGrpSpPr>
        <p:grpSpPr>
          <a:xfrm>
            <a:off x="1773651" y="3849505"/>
            <a:ext cx="1771651" cy="2241499"/>
            <a:chOff x="512768" y="3599413"/>
            <a:chExt cx="1771650" cy="2241498"/>
          </a:xfrm>
        </p:grpSpPr>
        <p:sp>
          <p:nvSpPr>
            <p:cNvPr id="8" name="Arc 14">
              <a:extLst>
                <a:ext uri="{FF2B5EF4-FFF2-40B4-BE49-F238E27FC236}">
                  <a16:creationId xmlns:a16="http://schemas.microsoft.com/office/drawing/2014/main" id="{4FA68FE4-0B00-4350-A85B-E6855DD349D2}"/>
                </a:ext>
              </a:extLst>
            </p:cNvPr>
            <p:cNvSpPr>
              <a:spLocks/>
            </p:cNvSpPr>
            <p:nvPr>
              <p:custDataLst>
                <p:tags r:id="rId6"/>
              </p:custDataLst>
            </p:nvPr>
          </p:nvSpPr>
          <p:spPr bwMode="auto">
            <a:xfrm flipV="1">
              <a:off x="617543" y="3599413"/>
              <a:ext cx="1425942" cy="1549045"/>
            </a:xfrm>
            <a:custGeom>
              <a:avLst/>
              <a:gdLst>
                <a:gd name="T0" fmla="*/ 0 w 20509"/>
                <a:gd name="T1" fmla="*/ 0 h 21600"/>
                <a:gd name="T2" fmla="*/ 85470271 w 20509"/>
                <a:gd name="T3" fmla="*/ 65717841 h 21600"/>
                <a:gd name="T4" fmla="*/ 0 w 20509"/>
                <a:gd name="T5" fmla="*/ 95770136 h 21600"/>
                <a:gd name="T6" fmla="*/ 0 60000 65536"/>
                <a:gd name="T7" fmla="*/ 0 60000 65536"/>
                <a:gd name="T8" fmla="*/ 0 60000 65536"/>
                <a:gd name="T9" fmla="*/ 0 w 20509"/>
                <a:gd name="T10" fmla="*/ 0 h 21600"/>
                <a:gd name="T11" fmla="*/ 20509 w 20509"/>
                <a:gd name="T12" fmla="*/ 21600 h 21600"/>
              </a:gdLst>
              <a:ahLst/>
              <a:cxnLst>
                <a:cxn ang="T6">
                  <a:pos x="T0" y="T1"/>
                </a:cxn>
                <a:cxn ang="T7">
                  <a:pos x="T2" y="T3"/>
                </a:cxn>
                <a:cxn ang="T8">
                  <a:pos x="T4" y="T5"/>
                </a:cxn>
              </a:cxnLst>
              <a:rect l="T9" t="T10" r="T11" b="T12"/>
              <a:pathLst>
                <a:path w="20509" h="21600" fill="none" extrusionOk="0">
                  <a:moveTo>
                    <a:pt x="-1" y="0"/>
                  </a:moveTo>
                  <a:cubicBezTo>
                    <a:pt x="9317" y="0"/>
                    <a:pt x="17585" y="5974"/>
                    <a:pt x="20508" y="14822"/>
                  </a:cubicBezTo>
                </a:path>
                <a:path w="20509" h="21600" stroke="0" extrusionOk="0">
                  <a:moveTo>
                    <a:pt x="-1" y="0"/>
                  </a:moveTo>
                  <a:cubicBezTo>
                    <a:pt x="9317" y="0"/>
                    <a:pt x="17585" y="5974"/>
                    <a:pt x="20508" y="14822"/>
                  </a:cubicBezTo>
                  <a:lnTo>
                    <a:pt x="0" y="21600"/>
                  </a:lnTo>
                  <a:close/>
                </a:path>
              </a:pathLst>
            </a:custGeom>
            <a:noFill/>
            <a:ln w="25400">
              <a:solidFill>
                <a:srgbClr val="A100FF"/>
              </a:solidFill>
              <a:round/>
              <a:headEnd/>
              <a:tailEnd/>
            </a:ln>
          </p:spPr>
          <p:txBody>
            <a:bodyPr wrap="none" lIns="45720" rIns="45720"/>
            <a:lstStyle/>
            <a:p>
              <a:pPr>
                <a:defRPr/>
              </a:pPr>
              <a:endParaRPr lang="pt-BR" sz="1400" kern="0" noProof="1">
                <a:solidFill>
                  <a:srgbClr val="000000"/>
                </a:solidFill>
                <a:latin typeface="Graphik" panose="020B0503030202060203" pitchFamily="34" charset="77"/>
              </a:endParaRPr>
            </a:p>
          </p:txBody>
        </p:sp>
        <p:sp>
          <p:nvSpPr>
            <p:cNvPr id="9" name="Text Box 15">
              <a:extLst>
                <a:ext uri="{FF2B5EF4-FFF2-40B4-BE49-F238E27FC236}">
                  <a16:creationId xmlns:a16="http://schemas.microsoft.com/office/drawing/2014/main" id="{997CF4BD-EEC3-4329-BE0D-2EC811EFEE9E}"/>
                </a:ext>
              </a:extLst>
            </p:cNvPr>
            <p:cNvSpPr txBox="1">
              <a:spLocks noChangeArrowheads="1"/>
            </p:cNvSpPr>
            <p:nvPr>
              <p:custDataLst>
                <p:tags r:id="rId7"/>
              </p:custDataLst>
            </p:nvPr>
          </p:nvSpPr>
          <p:spPr bwMode="auto">
            <a:xfrm>
              <a:off x="530201" y="5343371"/>
              <a:ext cx="1754217" cy="497540"/>
            </a:xfrm>
            <a:prstGeom prst="rect">
              <a:avLst/>
            </a:prstGeom>
            <a:noFill/>
            <a:ln w="6350">
              <a:noFill/>
              <a:miter lim="800000"/>
              <a:headEnd/>
              <a:tailEnd/>
            </a:ln>
          </p:spPr>
          <p:txBody>
            <a:bodyPr lIns="0" rIns="45720"/>
            <a:lstStyle/>
            <a:p>
              <a:pPr eaLnBrk="0" hangingPunct="0">
                <a:lnSpc>
                  <a:spcPct val="80000"/>
                </a:lnSpc>
                <a:spcBef>
                  <a:spcPct val="50000"/>
                </a:spcBef>
                <a:defRPr/>
              </a:pPr>
              <a:r>
                <a:rPr lang="pt-BR" sz="1400" kern="0" noProof="1">
                  <a:solidFill>
                    <a:srgbClr val="000000"/>
                  </a:solidFill>
                  <a:latin typeface="Graphik" panose="020B0503030202060203" pitchFamily="34" charset="77"/>
                </a:rPr>
                <a:t>Productivity</a:t>
              </a:r>
            </a:p>
          </p:txBody>
        </p:sp>
        <p:sp>
          <p:nvSpPr>
            <p:cNvPr id="21" name="Freeform: Shape 20">
              <a:extLst>
                <a:ext uri="{FF2B5EF4-FFF2-40B4-BE49-F238E27FC236}">
                  <a16:creationId xmlns:a16="http://schemas.microsoft.com/office/drawing/2014/main" id="{E522EE52-5ED9-49DF-BC27-510299D4B8EF}"/>
                </a:ext>
              </a:extLst>
            </p:cNvPr>
            <p:cNvSpPr/>
            <p:nvPr/>
          </p:nvSpPr>
          <p:spPr>
            <a:xfrm>
              <a:off x="512768" y="3909303"/>
              <a:ext cx="1771650" cy="1343025"/>
            </a:xfrm>
            <a:custGeom>
              <a:avLst/>
              <a:gdLst>
                <a:gd name="connsiteX0" fmla="*/ 0 w 1771650"/>
                <a:gd name="connsiteY0" fmla="*/ 0 h 1343025"/>
                <a:gd name="connsiteX1" fmla="*/ 0 w 1771650"/>
                <a:gd name="connsiteY1" fmla="*/ 1343025 h 1343025"/>
                <a:gd name="connsiteX2" fmla="*/ 1771650 w 1771650"/>
                <a:gd name="connsiteY2" fmla="*/ 1343025 h 1343025"/>
              </a:gdLst>
              <a:ahLst/>
              <a:cxnLst>
                <a:cxn ang="0">
                  <a:pos x="connsiteX0" y="connsiteY0"/>
                </a:cxn>
                <a:cxn ang="0">
                  <a:pos x="connsiteX1" y="connsiteY1"/>
                </a:cxn>
                <a:cxn ang="0">
                  <a:pos x="connsiteX2" y="connsiteY2"/>
                </a:cxn>
              </a:cxnLst>
              <a:rect l="l" t="t" r="r" b="b"/>
              <a:pathLst>
                <a:path w="1771650" h="1343025">
                  <a:moveTo>
                    <a:pt x="0" y="0"/>
                  </a:moveTo>
                  <a:lnTo>
                    <a:pt x="0" y="1343025"/>
                  </a:lnTo>
                  <a:lnTo>
                    <a:pt x="1771650" y="1343025"/>
                  </a:lnTo>
                </a:path>
              </a:pathLst>
            </a:custGeom>
            <a:noFill/>
            <a:ln w="9525" cap="flat" cmpd="sng" algn="ctr">
              <a:solidFill>
                <a:srgbClr val="77776E"/>
              </a:solidFill>
              <a:prstDash val="solid"/>
              <a:headEnd type="triangle"/>
              <a:tailEnd type="triangle"/>
            </a:ln>
            <a:effectLst/>
          </p:spPr>
          <p:txBody>
            <a:bodyPr rtlCol="0" anchor="ctr"/>
            <a:lstStyle/>
            <a:p>
              <a:pPr algn="ctr">
                <a:defRPr/>
              </a:pPr>
              <a:endParaRPr lang="pt-BR" sz="2400" kern="0" noProof="1">
                <a:solidFill>
                  <a:srgbClr val="FFFFFF"/>
                </a:solidFill>
                <a:latin typeface="Graphik" panose="020B0503030202060203" pitchFamily="34" charset="77"/>
              </a:endParaRPr>
            </a:p>
          </p:txBody>
        </p:sp>
      </p:grpSp>
      <p:grpSp>
        <p:nvGrpSpPr>
          <p:cNvPr id="26" name="Group 25" descr="A line graph showing a decrease in operating costs.">
            <a:extLst>
              <a:ext uri="{FF2B5EF4-FFF2-40B4-BE49-F238E27FC236}">
                <a16:creationId xmlns:a16="http://schemas.microsoft.com/office/drawing/2014/main" id="{15336918-B13D-48B3-B0B8-B662D29CF20F}"/>
              </a:ext>
              <a:ext uri="{C183D7F6-B498-43B3-948B-1728B52AA6E4}">
                <adec:decorative xmlns:adec="http://schemas.microsoft.com/office/drawing/2017/decorative" val="0"/>
              </a:ext>
            </a:extLst>
          </p:cNvPr>
          <p:cNvGrpSpPr/>
          <p:nvPr/>
        </p:nvGrpSpPr>
        <p:grpSpPr>
          <a:xfrm>
            <a:off x="4848104" y="4159395"/>
            <a:ext cx="1771651" cy="1931608"/>
            <a:chOff x="3587221" y="3909303"/>
            <a:chExt cx="1771650" cy="1931608"/>
          </a:xfrm>
        </p:grpSpPr>
        <p:sp>
          <p:nvSpPr>
            <p:cNvPr id="14" name="Text Box 29">
              <a:extLst>
                <a:ext uri="{FF2B5EF4-FFF2-40B4-BE49-F238E27FC236}">
                  <a16:creationId xmlns:a16="http://schemas.microsoft.com/office/drawing/2014/main" id="{2949DF43-5E4F-45A2-8EE7-6FE7C6E83145}"/>
                </a:ext>
              </a:extLst>
            </p:cNvPr>
            <p:cNvSpPr txBox="1">
              <a:spLocks noChangeArrowheads="1"/>
            </p:cNvSpPr>
            <p:nvPr>
              <p:custDataLst>
                <p:tags r:id="rId4"/>
              </p:custDataLst>
            </p:nvPr>
          </p:nvSpPr>
          <p:spPr bwMode="auto">
            <a:xfrm>
              <a:off x="3587221" y="5343371"/>
              <a:ext cx="1754217" cy="497540"/>
            </a:xfrm>
            <a:prstGeom prst="rect">
              <a:avLst/>
            </a:prstGeom>
            <a:noFill/>
            <a:ln w="6350">
              <a:noFill/>
              <a:miter lim="800000"/>
              <a:headEnd/>
              <a:tailEnd/>
            </a:ln>
          </p:spPr>
          <p:txBody>
            <a:bodyPr lIns="0" rIns="45720"/>
            <a:lstStyle/>
            <a:p>
              <a:pPr eaLnBrk="0" hangingPunct="0">
                <a:lnSpc>
                  <a:spcPct val="80000"/>
                </a:lnSpc>
                <a:spcBef>
                  <a:spcPct val="50000"/>
                </a:spcBef>
                <a:defRPr/>
              </a:pPr>
              <a:r>
                <a:rPr lang="pt-BR" sz="1400" kern="0" noProof="1">
                  <a:solidFill>
                    <a:srgbClr val="000000"/>
                  </a:solidFill>
                  <a:latin typeface="Graphik" panose="020B0503030202060203" pitchFamily="34" charset="77"/>
                </a:rPr>
                <a:t>Operating cost</a:t>
              </a:r>
            </a:p>
          </p:txBody>
        </p:sp>
        <p:sp>
          <p:nvSpPr>
            <p:cNvPr id="15" name="Line 33">
              <a:extLst>
                <a:ext uri="{FF2B5EF4-FFF2-40B4-BE49-F238E27FC236}">
                  <a16:creationId xmlns:a16="http://schemas.microsoft.com/office/drawing/2014/main" id="{AAC3877D-3EAD-47E8-BCC9-9FD39E5863B9}"/>
                </a:ext>
              </a:extLst>
            </p:cNvPr>
            <p:cNvSpPr>
              <a:spLocks noChangeShapeType="1"/>
            </p:cNvSpPr>
            <p:nvPr>
              <p:custDataLst>
                <p:tags r:id="rId5"/>
              </p:custDataLst>
            </p:nvPr>
          </p:nvSpPr>
          <p:spPr bwMode="auto">
            <a:xfrm>
              <a:off x="3684378" y="4221766"/>
              <a:ext cx="1542206" cy="605256"/>
            </a:xfrm>
            <a:prstGeom prst="line">
              <a:avLst/>
            </a:prstGeom>
            <a:noFill/>
            <a:ln w="25400">
              <a:solidFill>
                <a:srgbClr val="A100FF"/>
              </a:solidFill>
              <a:round/>
              <a:headEnd/>
              <a:tailEnd/>
            </a:ln>
          </p:spPr>
          <p:txBody>
            <a:bodyPr wrap="none" lIns="45720" rIns="45720"/>
            <a:lstStyle/>
            <a:p>
              <a:pPr>
                <a:defRPr/>
              </a:pPr>
              <a:endParaRPr lang="pt-BR" sz="1400" kern="0" noProof="1">
                <a:solidFill>
                  <a:srgbClr val="000000"/>
                </a:solidFill>
                <a:latin typeface="Graphik" panose="020B0503030202060203" pitchFamily="34" charset="77"/>
              </a:endParaRPr>
            </a:p>
          </p:txBody>
        </p:sp>
        <p:sp>
          <p:nvSpPr>
            <p:cNvPr id="20" name="Freeform: Shape 19">
              <a:extLst>
                <a:ext uri="{FF2B5EF4-FFF2-40B4-BE49-F238E27FC236}">
                  <a16:creationId xmlns:a16="http://schemas.microsoft.com/office/drawing/2014/main" id="{580410F5-EFC2-4EA7-BF22-4EC3DFE9E2B9}"/>
                </a:ext>
              </a:extLst>
            </p:cNvPr>
            <p:cNvSpPr/>
            <p:nvPr/>
          </p:nvSpPr>
          <p:spPr>
            <a:xfrm>
              <a:off x="3587221" y="3909303"/>
              <a:ext cx="1771650" cy="1343025"/>
            </a:xfrm>
            <a:custGeom>
              <a:avLst/>
              <a:gdLst>
                <a:gd name="connsiteX0" fmla="*/ 0 w 1771650"/>
                <a:gd name="connsiteY0" fmla="*/ 0 h 1343025"/>
                <a:gd name="connsiteX1" fmla="*/ 0 w 1771650"/>
                <a:gd name="connsiteY1" fmla="*/ 1343025 h 1343025"/>
                <a:gd name="connsiteX2" fmla="*/ 1771650 w 1771650"/>
                <a:gd name="connsiteY2" fmla="*/ 1343025 h 1343025"/>
              </a:gdLst>
              <a:ahLst/>
              <a:cxnLst>
                <a:cxn ang="0">
                  <a:pos x="connsiteX0" y="connsiteY0"/>
                </a:cxn>
                <a:cxn ang="0">
                  <a:pos x="connsiteX1" y="connsiteY1"/>
                </a:cxn>
                <a:cxn ang="0">
                  <a:pos x="connsiteX2" y="connsiteY2"/>
                </a:cxn>
              </a:cxnLst>
              <a:rect l="l" t="t" r="r" b="b"/>
              <a:pathLst>
                <a:path w="1771650" h="1343025">
                  <a:moveTo>
                    <a:pt x="0" y="0"/>
                  </a:moveTo>
                  <a:lnTo>
                    <a:pt x="0" y="1343025"/>
                  </a:lnTo>
                  <a:lnTo>
                    <a:pt x="1771650" y="1343025"/>
                  </a:lnTo>
                </a:path>
              </a:pathLst>
            </a:custGeom>
            <a:noFill/>
            <a:ln w="9525" cap="flat" cmpd="sng" algn="ctr">
              <a:solidFill>
                <a:srgbClr val="77776E"/>
              </a:solidFill>
              <a:prstDash val="solid"/>
              <a:headEnd type="triangle"/>
              <a:tailEnd type="triangle"/>
            </a:ln>
            <a:effectLst/>
          </p:spPr>
          <p:txBody>
            <a:bodyPr rtlCol="0" anchor="ctr"/>
            <a:lstStyle/>
            <a:p>
              <a:pPr algn="ctr">
                <a:defRPr/>
              </a:pPr>
              <a:endParaRPr lang="pt-BR" sz="2400" kern="0" noProof="1">
                <a:solidFill>
                  <a:srgbClr val="FFFFFF"/>
                </a:solidFill>
                <a:latin typeface="Graphik" panose="020B0503030202060203" pitchFamily="34" charset="77"/>
              </a:endParaRPr>
            </a:p>
          </p:txBody>
        </p:sp>
      </p:grpSp>
      <p:grpSp>
        <p:nvGrpSpPr>
          <p:cNvPr id="25" name="Group 24" descr="A curve graph showing a decrease, representing the error rate against another variable.">
            <a:extLst>
              <a:ext uri="{FF2B5EF4-FFF2-40B4-BE49-F238E27FC236}">
                <a16:creationId xmlns:a16="http://schemas.microsoft.com/office/drawing/2014/main" id="{A8EED341-98C1-4936-A3C2-855C652F8D8B}"/>
              </a:ext>
              <a:ext uri="{C183D7F6-B498-43B3-948B-1728B52AA6E4}">
                <adec:decorative xmlns:adec="http://schemas.microsoft.com/office/drawing/2017/decorative" val="0"/>
              </a:ext>
            </a:extLst>
          </p:cNvPr>
          <p:cNvGrpSpPr/>
          <p:nvPr/>
        </p:nvGrpSpPr>
        <p:grpSpPr>
          <a:xfrm>
            <a:off x="8108324" y="4159395"/>
            <a:ext cx="1793875" cy="2034195"/>
            <a:chOff x="6847440" y="3909303"/>
            <a:chExt cx="1793875" cy="2034194"/>
          </a:xfrm>
        </p:grpSpPr>
        <p:sp>
          <p:nvSpPr>
            <p:cNvPr id="12" name="Arc 24">
              <a:extLst>
                <a:ext uri="{FF2B5EF4-FFF2-40B4-BE49-F238E27FC236}">
                  <a16:creationId xmlns:a16="http://schemas.microsoft.com/office/drawing/2014/main" id="{BF35554F-F5D2-4D07-B6B7-3CAADF189C36}"/>
                </a:ext>
              </a:extLst>
            </p:cNvPr>
            <p:cNvSpPr>
              <a:spLocks/>
            </p:cNvSpPr>
            <p:nvPr>
              <p:custDataLst>
                <p:tags r:id="rId2"/>
              </p:custDataLst>
            </p:nvPr>
          </p:nvSpPr>
          <p:spPr bwMode="auto">
            <a:xfrm>
              <a:off x="6949043" y="4228605"/>
              <a:ext cx="1386617" cy="1714892"/>
            </a:xfrm>
            <a:custGeom>
              <a:avLst/>
              <a:gdLst>
                <a:gd name="T0" fmla="*/ 0 w 17492"/>
                <a:gd name="T1" fmla="*/ 0 h 21600"/>
                <a:gd name="T2" fmla="*/ 94760937 w 17492"/>
                <a:gd name="T3" fmla="*/ 48509516 h 21600"/>
                <a:gd name="T4" fmla="*/ 0 w 17492"/>
                <a:gd name="T5" fmla="*/ 117374915 h 21600"/>
                <a:gd name="T6" fmla="*/ 0 60000 65536"/>
                <a:gd name="T7" fmla="*/ 0 60000 65536"/>
                <a:gd name="T8" fmla="*/ 0 60000 65536"/>
                <a:gd name="T9" fmla="*/ 0 w 17492"/>
                <a:gd name="T10" fmla="*/ 0 h 21600"/>
                <a:gd name="T11" fmla="*/ 17492 w 17492"/>
                <a:gd name="T12" fmla="*/ 21600 h 21600"/>
              </a:gdLst>
              <a:ahLst/>
              <a:cxnLst>
                <a:cxn ang="T6">
                  <a:pos x="T0" y="T1"/>
                </a:cxn>
                <a:cxn ang="T7">
                  <a:pos x="T2" y="T3"/>
                </a:cxn>
                <a:cxn ang="T8">
                  <a:pos x="T4" y="T5"/>
                </a:cxn>
              </a:cxnLst>
              <a:rect l="T9" t="T10" r="T11" b="T12"/>
              <a:pathLst>
                <a:path w="17492" h="21600" fill="none" extrusionOk="0">
                  <a:moveTo>
                    <a:pt x="-1" y="0"/>
                  </a:moveTo>
                  <a:cubicBezTo>
                    <a:pt x="6924" y="0"/>
                    <a:pt x="13429" y="3319"/>
                    <a:pt x="17491" y="8927"/>
                  </a:cubicBezTo>
                </a:path>
                <a:path w="17492" h="21600" stroke="0" extrusionOk="0">
                  <a:moveTo>
                    <a:pt x="-1" y="0"/>
                  </a:moveTo>
                  <a:cubicBezTo>
                    <a:pt x="6924" y="0"/>
                    <a:pt x="13429" y="3319"/>
                    <a:pt x="17491" y="8927"/>
                  </a:cubicBezTo>
                  <a:lnTo>
                    <a:pt x="0" y="21600"/>
                  </a:lnTo>
                  <a:close/>
                </a:path>
              </a:pathLst>
            </a:custGeom>
            <a:noFill/>
            <a:ln w="25400">
              <a:solidFill>
                <a:srgbClr val="A100FF"/>
              </a:solidFill>
              <a:round/>
              <a:headEnd/>
              <a:tailEnd/>
            </a:ln>
          </p:spPr>
          <p:txBody>
            <a:bodyPr wrap="none" lIns="45720" rIns="45720"/>
            <a:lstStyle/>
            <a:p>
              <a:pPr>
                <a:defRPr/>
              </a:pPr>
              <a:endParaRPr lang="pt-BR" sz="1400" kern="0" noProof="1">
                <a:solidFill>
                  <a:srgbClr val="000000"/>
                </a:solidFill>
                <a:latin typeface="Graphik" panose="020B0503030202060203" pitchFamily="34" charset="77"/>
              </a:endParaRPr>
            </a:p>
          </p:txBody>
        </p:sp>
        <p:sp>
          <p:nvSpPr>
            <p:cNvPr id="13" name="Text Box 25">
              <a:extLst>
                <a:ext uri="{FF2B5EF4-FFF2-40B4-BE49-F238E27FC236}">
                  <a16:creationId xmlns:a16="http://schemas.microsoft.com/office/drawing/2014/main" id="{C3808D3B-5503-4DF8-ABED-F7C7013DC5B1}"/>
                </a:ext>
              </a:extLst>
            </p:cNvPr>
            <p:cNvSpPr txBox="1">
              <a:spLocks noChangeArrowheads="1"/>
            </p:cNvSpPr>
            <p:nvPr>
              <p:custDataLst>
                <p:tags r:id="rId3"/>
              </p:custDataLst>
            </p:nvPr>
          </p:nvSpPr>
          <p:spPr bwMode="auto">
            <a:xfrm>
              <a:off x="6847440" y="5343371"/>
              <a:ext cx="1754217" cy="497540"/>
            </a:xfrm>
            <a:prstGeom prst="rect">
              <a:avLst/>
            </a:prstGeom>
            <a:noFill/>
            <a:ln w="6350">
              <a:noFill/>
              <a:miter lim="800000"/>
              <a:headEnd/>
              <a:tailEnd/>
            </a:ln>
          </p:spPr>
          <p:txBody>
            <a:bodyPr lIns="0" rIns="45720"/>
            <a:lstStyle/>
            <a:p>
              <a:pPr eaLnBrk="0" hangingPunct="0">
                <a:lnSpc>
                  <a:spcPct val="80000"/>
                </a:lnSpc>
                <a:spcBef>
                  <a:spcPct val="50000"/>
                </a:spcBef>
                <a:defRPr/>
              </a:pPr>
              <a:r>
                <a:rPr lang="pt-BR" sz="1400" kern="0" noProof="1">
                  <a:solidFill>
                    <a:srgbClr val="000000"/>
                  </a:solidFill>
                  <a:latin typeface="Graphik" panose="020B0503030202060203" pitchFamily="34" charset="77"/>
                </a:rPr>
                <a:t>Error rate</a:t>
              </a:r>
            </a:p>
          </p:txBody>
        </p:sp>
        <p:sp>
          <p:nvSpPr>
            <p:cNvPr id="19" name="Freeform: Shape 18">
              <a:extLst>
                <a:ext uri="{FF2B5EF4-FFF2-40B4-BE49-F238E27FC236}">
                  <a16:creationId xmlns:a16="http://schemas.microsoft.com/office/drawing/2014/main" id="{00EDF099-040D-47B0-85A1-82A598B47A22}"/>
                </a:ext>
              </a:extLst>
            </p:cNvPr>
            <p:cNvSpPr/>
            <p:nvPr/>
          </p:nvSpPr>
          <p:spPr>
            <a:xfrm>
              <a:off x="6869665" y="3909303"/>
              <a:ext cx="1771650" cy="1343025"/>
            </a:xfrm>
            <a:custGeom>
              <a:avLst/>
              <a:gdLst>
                <a:gd name="connsiteX0" fmla="*/ 0 w 1771650"/>
                <a:gd name="connsiteY0" fmla="*/ 0 h 1343025"/>
                <a:gd name="connsiteX1" fmla="*/ 0 w 1771650"/>
                <a:gd name="connsiteY1" fmla="*/ 1343025 h 1343025"/>
                <a:gd name="connsiteX2" fmla="*/ 1771650 w 1771650"/>
                <a:gd name="connsiteY2" fmla="*/ 1343025 h 1343025"/>
              </a:gdLst>
              <a:ahLst/>
              <a:cxnLst>
                <a:cxn ang="0">
                  <a:pos x="connsiteX0" y="connsiteY0"/>
                </a:cxn>
                <a:cxn ang="0">
                  <a:pos x="connsiteX1" y="connsiteY1"/>
                </a:cxn>
                <a:cxn ang="0">
                  <a:pos x="connsiteX2" y="connsiteY2"/>
                </a:cxn>
              </a:cxnLst>
              <a:rect l="l" t="t" r="r" b="b"/>
              <a:pathLst>
                <a:path w="1771650" h="1343025">
                  <a:moveTo>
                    <a:pt x="0" y="0"/>
                  </a:moveTo>
                  <a:lnTo>
                    <a:pt x="0" y="1343025"/>
                  </a:lnTo>
                  <a:lnTo>
                    <a:pt x="1771650" y="1343025"/>
                  </a:lnTo>
                </a:path>
              </a:pathLst>
            </a:custGeom>
            <a:noFill/>
            <a:ln w="9525" cap="flat" cmpd="sng" algn="ctr">
              <a:solidFill>
                <a:srgbClr val="77776E"/>
              </a:solidFill>
              <a:prstDash val="solid"/>
              <a:headEnd type="triangle"/>
              <a:tailEnd type="triangle"/>
            </a:ln>
            <a:effectLst/>
          </p:spPr>
          <p:txBody>
            <a:bodyPr rtlCol="0" anchor="ctr"/>
            <a:lstStyle/>
            <a:p>
              <a:pPr algn="ctr">
                <a:defRPr/>
              </a:pPr>
              <a:endParaRPr lang="pt-BR" sz="2400" kern="0" noProof="1">
                <a:solidFill>
                  <a:srgbClr val="FFFFFF"/>
                </a:solidFill>
                <a:latin typeface="Graphik" panose="020B0503030202060203" pitchFamily="34" charset="77"/>
              </a:endParaRPr>
            </a:p>
          </p:txBody>
        </p:sp>
      </p:grpSp>
    </p:spTree>
    <p:extLst>
      <p:ext uri="{BB962C8B-B14F-4D97-AF65-F5344CB8AC3E}">
        <p14:creationId xmlns:p14="http://schemas.microsoft.com/office/powerpoint/2010/main" val="103689496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C10D731-54D9-6BEF-1D4C-D09F440BCE12}"/>
              </a:ext>
            </a:extLst>
          </p:cNvPr>
          <p:cNvGraphicFramePr>
            <a:graphicFrameLocks noChangeAspect="1"/>
          </p:cNvGraphicFramePr>
          <p:nvPr>
            <p:custDataLst>
              <p:tags r:id="rId1"/>
            </p:custDataLst>
            <p:extLst>
              <p:ext uri="{D42A27DB-BD31-4B8C-83A1-F6EECF244321}">
                <p14:modId xmlns:p14="http://schemas.microsoft.com/office/powerpoint/2010/main" val="2824243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5" name="think-cell data - do not delete" hidden="1">
                        <a:extLst>
                          <a:ext uri="{FF2B5EF4-FFF2-40B4-BE49-F238E27FC236}">
                            <a16:creationId xmlns:a16="http://schemas.microsoft.com/office/drawing/2014/main" id="{0C10D731-54D9-6BEF-1D4C-D09F440BCE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ED8ABA2-A23A-535D-E4AC-4309808BC757}"/>
              </a:ext>
            </a:extLst>
          </p:cNvPr>
          <p:cNvSpPr>
            <a:spLocks noGrp="1"/>
          </p:cNvSpPr>
          <p:nvPr>
            <p:ph type="ctrTitle"/>
          </p:nvPr>
        </p:nvSpPr>
        <p:spPr>
          <a:xfrm>
            <a:off x="1182796" y="4441608"/>
            <a:ext cx="5715000" cy="664797"/>
          </a:xfrm>
        </p:spPr>
        <p:txBody>
          <a:bodyPr vert="horz"/>
          <a:lstStyle/>
          <a:p>
            <a:r>
              <a:rPr lang="pt-BR" noProof="1"/>
              <a:t>Useful objects</a:t>
            </a:r>
          </a:p>
        </p:txBody>
      </p:sp>
      <p:sp>
        <p:nvSpPr>
          <p:cNvPr id="4" name="Text Placeholder 3">
            <a:extLst>
              <a:ext uri="{FF2B5EF4-FFF2-40B4-BE49-F238E27FC236}">
                <a16:creationId xmlns:a16="http://schemas.microsoft.com/office/drawing/2014/main" id="{EC99AC6B-6CDE-53ED-A126-B9ED45F334F7}"/>
              </a:ext>
            </a:extLst>
          </p:cNvPr>
          <p:cNvSpPr>
            <a:spLocks noGrp="1"/>
          </p:cNvSpPr>
          <p:nvPr>
            <p:ph type="subTitle" idx="1"/>
          </p:nvPr>
        </p:nvSpPr>
        <p:spPr>
          <a:xfrm>
            <a:off x="1182796" y="5219056"/>
            <a:ext cx="5715000" cy="1092845"/>
          </a:xfrm>
        </p:spPr>
        <p:txBody>
          <a:bodyPr/>
          <a:lstStyle/>
          <a:p>
            <a:r>
              <a:rPr lang="pt-BR" noProof="1"/>
              <a:t>Essential elements for clear communication.</a:t>
            </a:r>
          </a:p>
        </p:txBody>
      </p:sp>
      <p:sp>
        <p:nvSpPr>
          <p:cNvPr id="7" name="Text Placeholder 6">
            <a:extLst>
              <a:ext uri="{FF2B5EF4-FFF2-40B4-BE49-F238E27FC236}">
                <a16:creationId xmlns:a16="http://schemas.microsoft.com/office/drawing/2014/main" id="{61A420D6-5E09-C212-C31D-AF10514F79E7}"/>
              </a:ext>
            </a:extLst>
          </p:cNvPr>
          <p:cNvSpPr>
            <a:spLocks noGrp="1"/>
          </p:cNvSpPr>
          <p:nvPr>
            <p:ph type="body" sz="quarter" idx="11"/>
          </p:nvPr>
        </p:nvSpPr>
        <p:spPr>
          <a:xfrm>
            <a:off x="1189497" y="2433053"/>
            <a:ext cx="65" cy="1231106"/>
          </a:xfrm>
        </p:spPr>
        <p:txBody>
          <a:bodyPr/>
          <a:lstStyle/>
          <a:p>
            <a:endParaRPr lang="pt-BR" noProof="1"/>
          </a:p>
        </p:txBody>
      </p:sp>
    </p:spTree>
    <p:extLst>
      <p:ext uri="{BB962C8B-B14F-4D97-AF65-F5344CB8AC3E}">
        <p14:creationId xmlns:p14="http://schemas.microsoft.com/office/powerpoint/2010/main" val="1953255485"/>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5" name="think-cell data - do not delete" hidden="1">
            <a:extLst>
              <a:ext uri="{FF2B5EF4-FFF2-40B4-BE49-F238E27FC236}">
                <a16:creationId xmlns:a16="http://schemas.microsoft.com/office/drawing/2014/main" id="{050BA2F8-199C-4225-6924-9284A59503AA}"/>
              </a:ext>
            </a:extLst>
          </p:cNvPr>
          <p:cNvGraphicFramePr>
            <a:graphicFrameLocks noChangeAspect="1"/>
          </p:cNvGraphicFramePr>
          <p:nvPr>
            <p:custDataLst>
              <p:tags r:id="rId1"/>
            </p:custDataLst>
            <p:extLst>
              <p:ext uri="{D42A27DB-BD31-4B8C-83A1-F6EECF244321}">
                <p14:modId xmlns:p14="http://schemas.microsoft.com/office/powerpoint/2010/main" val="4100502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35" name="think-cell data - do not delete" hidden="1">
                        <a:extLst>
                          <a:ext uri="{FF2B5EF4-FFF2-40B4-BE49-F238E27FC236}">
                            <a16:creationId xmlns:a16="http://schemas.microsoft.com/office/drawing/2014/main" id="{050BA2F8-199C-4225-6924-9284A59503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vert="horz"/>
          <a:lstStyle/>
          <a:p>
            <a:r>
              <a:rPr lang="pt-BR" noProof="1"/>
              <a:t>Discontinuous axis marks</a:t>
            </a:r>
          </a:p>
        </p:txBody>
      </p:sp>
      <p:sp>
        <p:nvSpPr>
          <p:cNvPr id="39" name="TextBox 38">
            <a:extLst>
              <a:ext uri="{FF2B5EF4-FFF2-40B4-BE49-F238E27FC236}">
                <a16:creationId xmlns:a16="http://schemas.microsoft.com/office/drawing/2014/main" id="{BEC08726-D1B3-B9E6-BD44-138FCE7F937C}"/>
              </a:ext>
            </a:extLst>
          </p:cNvPr>
          <p:cNvSpPr txBox="1"/>
          <p:nvPr/>
        </p:nvSpPr>
        <p:spPr>
          <a:xfrm>
            <a:off x="565200" y="1108800"/>
            <a:ext cx="9743052" cy="276999"/>
          </a:xfrm>
          <a:prstGeom prst="rect">
            <a:avLst/>
          </a:prstGeom>
          <a:noFill/>
        </p:spPr>
        <p:txBody>
          <a:bodyPr wrap="none" lIns="0" tIns="0" rIns="0" bIns="0" rtlCol="0">
            <a:spAutoFit/>
          </a:bodyPr>
          <a:lstStyle/>
          <a:p>
            <a:pPr defTabSz="228594">
              <a:defRPr/>
            </a:pPr>
            <a:r>
              <a:rPr lang="pt-BR" noProof="1">
                <a:latin typeface="Graphik" panose="020B0503030202060203" pitchFamily="34" charset="77"/>
              </a:rPr>
              <a:t>Place one of these objects on a graph’s axis or bar to advise about a discontinuous scale</a:t>
            </a:r>
          </a:p>
        </p:txBody>
      </p:sp>
      <p:grpSp>
        <p:nvGrpSpPr>
          <p:cNvPr id="37" name="Group 36" descr="Examples of discontinuous Axis Marks elements">
            <a:extLst>
              <a:ext uri="{FF2B5EF4-FFF2-40B4-BE49-F238E27FC236}">
                <a16:creationId xmlns:a16="http://schemas.microsoft.com/office/drawing/2014/main" id="{45E73255-C5C7-4DFA-93B3-5E8697950EDA}"/>
              </a:ext>
            </a:extLst>
          </p:cNvPr>
          <p:cNvGrpSpPr/>
          <p:nvPr/>
        </p:nvGrpSpPr>
        <p:grpSpPr>
          <a:xfrm>
            <a:off x="1193627" y="2426447"/>
            <a:ext cx="7475069" cy="3093566"/>
            <a:chOff x="1193626" y="2426446"/>
            <a:chExt cx="7475069" cy="3093564"/>
          </a:xfrm>
        </p:grpSpPr>
        <p:grpSp>
          <p:nvGrpSpPr>
            <p:cNvPr id="4" name="Group 3" descr="Example 1">
              <a:extLst>
                <a:ext uri="{FF2B5EF4-FFF2-40B4-BE49-F238E27FC236}">
                  <a16:creationId xmlns:a16="http://schemas.microsoft.com/office/drawing/2014/main" id="{06B8B7FA-F2CF-45E7-B595-3A3A21EA0DAE}"/>
                </a:ext>
              </a:extLst>
            </p:cNvPr>
            <p:cNvGrpSpPr/>
            <p:nvPr/>
          </p:nvGrpSpPr>
          <p:grpSpPr>
            <a:xfrm>
              <a:off x="1193626" y="3745185"/>
              <a:ext cx="1390650" cy="458788"/>
              <a:chOff x="1193626" y="3745185"/>
              <a:chExt cx="1390650" cy="458788"/>
            </a:xfrm>
          </p:grpSpPr>
          <p:grpSp>
            <p:nvGrpSpPr>
              <p:cNvPr id="6" name="Group 24">
                <a:extLst>
                  <a:ext uri="{FF2B5EF4-FFF2-40B4-BE49-F238E27FC236}">
                    <a16:creationId xmlns:a16="http://schemas.microsoft.com/office/drawing/2014/main" id="{745F1E46-12DF-4FCC-BA89-A30875833218}"/>
                  </a:ext>
                </a:extLst>
              </p:cNvPr>
              <p:cNvGrpSpPr>
                <a:grpSpLocks/>
              </p:cNvGrpSpPr>
              <p:nvPr/>
            </p:nvGrpSpPr>
            <p:grpSpPr bwMode="auto">
              <a:xfrm>
                <a:off x="1193626" y="3745185"/>
                <a:ext cx="392113" cy="458788"/>
                <a:chOff x="4332" y="2562"/>
                <a:chExt cx="268" cy="289"/>
              </a:xfrm>
            </p:grpSpPr>
            <p:sp>
              <p:nvSpPr>
                <p:cNvPr id="7" name="Freeform 25">
                  <a:extLst>
                    <a:ext uri="{FF2B5EF4-FFF2-40B4-BE49-F238E27FC236}">
                      <a16:creationId xmlns:a16="http://schemas.microsoft.com/office/drawing/2014/main" id="{17CDB244-E0F7-4B31-9AF9-9AA45C1ECD7C}"/>
                    </a:ext>
                  </a:extLst>
                </p:cNvPr>
                <p:cNvSpPr>
                  <a:spLocks/>
                </p:cNvSpPr>
                <p:nvPr/>
              </p:nvSpPr>
              <p:spPr bwMode="auto">
                <a:xfrm>
                  <a:off x="4381" y="2579"/>
                  <a:ext cx="0" cy="233"/>
                </a:xfrm>
                <a:custGeom>
                  <a:avLst/>
                  <a:gdLst/>
                  <a:ahLst/>
                  <a:cxnLst>
                    <a:cxn ang="0">
                      <a:pos x="102" y="0"/>
                    </a:cxn>
                    <a:cxn ang="0">
                      <a:pos x="199" y="0"/>
                    </a:cxn>
                    <a:cxn ang="0">
                      <a:pos x="97" y="177"/>
                    </a:cxn>
                    <a:cxn ang="0">
                      <a:pos x="0" y="177"/>
                    </a:cxn>
                    <a:cxn ang="0">
                      <a:pos x="102" y="0"/>
                    </a:cxn>
                  </a:cxnLst>
                  <a:rect l="0" t="0" r="r" b="b"/>
                  <a:pathLst>
                    <a:path w="199" h="177">
                      <a:moveTo>
                        <a:pt x="102" y="0"/>
                      </a:moveTo>
                      <a:lnTo>
                        <a:pt x="199" y="0"/>
                      </a:lnTo>
                      <a:lnTo>
                        <a:pt x="97" y="177"/>
                      </a:lnTo>
                      <a:lnTo>
                        <a:pt x="0" y="177"/>
                      </a:lnTo>
                      <a:lnTo>
                        <a:pt x="102" y="0"/>
                      </a:lnTo>
                      <a:close/>
                    </a:path>
                  </a:pathLst>
                </a:custGeom>
                <a:solidFill>
                  <a:srgbClr val="FFFFFF"/>
                </a:solidFill>
                <a:ln w="3175" cap="flat" cmpd="sng">
                  <a:noFill/>
                  <a:prstDash val="solid"/>
                  <a:round/>
                  <a:headEnd type="none" w="med" len="med"/>
                  <a:tailEnd type="none" w="med" len="med"/>
                </a:ln>
                <a:effectLst/>
              </p:spPr>
              <p:txBody>
                <a:bodyPr wrap="none" lIns="0" tIns="0" rIns="0" bIns="0" anchor="ctr">
                  <a:spAutoFit/>
                </a:bodyPr>
                <a:lstStyle/>
                <a:p>
                  <a:pPr>
                    <a:defRPr/>
                  </a:pPr>
                  <a:endParaRPr lang="pt-BR" sz="2400" kern="0" noProof="1">
                    <a:solidFill>
                      <a:srgbClr val="000000"/>
                    </a:solidFill>
                    <a:latin typeface="Graphik" panose="020B0503030202060203" pitchFamily="34" charset="77"/>
                  </a:endParaRPr>
                </a:p>
              </p:txBody>
            </p:sp>
            <p:sp>
              <p:nvSpPr>
                <p:cNvPr id="8" name="Line 26">
                  <a:extLst>
                    <a:ext uri="{FF2B5EF4-FFF2-40B4-BE49-F238E27FC236}">
                      <a16:creationId xmlns:a16="http://schemas.microsoft.com/office/drawing/2014/main" id="{A5770749-30EE-4FE3-960C-1B5F09BF2B72}"/>
                    </a:ext>
                  </a:extLst>
                </p:cNvPr>
                <p:cNvSpPr>
                  <a:spLocks noChangeShapeType="1"/>
                </p:cNvSpPr>
                <p:nvPr/>
              </p:nvSpPr>
              <p:spPr bwMode="auto">
                <a:xfrm flipV="1">
                  <a:off x="4332" y="2562"/>
                  <a:ext cx="180" cy="289"/>
                </a:xfrm>
                <a:prstGeom prst="line">
                  <a:avLst/>
                </a:prstGeom>
                <a:noFill/>
                <a:ln w="6350">
                  <a:solidFill>
                    <a:srgbClr val="666666"/>
                  </a:solidFill>
                  <a:round/>
                  <a:headEnd/>
                  <a:tailEnd/>
                </a:ln>
                <a:effectLst/>
              </p:spPr>
              <p:txBody>
                <a:bodyPr wrap="none" lIns="0" tIns="0" rIns="0" bIns="0" anchor="ctr">
                  <a:spAutoFit/>
                </a:bodyPr>
                <a:lstStyle/>
                <a:p>
                  <a:pPr>
                    <a:defRPr/>
                  </a:pPr>
                  <a:endParaRPr lang="pt-BR" sz="2400" kern="0" noProof="1">
                    <a:solidFill>
                      <a:srgbClr val="000000"/>
                    </a:solidFill>
                    <a:latin typeface="Graphik" panose="020B0503030202060203" pitchFamily="34" charset="77"/>
                  </a:endParaRPr>
                </a:p>
              </p:txBody>
            </p:sp>
            <p:sp>
              <p:nvSpPr>
                <p:cNvPr id="9" name="Line 27">
                  <a:extLst>
                    <a:ext uri="{FF2B5EF4-FFF2-40B4-BE49-F238E27FC236}">
                      <a16:creationId xmlns:a16="http://schemas.microsoft.com/office/drawing/2014/main" id="{6950167E-895B-40D4-9E9C-E355DE50791C}"/>
                    </a:ext>
                  </a:extLst>
                </p:cNvPr>
                <p:cNvSpPr>
                  <a:spLocks noChangeShapeType="1"/>
                </p:cNvSpPr>
                <p:nvPr/>
              </p:nvSpPr>
              <p:spPr bwMode="auto">
                <a:xfrm flipV="1">
                  <a:off x="4420" y="2562"/>
                  <a:ext cx="180" cy="289"/>
                </a:xfrm>
                <a:prstGeom prst="line">
                  <a:avLst/>
                </a:prstGeom>
                <a:noFill/>
                <a:ln w="6350">
                  <a:solidFill>
                    <a:srgbClr val="666666"/>
                  </a:solidFill>
                  <a:round/>
                  <a:headEnd/>
                  <a:tailEnd/>
                </a:ln>
                <a:effectLst/>
              </p:spPr>
              <p:txBody>
                <a:bodyPr wrap="none" lIns="0" tIns="0" rIns="0" bIns="0" anchor="ctr">
                  <a:spAutoFit/>
                </a:bodyPr>
                <a:lstStyle/>
                <a:p>
                  <a:pPr>
                    <a:defRPr/>
                  </a:pPr>
                  <a:endParaRPr lang="pt-BR" sz="2400" kern="0" noProof="1">
                    <a:solidFill>
                      <a:srgbClr val="000000"/>
                    </a:solidFill>
                    <a:latin typeface="Graphik" panose="020B0503030202060203" pitchFamily="34" charset="77"/>
                  </a:endParaRPr>
                </a:p>
              </p:txBody>
            </p:sp>
          </p:grpSp>
          <p:grpSp>
            <p:nvGrpSpPr>
              <p:cNvPr id="10" name="Group 37">
                <a:extLst>
                  <a:ext uri="{FF2B5EF4-FFF2-40B4-BE49-F238E27FC236}">
                    <a16:creationId xmlns:a16="http://schemas.microsoft.com/office/drawing/2014/main" id="{CF1B77B1-33C5-4694-A8CA-30A85F4A0106}"/>
                  </a:ext>
                </a:extLst>
              </p:cNvPr>
              <p:cNvGrpSpPr>
                <a:grpSpLocks/>
              </p:cNvGrpSpPr>
              <p:nvPr/>
            </p:nvGrpSpPr>
            <p:grpSpPr bwMode="auto">
              <a:xfrm rot="16200000" flipH="1">
                <a:off x="2159620" y="3761855"/>
                <a:ext cx="425450" cy="423862"/>
                <a:chOff x="4332" y="2562"/>
                <a:chExt cx="268" cy="289"/>
              </a:xfrm>
            </p:grpSpPr>
            <p:sp>
              <p:nvSpPr>
                <p:cNvPr id="11" name="Freeform 38">
                  <a:extLst>
                    <a:ext uri="{FF2B5EF4-FFF2-40B4-BE49-F238E27FC236}">
                      <a16:creationId xmlns:a16="http://schemas.microsoft.com/office/drawing/2014/main" id="{C2DAE165-1F24-42FE-8C60-84D120740F3D}"/>
                    </a:ext>
                  </a:extLst>
                </p:cNvPr>
                <p:cNvSpPr>
                  <a:spLocks/>
                </p:cNvSpPr>
                <p:nvPr/>
              </p:nvSpPr>
              <p:spPr bwMode="auto">
                <a:xfrm>
                  <a:off x="4473" y="2571"/>
                  <a:ext cx="0" cy="252"/>
                </a:xfrm>
                <a:custGeom>
                  <a:avLst/>
                  <a:gdLst/>
                  <a:ahLst/>
                  <a:cxnLst>
                    <a:cxn ang="0">
                      <a:pos x="102" y="0"/>
                    </a:cxn>
                    <a:cxn ang="0">
                      <a:pos x="199" y="0"/>
                    </a:cxn>
                    <a:cxn ang="0">
                      <a:pos x="97" y="177"/>
                    </a:cxn>
                    <a:cxn ang="0">
                      <a:pos x="0" y="177"/>
                    </a:cxn>
                    <a:cxn ang="0">
                      <a:pos x="102" y="0"/>
                    </a:cxn>
                  </a:cxnLst>
                  <a:rect l="0" t="0" r="r" b="b"/>
                  <a:pathLst>
                    <a:path w="199" h="177">
                      <a:moveTo>
                        <a:pt x="102" y="0"/>
                      </a:moveTo>
                      <a:lnTo>
                        <a:pt x="199" y="0"/>
                      </a:lnTo>
                      <a:lnTo>
                        <a:pt x="97" y="177"/>
                      </a:lnTo>
                      <a:lnTo>
                        <a:pt x="0" y="177"/>
                      </a:lnTo>
                      <a:lnTo>
                        <a:pt x="102" y="0"/>
                      </a:lnTo>
                      <a:close/>
                    </a:path>
                  </a:pathLst>
                </a:custGeom>
                <a:solidFill>
                  <a:srgbClr val="FFFFFF"/>
                </a:solidFill>
                <a:ln w="3175" cap="flat" cmpd="sng">
                  <a:noFill/>
                  <a:prstDash val="solid"/>
                  <a:round/>
                  <a:headEnd type="none" w="med" len="med"/>
                  <a:tailEnd type="none" w="med" len="med"/>
                </a:ln>
                <a:effectLst/>
              </p:spPr>
              <p:txBody>
                <a:bodyPr wrap="none" lIns="0" tIns="0" rIns="0" bIns="0" anchor="ctr">
                  <a:spAutoFit/>
                </a:bodyPr>
                <a:lstStyle/>
                <a:p>
                  <a:pPr>
                    <a:defRPr/>
                  </a:pPr>
                  <a:endParaRPr lang="pt-BR" sz="2400" kern="0" noProof="1">
                    <a:solidFill>
                      <a:srgbClr val="000000"/>
                    </a:solidFill>
                    <a:latin typeface="Graphik" panose="020B0503030202060203" pitchFamily="34" charset="77"/>
                  </a:endParaRPr>
                </a:p>
              </p:txBody>
            </p:sp>
            <p:sp>
              <p:nvSpPr>
                <p:cNvPr id="12" name="Line 39">
                  <a:extLst>
                    <a:ext uri="{FF2B5EF4-FFF2-40B4-BE49-F238E27FC236}">
                      <a16:creationId xmlns:a16="http://schemas.microsoft.com/office/drawing/2014/main" id="{4AABB291-A38A-412A-B495-724D45AE1CE3}"/>
                    </a:ext>
                  </a:extLst>
                </p:cNvPr>
                <p:cNvSpPr>
                  <a:spLocks noChangeShapeType="1"/>
                </p:cNvSpPr>
                <p:nvPr/>
              </p:nvSpPr>
              <p:spPr bwMode="auto">
                <a:xfrm flipV="1">
                  <a:off x="4332" y="2562"/>
                  <a:ext cx="180" cy="289"/>
                </a:xfrm>
                <a:prstGeom prst="line">
                  <a:avLst/>
                </a:prstGeom>
                <a:noFill/>
                <a:ln w="6350">
                  <a:solidFill>
                    <a:srgbClr val="666666"/>
                  </a:solidFill>
                  <a:round/>
                  <a:headEnd/>
                  <a:tailEnd/>
                </a:ln>
                <a:effectLst/>
              </p:spPr>
              <p:txBody>
                <a:bodyPr wrap="none" lIns="0" tIns="0" rIns="0" bIns="0" anchor="ctr">
                  <a:spAutoFit/>
                </a:bodyPr>
                <a:lstStyle/>
                <a:p>
                  <a:pPr>
                    <a:defRPr/>
                  </a:pPr>
                  <a:endParaRPr lang="pt-BR" sz="2400" kern="0" noProof="1">
                    <a:solidFill>
                      <a:srgbClr val="000000"/>
                    </a:solidFill>
                    <a:latin typeface="Graphik" panose="020B0503030202060203" pitchFamily="34" charset="77"/>
                  </a:endParaRPr>
                </a:p>
              </p:txBody>
            </p:sp>
            <p:sp>
              <p:nvSpPr>
                <p:cNvPr id="13" name="Line 40">
                  <a:extLst>
                    <a:ext uri="{FF2B5EF4-FFF2-40B4-BE49-F238E27FC236}">
                      <a16:creationId xmlns:a16="http://schemas.microsoft.com/office/drawing/2014/main" id="{91794621-179F-4E1D-BB4C-F4AB66B70F3F}"/>
                    </a:ext>
                  </a:extLst>
                </p:cNvPr>
                <p:cNvSpPr>
                  <a:spLocks noChangeShapeType="1"/>
                </p:cNvSpPr>
                <p:nvPr/>
              </p:nvSpPr>
              <p:spPr bwMode="auto">
                <a:xfrm flipV="1">
                  <a:off x="4420" y="2562"/>
                  <a:ext cx="180" cy="289"/>
                </a:xfrm>
                <a:prstGeom prst="line">
                  <a:avLst/>
                </a:prstGeom>
                <a:noFill/>
                <a:ln w="6350">
                  <a:solidFill>
                    <a:srgbClr val="666666"/>
                  </a:solidFill>
                  <a:round/>
                  <a:headEnd/>
                  <a:tailEnd/>
                </a:ln>
                <a:effectLst/>
              </p:spPr>
              <p:txBody>
                <a:bodyPr wrap="none" lIns="0" tIns="0" rIns="0" bIns="0" anchor="ctr">
                  <a:spAutoFit/>
                </a:bodyPr>
                <a:lstStyle/>
                <a:p>
                  <a:pPr>
                    <a:defRPr/>
                  </a:pPr>
                  <a:endParaRPr lang="pt-BR" sz="2400" kern="0" noProof="1">
                    <a:solidFill>
                      <a:srgbClr val="000000"/>
                    </a:solidFill>
                    <a:latin typeface="Graphik" panose="020B0503030202060203" pitchFamily="34" charset="77"/>
                  </a:endParaRPr>
                </a:p>
              </p:txBody>
            </p:sp>
          </p:grpSp>
        </p:grpSp>
        <p:grpSp>
          <p:nvGrpSpPr>
            <p:cNvPr id="36" name="Group 35" descr="Example 2">
              <a:extLst>
                <a:ext uri="{FF2B5EF4-FFF2-40B4-BE49-F238E27FC236}">
                  <a16:creationId xmlns:a16="http://schemas.microsoft.com/office/drawing/2014/main" id="{876F4384-4AB4-43D2-B2C0-39F2DCC220B2}"/>
                </a:ext>
              </a:extLst>
            </p:cNvPr>
            <p:cNvGrpSpPr/>
            <p:nvPr/>
          </p:nvGrpSpPr>
          <p:grpSpPr>
            <a:xfrm>
              <a:off x="4343226" y="2429148"/>
              <a:ext cx="1098550" cy="3090862"/>
              <a:chOff x="4343226" y="2429148"/>
              <a:chExt cx="1098550" cy="3090862"/>
            </a:xfrm>
          </p:grpSpPr>
          <p:sp>
            <p:nvSpPr>
              <p:cNvPr id="5" name="Line 14">
                <a:extLst>
                  <a:ext uri="{FF2B5EF4-FFF2-40B4-BE49-F238E27FC236}">
                    <a16:creationId xmlns:a16="http://schemas.microsoft.com/office/drawing/2014/main" id="{F8FD6ADE-C840-483C-9563-7C620019961A}"/>
                  </a:ext>
                </a:extLst>
              </p:cNvPr>
              <p:cNvSpPr>
                <a:spLocks noChangeShapeType="1"/>
              </p:cNvSpPr>
              <p:nvPr/>
            </p:nvSpPr>
            <p:spPr bwMode="auto">
              <a:xfrm>
                <a:off x="4540076" y="2429148"/>
                <a:ext cx="0" cy="3090862"/>
              </a:xfrm>
              <a:prstGeom prst="line">
                <a:avLst/>
              </a:prstGeom>
              <a:noFill/>
              <a:ln w="6350">
                <a:solidFill>
                  <a:srgbClr val="666666"/>
                </a:solidFill>
                <a:round/>
                <a:headEnd type="triangle" w="med" len="med"/>
                <a:tailEnd/>
              </a:ln>
              <a:effectLst/>
            </p:spPr>
            <p:txBody>
              <a:bodyPr wrap="none" lIns="0" tIns="0" rIns="0" bIns="0" anchor="ctr">
                <a:spAutoFit/>
              </a:bodyPr>
              <a:lstStyle/>
              <a:p>
                <a:pPr>
                  <a:defRPr/>
                </a:pPr>
                <a:endParaRPr lang="pt-BR" sz="2400" kern="0" noProof="1">
                  <a:solidFill>
                    <a:srgbClr val="000000"/>
                  </a:solidFill>
                  <a:latin typeface="Graphik" panose="020B0503030202060203" pitchFamily="34" charset="77"/>
                </a:endParaRPr>
              </a:p>
            </p:txBody>
          </p:sp>
          <p:sp>
            <p:nvSpPr>
              <p:cNvPr id="14" name="Line 60">
                <a:extLst>
                  <a:ext uri="{FF2B5EF4-FFF2-40B4-BE49-F238E27FC236}">
                    <a16:creationId xmlns:a16="http://schemas.microsoft.com/office/drawing/2014/main" id="{D3BB85D6-469C-4B7C-B42B-89B746379A8D}"/>
                  </a:ext>
                </a:extLst>
              </p:cNvPr>
              <p:cNvSpPr>
                <a:spLocks noChangeShapeType="1"/>
              </p:cNvSpPr>
              <p:nvPr/>
            </p:nvSpPr>
            <p:spPr bwMode="auto">
              <a:xfrm>
                <a:off x="5246514" y="2429148"/>
                <a:ext cx="0" cy="3090862"/>
              </a:xfrm>
              <a:prstGeom prst="line">
                <a:avLst/>
              </a:prstGeom>
              <a:noFill/>
              <a:ln w="6350">
                <a:solidFill>
                  <a:srgbClr val="666666"/>
                </a:solidFill>
                <a:round/>
                <a:headEnd type="triangle" w="med" len="med"/>
                <a:tailEnd/>
              </a:ln>
              <a:effectLst/>
            </p:spPr>
            <p:txBody>
              <a:bodyPr wrap="none" lIns="0" tIns="0" rIns="0" bIns="0" anchor="ctr">
                <a:spAutoFit/>
              </a:bodyPr>
              <a:lstStyle/>
              <a:p>
                <a:pPr>
                  <a:defRPr/>
                </a:pPr>
                <a:endParaRPr lang="pt-BR" sz="2400" kern="0" noProof="1">
                  <a:solidFill>
                    <a:srgbClr val="000000"/>
                  </a:solidFill>
                  <a:latin typeface="Graphik" panose="020B0503030202060203" pitchFamily="34" charset="77"/>
                </a:endParaRPr>
              </a:p>
            </p:txBody>
          </p:sp>
          <p:grpSp>
            <p:nvGrpSpPr>
              <p:cNvPr id="15" name="Group 65">
                <a:extLst>
                  <a:ext uri="{FF2B5EF4-FFF2-40B4-BE49-F238E27FC236}">
                    <a16:creationId xmlns:a16="http://schemas.microsoft.com/office/drawing/2014/main" id="{874FD133-DF97-4F98-87A5-17A46994B12F}"/>
                  </a:ext>
                </a:extLst>
              </p:cNvPr>
              <p:cNvGrpSpPr>
                <a:grpSpLocks/>
              </p:cNvGrpSpPr>
              <p:nvPr/>
            </p:nvGrpSpPr>
            <p:grpSpPr bwMode="auto">
              <a:xfrm rot="16200000" flipH="1">
                <a:off x="5017120" y="3761855"/>
                <a:ext cx="425450" cy="423862"/>
                <a:chOff x="4332" y="2562"/>
                <a:chExt cx="268" cy="289"/>
              </a:xfrm>
            </p:grpSpPr>
            <p:sp>
              <p:nvSpPr>
                <p:cNvPr id="16" name="Freeform 66">
                  <a:extLst>
                    <a:ext uri="{FF2B5EF4-FFF2-40B4-BE49-F238E27FC236}">
                      <a16:creationId xmlns:a16="http://schemas.microsoft.com/office/drawing/2014/main" id="{98F17DEC-574A-42E6-AFFF-AC6F84889F11}"/>
                    </a:ext>
                  </a:extLst>
                </p:cNvPr>
                <p:cNvSpPr>
                  <a:spLocks/>
                </p:cNvSpPr>
                <p:nvPr/>
              </p:nvSpPr>
              <p:spPr bwMode="auto">
                <a:xfrm>
                  <a:off x="4473" y="2571"/>
                  <a:ext cx="0" cy="252"/>
                </a:xfrm>
                <a:custGeom>
                  <a:avLst/>
                  <a:gdLst/>
                  <a:ahLst/>
                  <a:cxnLst>
                    <a:cxn ang="0">
                      <a:pos x="102" y="0"/>
                    </a:cxn>
                    <a:cxn ang="0">
                      <a:pos x="199" y="0"/>
                    </a:cxn>
                    <a:cxn ang="0">
                      <a:pos x="97" y="177"/>
                    </a:cxn>
                    <a:cxn ang="0">
                      <a:pos x="0" y="177"/>
                    </a:cxn>
                    <a:cxn ang="0">
                      <a:pos x="102" y="0"/>
                    </a:cxn>
                  </a:cxnLst>
                  <a:rect l="0" t="0" r="r" b="b"/>
                  <a:pathLst>
                    <a:path w="199" h="177">
                      <a:moveTo>
                        <a:pt x="102" y="0"/>
                      </a:moveTo>
                      <a:lnTo>
                        <a:pt x="199" y="0"/>
                      </a:lnTo>
                      <a:lnTo>
                        <a:pt x="97" y="177"/>
                      </a:lnTo>
                      <a:lnTo>
                        <a:pt x="0" y="177"/>
                      </a:lnTo>
                      <a:lnTo>
                        <a:pt x="102" y="0"/>
                      </a:lnTo>
                      <a:close/>
                    </a:path>
                  </a:pathLst>
                </a:custGeom>
                <a:solidFill>
                  <a:srgbClr val="FFFFFF"/>
                </a:solidFill>
                <a:ln w="3175" cap="flat" cmpd="sng">
                  <a:noFill/>
                  <a:prstDash val="solid"/>
                  <a:round/>
                  <a:headEnd type="none" w="med" len="med"/>
                  <a:tailEnd type="none" w="med" len="med"/>
                </a:ln>
                <a:effectLst/>
              </p:spPr>
              <p:txBody>
                <a:bodyPr wrap="none" lIns="0" tIns="0" rIns="0" bIns="0" anchor="ctr">
                  <a:spAutoFit/>
                </a:bodyPr>
                <a:lstStyle/>
                <a:p>
                  <a:pPr>
                    <a:defRPr/>
                  </a:pPr>
                  <a:endParaRPr lang="pt-BR" sz="2400" kern="0" noProof="1">
                    <a:solidFill>
                      <a:srgbClr val="000000"/>
                    </a:solidFill>
                    <a:latin typeface="Graphik" panose="020B0503030202060203" pitchFamily="34" charset="77"/>
                  </a:endParaRPr>
                </a:p>
              </p:txBody>
            </p:sp>
            <p:sp>
              <p:nvSpPr>
                <p:cNvPr id="17" name="Line 67">
                  <a:extLst>
                    <a:ext uri="{FF2B5EF4-FFF2-40B4-BE49-F238E27FC236}">
                      <a16:creationId xmlns:a16="http://schemas.microsoft.com/office/drawing/2014/main" id="{F94D76A0-A0B0-4BAF-B76D-EC37B25EEA97}"/>
                    </a:ext>
                  </a:extLst>
                </p:cNvPr>
                <p:cNvSpPr>
                  <a:spLocks noChangeShapeType="1"/>
                </p:cNvSpPr>
                <p:nvPr/>
              </p:nvSpPr>
              <p:spPr bwMode="auto">
                <a:xfrm flipV="1">
                  <a:off x="4332" y="2562"/>
                  <a:ext cx="180" cy="289"/>
                </a:xfrm>
                <a:prstGeom prst="line">
                  <a:avLst/>
                </a:prstGeom>
                <a:noFill/>
                <a:ln w="6350">
                  <a:solidFill>
                    <a:srgbClr val="666666"/>
                  </a:solidFill>
                  <a:round/>
                  <a:headEnd/>
                  <a:tailEnd/>
                </a:ln>
                <a:effectLst/>
              </p:spPr>
              <p:txBody>
                <a:bodyPr wrap="none" lIns="0" tIns="0" rIns="0" bIns="0" anchor="ctr">
                  <a:spAutoFit/>
                </a:bodyPr>
                <a:lstStyle/>
                <a:p>
                  <a:pPr>
                    <a:defRPr/>
                  </a:pPr>
                  <a:endParaRPr lang="pt-BR" sz="2400" kern="0" noProof="1">
                    <a:solidFill>
                      <a:srgbClr val="000000"/>
                    </a:solidFill>
                    <a:latin typeface="Graphik" panose="020B0503030202060203" pitchFamily="34" charset="77"/>
                  </a:endParaRPr>
                </a:p>
              </p:txBody>
            </p:sp>
            <p:sp>
              <p:nvSpPr>
                <p:cNvPr id="18" name="Line 68">
                  <a:extLst>
                    <a:ext uri="{FF2B5EF4-FFF2-40B4-BE49-F238E27FC236}">
                      <a16:creationId xmlns:a16="http://schemas.microsoft.com/office/drawing/2014/main" id="{D4D99F52-E18C-4B59-90F5-A0C01256A54A}"/>
                    </a:ext>
                  </a:extLst>
                </p:cNvPr>
                <p:cNvSpPr>
                  <a:spLocks noChangeShapeType="1"/>
                </p:cNvSpPr>
                <p:nvPr/>
              </p:nvSpPr>
              <p:spPr bwMode="auto">
                <a:xfrm flipV="1">
                  <a:off x="4420" y="2562"/>
                  <a:ext cx="180" cy="289"/>
                </a:xfrm>
                <a:prstGeom prst="line">
                  <a:avLst/>
                </a:prstGeom>
                <a:noFill/>
                <a:ln w="6350">
                  <a:solidFill>
                    <a:srgbClr val="666666"/>
                  </a:solidFill>
                  <a:round/>
                  <a:headEnd/>
                  <a:tailEnd/>
                </a:ln>
                <a:effectLst/>
              </p:spPr>
              <p:txBody>
                <a:bodyPr wrap="none" lIns="0" tIns="0" rIns="0" bIns="0" anchor="ctr">
                  <a:spAutoFit/>
                </a:bodyPr>
                <a:lstStyle/>
                <a:p>
                  <a:pPr>
                    <a:defRPr/>
                  </a:pPr>
                  <a:endParaRPr lang="pt-BR" sz="2400" kern="0" noProof="1">
                    <a:solidFill>
                      <a:srgbClr val="000000"/>
                    </a:solidFill>
                    <a:latin typeface="Graphik" panose="020B0503030202060203" pitchFamily="34" charset="77"/>
                  </a:endParaRPr>
                </a:p>
              </p:txBody>
            </p:sp>
          </p:grpSp>
          <p:grpSp>
            <p:nvGrpSpPr>
              <p:cNvPr id="31" name="Group 15">
                <a:extLst>
                  <a:ext uri="{FF2B5EF4-FFF2-40B4-BE49-F238E27FC236}">
                    <a16:creationId xmlns:a16="http://schemas.microsoft.com/office/drawing/2014/main" id="{144AB9D3-1FD2-4F79-BF7B-50F80E269EEF}"/>
                  </a:ext>
                </a:extLst>
              </p:cNvPr>
              <p:cNvGrpSpPr>
                <a:grpSpLocks/>
              </p:cNvGrpSpPr>
              <p:nvPr/>
            </p:nvGrpSpPr>
            <p:grpSpPr bwMode="auto">
              <a:xfrm>
                <a:off x="4343226" y="3745185"/>
                <a:ext cx="392113" cy="457200"/>
                <a:chOff x="3130" y="2080"/>
                <a:chExt cx="268" cy="288"/>
              </a:xfrm>
            </p:grpSpPr>
            <p:sp>
              <p:nvSpPr>
                <p:cNvPr id="32" name="Freeform 16">
                  <a:extLst>
                    <a:ext uri="{FF2B5EF4-FFF2-40B4-BE49-F238E27FC236}">
                      <a16:creationId xmlns:a16="http://schemas.microsoft.com/office/drawing/2014/main" id="{116C7D2B-A56B-47C2-AD88-2B7DE86A2376}"/>
                    </a:ext>
                  </a:extLst>
                </p:cNvPr>
                <p:cNvSpPr>
                  <a:spLocks/>
                </p:cNvSpPr>
                <p:nvPr/>
              </p:nvSpPr>
              <p:spPr bwMode="auto">
                <a:xfrm>
                  <a:off x="3179" y="2096"/>
                  <a:ext cx="0" cy="233"/>
                </a:xfrm>
                <a:custGeom>
                  <a:avLst/>
                  <a:gdLst/>
                  <a:ahLst/>
                  <a:cxnLst>
                    <a:cxn ang="0">
                      <a:pos x="102" y="0"/>
                    </a:cxn>
                    <a:cxn ang="0">
                      <a:pos x="199" y="0"/>
                    </a:cxn>
                    <a:cxn ang="0">
                      <a:pos x="97" y="177"/>
                    </a:cxn>
                    <a:cxn ang="0">
                      <a:pos x="0" y="177"/>
                    </a:cxn>
                    <a:cxn ang="0">
                      <a:pos x="102" y="0"/>
                    </a:cxn>
                  </a:cxnLst>
                  <a:rect l="0" t="0" r="r" b="b"/>
                  <a:pathLst>
                    <a:path w="199" h="177">
                      <a:moveTo>
                        <a:pt x="102" y="0"/>
                      </a:moveTo>
                      <a:lnTo>
                        <a:pt x="199" y="0"/>
                      </a:lnTo>
                      <a:lnTo>
                        <a:pt x="97" y="177"/>
                      </a:lnTo>
                      <a:lnTo>
                        <a:pt x="0" y="177"/>
                      </a:lnTo>
                      <a:lnTo>
                        <a:pt x="102" y="0"/>
                      </a:lnTo>
                      <a:close/>
                    </a:path>
                  </a:pathLst>
                </a:custGeom>
                <a:solidFill>
                  <a:srgbClr val="FFFFFF"/>
                </a:solidFill>
                <a:ln w="3175" cap="flat" cmpd="sng">
                  <a:noFill/>
                  <a:prstDash val="solid"/>
                  <a:round/>
                  <a:headEnd type="none" w="med" len="med"/>
                  <a:tailEnd type="none" w="med" len="med"/>
                </a:ln>
                <a:effectLst/>
              </p:spPr>
              <p:txBody>
                <a:bodyPr wrap="none" lIns="0" tIns="0" rIns="0" bIns="0" anchor="ctr">
                  <a:spAutoFit/>
                </a:bodyPr>
                <a:lstStyle/>
                <a:p>
                  <a:pPr>
                    <a:defRPr/>
                  </a:pPr>
                  <a:endParaRPr lang="pt-BR" sz="2400" kern="0" noProof="1">
                    <a:solidFill>
                      <a:srgbClr val="000000"/>
                    </a:solidFill>
                    <a:latin typeface="Graphik" panose="020B0503030202060203" pitchFamily="34" charset="77"/>
                  </a:endParaRPr>
                </a:p>
              </p:txBody>
            </p:sp>
            <p:sp>
              <p:nvSpPr>
                <p:cNvPr id="33" name="Line 17">
                  <a:extLst>
                    <a:ext uri="{FF2B5EF4-FFF2-40B4-BE49-F238E27FC236}">
                      <a16:creationId xmlns:a16="http://schemas.microsoft.com/office/drawing/2014/main" id="{52B2CE2F-8A6D-406C-B7BA-EF68C36B8E16}"/>
                    </a:ext>
                  </a:extLst>
                </p:cNvPr>
                <p:cNvSpPr>
                  <a:spLocks noChangeShapeType="1"/>
                </p:cNvSpPr>
                <p:nvPr/>
              </p:nvSpPr>
              <p:spPr bwMode="auto">
                <a:xfrm flipV="1">
                  <a:off x="3130" y="2080"/>
                  <a:ext cx="180" cy="288"/>
                </a:xfrm>
                <a:prstGeom prst="line">
                  <a:avLst/>
                </a:prstGeom>
                <a:noFill/>
                <a:ln w="6350">
                  <a:solidFill>
                    <a:srgbClr val="666666"/>
                  </a:solidFill>
                  <a:round/>
                  <a:headEnd/>
                  <a:tailEnd/>
                </a:ln>
                <a:effectLst/>
              </p:spPr>
              <p:txBody>
                <a:bodyPr wrap="none" lIns="0" tIns="0" rIns="0" bIns="0" anchor="ctr">
                  <a:spAutoFit/>
                </a:bodyPr>
                <a:lstStyle/>
                <a:p>
                  <a:pPr>
                    <a:defRPr/>
                  </a:pPr>
                  <a:endParaRPr lang="pt-BR" sz="2400" kern="0" noProof="1">
                    <a:solidFill>
                      <a:srgbClr val="000000"/>
                    </a:solidFill>
                    <a:latin typeface="Graphik" panose="020B0503030202060203" pitchFamily="34" charset="77"/>
                  </a:endParaRPr>
                </a:p>
              </p:txBody>
            </p:sp>
            <p:sp>
              <p:nvSpPr>
                <p:cNvPr id="34" name="Line 18">
                  <a:extLst>
                    <a:ext uri="{FF2B5EF4-FFF2-40B4-BE49-F238E27FC236}">
                      <a16:creationId xmlns:a16="http://schemas.microsoft.com/office/drawing/2014/main" id="{C9EE60B0-06DF-4829-A4F4-AE3D08259D12}"/>
                    </a:ext>
                  </a:extLst>
                </p:cNvPr>
                <p:cNvSpPr>
                  <a:spLocks noChangeShapeType="1"/>
                </p:cNvSpPr>
                <p:nvPr/>
              </p:nvSpPr>
              <p:spPr bwMode="auto">
                <a:xfrm flipV="1">
                  <a:off x="3218" y="2080"/>
                  <a:ext cx="180" cy="288"/>
                </a:xfrm>
                <a:prstGeom prst="line">
                  <a:avLst/>
                </a:prstGeom>
                <a:noFill/>
                <a:ln w="6350">
                  <a:solidFill>
                    <a:srgbClr val="666666"/>
                  </a:solidFill>
                  <a:round/>
                  <a:headEnd/>
                  <a:tailEnd/>
                </a:ln>
                <a:effectLst/>
              </p:spPr>
              <p:txBody>
                <a:bodyPr wrap="none" lIns="0" tIns="0" rIns="0" bIns="0" anchor="ctr">
                  <a:spAutoFit/>
                </a:bodyPr>
                <a:lstStyle/>
                <a:p>
                  <a:pPr>
                    <a:defRPr/>
                  </a:pPr>
                  <a:endParaRPr lang="pt-BR" sz="2400" kern="0" noProof="1">
                    <a:solidFill>
                      <a:srgbClr val="000000"/>
                    </a:solidFill>
                    <a:latin typeface="Graphik" panose="020B0503030202060203" pitchFamily="34" charset="77"/>
                  </a:endParaRPr>
                </a:p>
              </p:txBody>
            </p:sp>
          </p:grpSp>
        </p:grpSp>
        <p:grpSp>
          <p:nvGrpSpPr>
            <p:cNvPr id="19" name="Group 18" descr="Example 3">
              <a:extLst>
                <a:ext uri="{FF2B5EF4-FFF2-40B4-BE49-F238E27FC236}">
                  <a16:creationId xmlns:a16="http://schemas.microsoft.com/office/drawing/2014/main" id="{CA3ECE89-BA94-4C86-A790-9E84DDC018E8}"/>
                </a:ext>
              </a:extLst>
            </p:cNvPr>
            <p:cNvGrpSpPr/>
            <p:nvPr/>
          </p:nvGrpSpPr>
          <p:grpSpPr>
            <a:xfrm>
              <a:off x="6831005" y="2426446"/>
              <a:ext cx="1837690" cy="3088803"/>
              <a:chOff x="6831005" y="2426446"/>
              <a:chExt cx="1837690" cy="3088803"/>
            </a:xfrm>
          </p:grpSpPr>
          <p:sp>
            <p:nvSpPr>
              <p:cNvPr id="20" name="Rectangle 47">
                <a:extLst>
                  <a:ext uri="{FF2B5EF4-FFF2-40B4-BE49-F238E27FC236}">
                    <a16:creationId xmlns:a16="http://schemas.microsoft.com/office/drawing/2014/main" id="{1AF5AEB1-5C82-4901-8C15-767388E5B7B9}"/>
                  </a:ext>
                </a:extLst>
              </p:cNvPr>
              <p:cNvSpPr>
                <a:spLocks noChangeArrowheads="1"/>
              </p:cNvSpPr>
              <p:nvPr/>
            </p:nvSpPr>
            <p:spPr bwMode="auto">
              <a:xfrm>
                <a:off x="7447030" y="4392534"/>
                <a:ext cx="396398" cy="1122715"/>
              </a:xfrm>
              <a:prstGeom prst="rect">
                <a:avLst/>
              </a:prstGeom>
              <a:solidFill>
                <a:schemeClr val="accent2"/>
              </a:solidFill>
              <a:ln w="6350">
                <a:noFill/>
                <a:miter lim="800000"/>
                <a:headEnd type="none" w="sm" len="sm"/>
                <a:tailEnd type="none" w="sm" len="sm"/>
              </a:ln>
              <a:effectLst/>
            </p:spPr>
            <p:txBody>
              <a:bodyPr wrap="none" anchor="ctr"/>
              <a:lstStyle/>
              <a:p>
                <a:pPr>
                  <a:defRPr/>
                </a:pPr>
                <a:endParaRPr lang="pt-BR" sz="2400" kern="0" noProof="1">
                  <a:solidFill>
                    <a:srgbClr val="000000"/>
                  </a:solidFill>
                  <a:latin typeface="Graphik" panose="020B0503030202060203" pitchFamily="34" charset="77"/>
                </a:endParaRPr>
              </a:p>
            </p:txBody>
          </p:sp>
          <p:sp>
            <p:nvSpPr>
              <p:cNvPr id="21" name="Text Box 54">
                <a:extLst>
                  <a:ext uri="{FF2B5EF4-FFF2-40B4-BE49-F238E27FC236}">
                    <a16:creationId xmlns:a16="http://schemas.microsoft.com/office/drawing/2014/main" id="{B9163689-BE72-4401-B707-8A2D7A9EDFD7}"/>
                  </a:ext>
                </a:extLst>
              </p:cNvPr>
              <p:cNvSpPr txBox="1">
                <a:spLocks noChangeArrowheads="1"/>
              </p:cNvSpPr>
              <p:nvPr/>
            </p:nvSpPr>
            <p:spPr bwMode="auto">
              <a:xfrm>
                <a:off x="6831005" y="4616248"/>
                <a:ext cx="394613" cy="184666"/>
              </a:xfrm>
              <a:prstGeom prst="rect">
                <a:avLst/>
              </a:prstGeom>
              <a:noFill/>
              <a:ln w="6350">
                <a:noFill/>
                <a:miter lim="800000"/>
                <a:headEnd type="none" w="sm" len="sm"/>
                <a:tailEnd type="none" w="sm" len="sm"/>
              </a:ln>
              <a:effectLst/>
            </p:spPr>
            <p:txBody>
              <a:bodyPr lIns="0" tIns="0" rIns="0" bIns="0" anchor="b">
                <a:spAutoFit/>
              </a:bodyPr>
              <a:lstStyle/>
              <a:p>
                <a:pPr algn="ctr" eaLnBrk="0" hangingPunct="0">
                  <a:spcBef>
                    <a:spcPct val="50000"/>
                  </a:spcBef>
                  <a:defRPr/>
                </a:pPr>
                <a:r>
                  <a:rPr lang="pt-BR" sz="1200" kern="0" noProof="1">
                    <a:solidFill>
                      <a:srgbClr val="000000"/>
                    </a:solidFill>
                    <a:latin typeface="Graphik" panose="020B0503030202060203" pitchFamily="34" charset="77"/>
                  </a:rPr>
                  <a:t>30</a:t>
                </a:r>
              </a:p>
            </p:txBody>
          </p:sp>
          <p:sp>
            <p:nvSpPr>
              <p:cNvPr id="22" name="Rectangle 55">
                <a:extLst>
                  <a:ext uri="{FF2B5EF4-FFF2-40B4-BE49-F238E27FC236}">
                    <a16:creationId xmlns:a16="http://schemas.microsoft.com/office/drawing/2014/main" id="{4541AE24-D18E-4580-8BD7-3ABD0A7563DA}"/>
                  </a:ext>
                </a:extLst>
              </p:cNvPr>
              <p:cNvSpPr>
                <a:spLocks noChangeArrowheads="1"/>
              </p:cNvSpPr>
              <p:nvPr/>
            </p:nvSpPr>
            <p:spPr bwMode="auto">
              <a:xfrm>
                <a:off x="6831005" y="4816509"/>
                <a:ext cx="394613" cy="698740"/>
              </a:xfrm>
              <a:prstGeom prst="rect">
                <a:avLst/>
              </a:prstGeom>
              <a:solidFill>
                <a:schemeClr val="accent2"/>
              </a:solidFill>
              <a:ln w="6350">
                <a:noFill/>
                <a:miter lim="800000"/>
                <a:headEnd type="none" w="sm" len="sm"/>
                <a:tailEnd type="none" w="sm" len="sm"/>
              </a:ln>
              <a:effectLst/>
            </p:spPr>
            <p:txBody>
              <a:bodyPr wrap="none" anchor="ctr"/>
              <a:lstStyle/>
              <a:p>
                <a:pPr>
                  <a:defRPr/>
                </a:pPr>
                <a:endParaRPr lang="pt-BR" sz="2400" kern="0" noProof="1">
                  <a:solidFill>
                    <a:srgbClr val="000000"/>
                  </a:solidFill>
                  <a:latin typeface="Graphik" panose="020B0503030202060203" pitchFamily="34" charset="77"/>
                </a:endParaRPr>
              </a:p>
            </p:txBody>
          </p:sp>
          <p:sp>
            <p:nvSpPr>
              <p:cNvPr id="23" name="Text Box 56">
                <a:extLst>
                  <a:ext uri="{FF2B5EF4-FFF2-40B4-BE49-F238E27FC236}">
                    <a16:creationId xmlns:a16="http://schemas.microsoft.com/office/drawing/2014/main" id="{3B3E4034-A99A-4FAB-AB9F-46FC92746840}"/>
                  </a:ext>
                </a:extLst>
              </p:cNvPr>
              <p:cNvSpPr txBox="1">
                <a:spLocks noChangeArrowheads="1"/>
              </p:cNvSpPr>
              <p:nvPr/>
            </p:nvSpPr>
            <p:spPr bwMode="auto">
              <a:xfrm>
                <a:off x="7447030" y="4184200"/>
                <a:ext cx="396399" cy="184666"/>
              </a:xfrm>
              <a:prstGeom prst="rect">
                <a:avLst/>
              </a:prstGeom>
              <a:noFill/>
              <a:ln w="6350">
                <a:noFill/>
                <a:miter lim="800000"/>
                <a:headEnd type="none" w="sm" len="sm"/>
                <a:tailEnd type="none" w="sm" len="sm"/>
              </a:ln>
              <a:effectLst/>
            </p:spPr>
            <p:txBody>
              <a:bodyPr lIns="0" tIns="0" rIns="0" bIns="0" anchor="b">
                <a:spAutoFit/>
              </a:bodyPr>
              <a:lstStyle/>
              <a:p>
                <a:pPr algn="ctr" eaLnBrk="0" hangingPunct="0">
                  <a:spcBef>
                    <a:spcPct val="50000"/>
                  </a:spcBef>
                  <a:defRPr/>
                </a:pPr>
                <a:r>
                  <a:rPr lang="pt-BR" sz="1200" kern="0" noProof="1">
                    <a:solidFill>
                      <a:srgbClr val="000000"/>
                    </a:solidFill>
                    <a:latin typeface="Graphik" panose="020B0503030202060203" pitchFamily="34" charset="77"/>
                  </a:rPr>
                  <a:t>50</a:t>
                </a:r>
              </a:p>
            </p:txBody>
          </p:sp>
          <p:grpSp>
            <p:nvGrpSpPr>
              <p:cNvPr id="24" name="Group 23">
                <a:extLst>
                  <a:ext uri="{FF2B5EF4-FFF2-40B4-BE49-F238E27FC236}">
                    <a16:creationId xmlns:a16="http://schemas.microsoft.com/office/drawing/2014/main" id="{F1651FE4-CDF5-4125-8844-367B7D8B8C2D}"/>
                  </a:ext>
                </a:extLst>
              </p:cNvPr>
              <p:cNvGrpSpPr/>
              <p:nvPr/>
            </p:nvGrpSpPr>
            <p:grpSpPr>
              <a:xfrm>
                <a:off x="7881255" y="2426446"/>
                <a:ext cx="787440" cy="3088803"/>
                <a:chOff x="8018415" y="2426446"/>
                <a:chExt cx="787440" cy="3088803"/>
              </a:xfrm>
            </p:grpSpPr>
            <p:sp>
              <p:nvSpPr>
                <p:cNvPr id="25" name="Rectangle 48">
                  <a:extLst>
                    <a:ext uri="{FF2B5EF4-FFF2-40B4-BE49-F238E27FC236}">
                      <a16:creationId xmlns:a16="http://schemas.microsoft.com/office/drawing/2014/main" id="{B1D65C59-E41F-406A-93E6-4BF4E5F33508}"/>
                    </a:ext>
                  </a:extLst>
                </p:cNvPr>
                <p:cNvSpPr>
                  <a:spLocks noChangeArrowheads="1"/>
                </p:cNvSpPr>
                <p:nvPr/>
              </p:nvSpPr>
              <p:spPr bwMode="auto">
                <a:xfrm>
                  <a:off x="8213936" y="2611112"/>
                  <a:ext cx="396398" cy="2904137"/>
                </a:xfrm>
                <a:prstGeom prst="rect">
                  <a:avLst/>
                </a:prstGeom>
                <a:solidFill>
                  <a:schemeClr val="accent2"/>
                </a:solidFill>
                <a:ln w="6350">
                  <a:noFill/>
                  <a:miter lim="800000"/>
                  <a:headEnd type="none" w="sm" len="sm"/>
                  <a:tailEnd type="none" w="sm" len="sm"/>
                </a:ln>
                <a:effectLst/>
              </p:spPr>
              <p:txBody>
                <a:bodyPr wrap="none" anchor="ctr"/>
                <a:lstStyle/>
                <a:p>
                  <a:pPr>
                    <a:defRPr/>
                  </a:pPr>
                  <a:endParaRPr lang="pt-BR" sz="2400" kern="0" noProof="1">
                    <a:solidFill>
                      <a:srgbClr val="000000"/>
                    </a:solidFill>
                    <a:latin typeface="Graphik" panose="020B0503030202060203" pitchFamily="34" charset="77"/>
                  </a:endParaRPr>
                </a:p>
              </p:txBody>
            </p:sp>
            <p:sp>
              <p:nvSpPr>
                <p:cNvPr id="26" name="Text Box 57">
                  <a:extLst>
                    <a:ext uri="{FF2B5EF4-FFF2-40B4-BE49-F238E27FC236}">
                      <a16:creationId xmlns:a16="http://schemas.microsoft.com/office/drawing/2014/main" id="{35647525-243A-4C0F-B202-A9256699BC51}"/>
                    </a:ext>
                  </a:extLst>
                </p:cNvPr>
                <p:cNvSpPr txBox="1">
                  <a:spLocks noChangeArrowheads="1"/>
                </p:cNvSpPr>
                <p:nvPr/>
              </p:nvSpPr>
              <p:spPr bwMode="auto">
                <a:xfrm>
                  <a:off x="8213936" y="2426446"/>
                  <a:ext cx="396399" cy="184666"/>
                </a:xfrm>
                <a:prstGeom prst="rect">
                  <a:avLst/>
                </a:prstGeom>
                <a:noFill/>
                <a:ln w="6350">
                  <a:noFill/>
                  <a:miter lim="800000"/>
                  <a:headEnd type="none" w="sm" len="sm"/>
                  <a:tailEnd type="none" w="sm" len="sm"/>
                </a:ln>
                <a:effectLst/>
              </p:spPr>
              <p:txBody>
                <a:bodyPr lIns="0" tIns="0" rIns="0" bIns="0" anchor="b">
                  <a:spAutoFit/>
                </a:bodyPr>
                <a:lstStyle/>
                <a:p>
                  <a:pPr algn="ctr" eaLnBrk="0" hangingPunct="0">
                    <a:spcBef>
                      <a:spcPct val="50000"/>
                    </a:spcBef>
                    <a:defRPr/>
                  </a:pPr>
                  <a:r>
                    <a:rPr lang="pt-BR" sz="1200" kern="0" noProof="1">
                      <a:solidFill>
                        <a:srgbClr val="000000"/>
                      </a:solidFill>
                      <a:latin typeface="Graphik" panose="020B0503030202060203" pitchFamily="34" charset="77"/>
                    </a:rPr>
                    <a:t>300</a:t>
                  </a:r>
                </a:p>
              </p:txBody>
            </p:sp>
            <p:grpSp>
              <p:nvGrpSpPr>
                <p:cNvPr id="27" name="Group 69">
                  <a:extLst>
                    <a:ext uri="{FF2B5EF4-FFF2-40B4-BE49-F238E27FC236}">
                      <a16:creationId xmlns:a16="http://schemas.microsoft.com/office/drawing/2014/main" id="{6F000997-D926-476E-A21B-A856DEFAE410}"/>
                    </a:ext>
                  </a:extLst>
                </p:cNvPr>
                <p:cNvGrpSpPr>
                  <a:grpSpLocks/>
                </p:cNvGrpSpPr>
                <p:nvPr/>
              </p:nvGrpSpPr>
              <p:grpSpPr bwMode="auto">
                <a:xfrm rot="16200000" flipH="1">
                  <a:off x="8009086" y="3073530"/>
                  <a:ext cx="806098" cy="787440"/>
                  <a:chOff x="4332" y="2562"/>
                  <a:chExt cx="268" cy="289"/>
                </a:xfrm>
              </p:grpSpPr>
              <p:sp>
                <p:nvSpPr>
                  <p:cNvPr id="28" name="Freeform 70">
                    <a:extLst>
                      <a:ext uri="{FF2B5EF4-FFF2-40B4-BE49-F238E27FC236}">
                        <a16:creationId xmlns:a16="http://schemas.microsoft.com/office/drawing/2014/main" id="{64755462-AA99-4A1F-B095-0689E85F8D7C}"/>
                      </a:ext>
                    </a:extLst>
                  </p:cNvPr>
                  <p:cNvSpPr>
                    <a:spLocks/>
                  </p:cNvSpPr>
                  <p:nvPr/>
                </p:nvSpPr>
                <p:spPr bwMode="auto">
                  <a:xfrm>
                    <a:off x="4466" y="2639"/>
                    <a:ext cx="0" cy="136"/>
                  </a:xfrm>
                  <a:custGeom>
                    <a:avLst/>
                    <a:gdLst/>
                    <a:ahLst/>
                    <a:cxnLst>
                      <a:cxn ang="0">
                        <a:pos x="102" y="0"/>
                      </a:cxn>
                      <a:cxn ang="0">
                        <a:pos x="199" y="0"/>
                      </a:cxn>
                      <a:cxn ang="0">
                        <a:pos x="97" y="177"/>
                      </a:cxn>
                      <a:cxn ang="0">
                        <a:pos x="0" y="177"/>
                      </a:cxn>
                      <a:cxn ang="0">
                        <a:pos x="102" y="0"/>
                      </a:cxn>
                    </a:cxnLst>
                    <a:rect l="0" t="0" r="r" b="b"/>
                    <a:pathLst>
                      <a:path w="199" h="177">
                        <a:moveTo>
                          <a:pt x="102" y="0"/>
                        </a:moveTo>
                        <a:lnTo>
                          <a:pt x="199" y="0"/>
                        </a:lnTo>
                        <a:lnTo>
                          <a:pt x="97" y="177"/>
                        </a:lnTo>
                        <a:lnTo>
                          <a:pt x="0" y="177"/>
                        </a:lnTo>
                        <a:lnTo>
                          <a:pt x="102" y="0"/>
                        </a:lnTo>
                        <a:close/>
                      </a:path>
                    </a:pathLst>
                  </a:custGeom>
                  <a:solidFill>
                    <a:srgbClr val="FFFFFF"/>
                  </a:solidFill>
                  <a:ln w="3175" cap="flat" cmpd="sng">
                    <a:noFill/>
                    <a:prstDash val="solid"/>
                    <a:round/>
                    <a:headEnd type="none" w="med" len="med"/>
                    <a:tailEnd type="none" w="med" len="med"/>
                  </a:ln>
                  <a:effectLst/>
                </p:spPr>
                <p:txBody>
                  <a:bodyPr wrap="none" lIns="0" tIns="0" rIns="0" bIns="0" anchor="ctr">
                    <a:spAutoFit/>
                  </a:bodyPr>
                  <a:lstStyle/>
                  <a:p>
                    <a:pPr>
                      <a:defRPr/>
                    </a:pPr>
                    <a:endParaRPr lang="pt-BR" sz="2400" kern="0" noProof="1">
                      <a:solidFill>
                        <a:srgbClr val="000000"/>
                      </a:solidFill>
                      <a:latin typeface="Graphik" panose="020B0503030202060203" pitchFamily="34" charset="77"/>
                    </a:endParaRPr>
                  </a:p>
                </p:txBody>
              </p:sp>
              <p:sp>
                <p:nvSpPr>
                  <p:cNvPr id="29" name="Line 71">
                    <a:extLst>
                      <a:ext uri="{FF2B5EF4-FFF2-40B4-BE49-F238E27FC236}">
                        <a16:creationId xmlns:a16="http://schemas.microsoft.com/office/drawing/2014/main" id="{F9DA9FF5-9B1F-459F-984F-45DF6CC58D8E}"/>
                      </a:ext>
                    </a:extLst>
                  </p:cNvPr>
                  <p:cNvSpPr>
                    <a:spLocks noChangeShapeType="1"/>
                  </p:cNvSpPr>
                  <p:nvPr/>
                </p:nvSpPr>
                <p:spPr bwMode="auto">
                  <a:xfrm flipV="1">
                    <a:off x="4332" y="2562"/>
                    <a:ext cx="180" cy="289"/>
                  </a:xfrm>
                  <a:prstGeom prst="line">
                    <a:avLst/>
                  </a:prstGeom>
                  <a:noFill/>
                  <a:ln w="6350">
                    <a:solidFill>
                      <a:schemeClr val="tx1">
                        <a:lumMod val="85000"/>
                        <a:lumOff val="15000"/>
                      </a:schemeClr>
                    </a:solidFill>
                    <a:round/>
                    <a:headEnd/>
                    <a:tailEnd/>
                  </a:ln>
                  <a:effectLst/>
                </p:spPr>
                <p:txBody>
                  <a:bodyPr lIns="0" tIns="0" rIns="0" bIns="0" anchor="ctr">
                    <a:spAutoFit/>
                  </a:bodyPr>
                  <a:lstStyle/>
                  <a:p>
                    <a:pPr>
                      <a:defRPr/>
                    </a:pPr>
                    <a:endParaRPr lang="pt-BR" sz="2400" kern="0" noProof="1">
                      <a:solidFill>
                        <a:srgbClr val="000000"/>
                      </a:solidFill>
                      <a:latin typeface="Graphik" panose="020B0503030202060203" pitchFamily="34" charset="77"/>
                    </a:endParaRPr>
                  </a:p>
                </p:txBody>
              </p:sp>
              <p:sp>
                <p:nvSpPr>
                  <p:cNvPr id="30" name="Line 72">
                    <a:extLst>
                      <a:ext uri="{FF2B5EF4-FFF2-40B4-BE49-F238E27FC236}">
                        <a16:creationId xmlns:a16="http://schemas.microsoft.com/office/drawing/2014/main" id="{EC010467-B1A1-4B55-B3EA-1B4B105E6EB1}"/>
                      </a:ext>
                    </a:extLst>
                  </p:cNvPr>
                  <p:cNvSpPr>
                    <a:spLocks noChangeShapeType="1"/>
                  </p:cNvSpPr>
                  <p:nvPr/>
                </p:nvSpPr>
                <p:spPr bwMode="auto">
                  <a:xfrm flipV="1">
                    <a:off x="4420" y="2562"/>
                    <a:ext cx="180" cy="289"/>
                  </a:xfrm>
                  <a:prstGeom prst="line">
                    <a:avLst/>
                  </a:prstGeom>
                  <a:noFill/>
                  <a:ln w="6350">
                    <a:solidFill>
                      <a:schemeClr val="tx1">
                        <a:lumMod val="85000"/>
                        <a:lumOff val="15000"/>
                      </a:schemeClr>
                    </a:solidFill>
                    <a:round/>
                    <a:headEnd/>
                    <a:tailEnd/>
                  </a:ln>
                  <a:effectLst/>
                </p:spPr>
                <p:txBody>
                  <a:bodyPr wrap="none" lIns="0" tIns="0" rIns="0" bIns="0" anchor="ctr">
                    <a:spAutoFit/>
                  </a:bodyPr>
                  <a:lstStyle/>
                  <a:p>
                    <a:pPr>
                      <a:defRPr/>
                    </a:pPr>
                    <a:endParaRPr lang="pt-BR" sz="2400" kern="0" noProof="1">
                      <a:solidFill>
                        <a:srgbClr val="000000"/>
                      </a:solidFill>
                      <a:latin typeface="Graphik" panose="020B0503030202060203" pitchFamily="34" charset="77"/>
                    </a:endParaRPr>
                  </a:p>
                </p:txBody>
              </p:sp>
            </p:grpSp>
          </p:grpSp>
        </p:grpSp>
      </p:grpSp>
    </p:spTree>
    <p:extLst>
      <p:ext uri="{BB962C8B-B14F-4D97-AF65-F5344CB8AC3E}">
        <p14:creationId xmlns:p14="http://schemas.microsoft.com/office/powerpoint/2010/main" val="15364040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fqCCm5X7VEibe9hRoaqGu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vjBn.1htYkGrsKja.lkSi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n0w4D3ISHU670PAIPdame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4lfIPjOwXk6XCXUfumL6.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pTmDTmN56USVln.NUqenv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f2MhByKun0yguTCRuCo0m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KxyIafwrAUGg_tovVB3rv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RqtpEhBkjk2g9ZwRzp5_F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UyTmvNAuvEW22avsHQYEg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aWh1RFGiykCMiTJsqXf8l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nQnLNms1NEKiI6Ge7EZKJ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DpbSpTuIL0G49tIO8Ta6_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abnr8IoUdkGFf2FFIj2n4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vziMqyb0EW09b4_7txu4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4KcmbVWCD0uML3Tcy6QN9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us2ivGvxKkSg13zfnAN6w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Bm2Z_90sSke6gedGNcs1B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Mdzw_UmVr0GbV3MH3v9Zo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rg.hJrQ4IUOELC4OK3cSu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HMopunUVqEiM8JXUbpfKW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zgndlnyfwk29ejN9zegOr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KXJ_eEJsdUuu1S5lfwNF0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oCm1KWWD3UaN8JwEwEqEr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3V_Yu998YESjhzv9TWAl7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DDpiakMoFkCkOrS0wsZ1Q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BsTALFjzAEeWiQ1NOFszu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19SMUo6KQU6DGTZ24YX6n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FcMEKH3B60Ou4JZAMbg6u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ccenture 2025">
  <a:themeElements>
    <a:clrScheme name="Accenture">
      <a:dk1>
        <a:srgbClr val="000000"/>
      </a:dk1>
      <a:lt1>
        <a:srgbClr val="FFFFFF"/>
      </a:lt1>
      <a:dk2>
        <a:srgbClr val="A100FF"/>
      </a:dk2>
      <a:lt2>
        <a:srgbClr val="460073"/>
      </a:lt2>
      <a:accent1>
        <a:srgbClr val="7500C0"/>
      </a:accent1>
      <a:accent2>
        <a:srgbClr val="C2A3FF"/>
      </a:accent2>
      <a:accent3>
        <a:srgbClr val="E6DCFF"/>
      </a:accent3>
      <a:accent4>
        <a:srgbClr val="FF50A0"/>
      </a:accent4>
      <a:accent5>
        <a:srgbClr val="224BFF"/>
      </a:accent5>
      <a:accent6>
        <a:srgbClr val="05F2DB"/>
      </a:accent6>
      <a:hlink>
        <a:srgbClr val="A100FF"/>
      </a:hlink>
      <a:folHlink>
        <a:srgbClr val="7500C0"/>
      </a:folHlink>
    </a:clrScheme>
    <a:fontScheme name="GraphikReg-GraphikSemiB">
      <a:majorFont>
        <a:latin typeface="Graphik-Semibold"/>
        <a:ea typeface=""/>
        <a:cs typeface=""/>
      </a:majorFont>
      <a:minorFont>
        <a:latin typeface="Graphik Regula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extLst>
    <a:ext uri="{05A4C25C-085E-4340-85A3-A5531E510DB2}">
      <thm15:themeFamily xmlns:thm15="http://schemas.microsoft.com/office/thememl/2012/main" name="Accenture PPT" id="{F073B871-DA14-4D86-A3AA-AF0AAB57A125}" vid="{6E7249F0-0E3D-47F3-A4B8-C7D7D0D831BB}"/>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38490fd2-3874-498a-a766-2fc8121cd514">
      <Terms xmlns="http://schemas.microsoft.com/office/infopath/2007/PartnerControls"/>
    </lcf76f155ced4ddcb4097134ff3c332f>
    <TaxCatchAll xmlns="9c82783a-043f-442e-839a-a2edde742a9b"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o" ma:contentTypeID="0x010100F7A2D550D75BD947995C632333D530AD" ma:contentTypeVersion="16" ma:contentTypeDescription="Crie um novo documento." ma:contentTypeScope="" ma:versionID="44f7630f195cd5fe4623c43115f9f778">
  <xsd:schema xmlns:xsd="http://www.w3.org/2001/XMLSchema" xmlns:xs="http://www.w3.org/2001/XMLSchema" xmlns:p="http://schemas.microsoft.com/office/2006/metadata/properties" xmlns:ns2="9c82783a-043f-442e-839a-a2edde742a9b" xmlns:ns3="38490fd2-3874-498a-a766-2fc8121cd514" targetNamespace="http://schemas.microsoft.com/office/2006/metadata/properties" ma:root="true" ma:fieldsID="758fc7df70945e5ab80d8b231c324ae5" ns2:_="" ns3:_="">
    <xsd:import namespace="9c82783a-043f-442e-839a-a2edde742a9b"/>
    <xsd:import namespace="38490fd2-3874-498a-a766-2fc8121cd514"/>
    <xsd:element name="properties">
      <xsd:complexType>
        <xsd:sequence>
          <xsd:element name="documentManagement">
            <xsd:complexType>
              <xsd:all>
                <xsd:element ref="ns2:SharedWithUsers" minOccurs="0"/>
                <xsd:element ref="ns2:SharedWithDetails" minOccurs="0"/>
                <xsd:element ref="ns3:lcf76f155ced4ddcb4097134ff3c332f" minOccurs="0"/>
                <xsd:element ref="ns2:TaxCatchAll" minOccurs="0"/>
                <xsd:element ref="ns3:MediaServiceMetadata" minOccurs="0"/>
                <xsd:element ref="ns3:MediaServiceFastMetadata" minOccurs="0"/>
                <xsd:element ref="ns3:MediaServiceSearchProperties" minOccurs="0"/>
                <xsd:element ref="ns3:MediaServiceDateTaken" minOccurs="0"/>
                <xsd:element ref="ns3:MediaServiceObjectDetectorVersions" minOccurs="0"/>
                <xsd:element ref="ns3:MediaServiceOCR" minOccurs="0"/>
                <xsd:element ref="ns3:MediaServiceGenerationTime" minOccurs="0"/>
                <xsd:element ref="ns3:MediaServiceEventHashCode" minOccurs="0"/>
                <xsd:element ref="ns3:MediaServiceLocation" minOccurs="0"/>
                <xsd:element ref="ns3:MediaLengthInSeconds" minOccurs="0"/>
                <xsd:element ref="ns3: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c82783a-043f-442e-839a-a2edde742a9b" elementFormDefault="qualified">
    <xsd:import namespace="http://schemas.microsoft.com/office/2006/documentManagement/types"/>
    <xsd:import namespace="http://schemas.microsoft.com/office/infopath/2007/PartnerControls"/>
    <xsd:element name="SharedWithUsers" ma:index="8" nillable="true" ma:displayName="Compartilhado com"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Detalhes de Compartilhado Com" ma:internalName="SharedWithDetails" ma:readOnly="true">
      <xsd:simpleType>
        <xsd:restriction base="dms:Note">
          <xsd:maxLength value="255"/>
        </xsd:restriction>
      </xsd:simpleType>
    </xsd:element>
    <xsd:element name="TaxCatchAll" ma:index="12" nillable="true" ma:displayName="Taxonomy Catch All Column" ma:hidden="true" ma:list="{e3a034e9-9b93-4ffb-8ea8-7796ba805990}" ma:internalName="TaxCatchAll" ma:showField="CatchAllData" ma:web="9c82783a-043f-442e-839a-a2edde742a9b">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38490fd2-3874-498a-a766-2fc8121cd514" elementFormDefault="qualified">
    <xsd:import namespace="http://schemas.microsoft.com/office/2006/documentManagement/types"/>
    <xsd:import namespace="http://schemas.microsoft.com/office/infopath/2007/PartnerControls"/>
    <xsd:element name="lcf76f155ced4ddcb4097134ff3c332f" ma:index="11" nillable="true" ma:taxonomy="true" ma:internalName="lcf76f155ced4ddcb4097134ff3c332f" ma:taxonomyFieldName="MediaServiceImageTags" ma:displayName="Marcações de imagem" ma:readOnly="false" ma:fieldId="{5cf76f15-5ced-4ddc-b409-7134ff3c332f}" ma:taxonomyMulti="true" ma:sspId="6d165d17-9b79-46c3-82b9-c927e733c429" ma:termSetId="09814cd3-568e-fe90-9814-8d621ff8fb84" ma:anchorId="fba54fb3-c3e1-fe81-a776-ca4b69148c4d" ma:open="true" ma:isKeyword="false">
      <xsd:complexType>
        <xsd:sequence>
          <xsd:element ref="pc:Terms" minOccurs="0" maxOccurs="1"/>
        </xsd:sequence>
      </xsd:complex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SearchProperties" ma:index="15" nillable="true" ma:displayName="MediaServiceSearchProperties" ma:hidden="true" ma:internalName="MediaServiceSearchProperties" ma:readOnly="true">
      <xsd:simpleType>
        <xsd:restriction base="dms:Note"/>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element name="MediaServiceBillingMetadata" ma:index="23" nillable="true" ma:displayName="MediaServiceBillingMetadata" ma:hidden="true" ma:internalName="MediaServiceBilling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ú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6FDE27C-16C4-45FF-A19B-13BD8B1086D5}">
  <ds:schemaRefs>
    <ds:schemaRef ds:uri="http://purl.org/dc/dcmitype/"/>
    <ds:schemaRef ds:uri="http://purl.org/dc/elements/1.1/"/>
    <ds:schemaRef ds:uri="9c82783a-043f-442e-839a-a2edde742a9b"/>
    <ds:schemaRef ds:uri="http://schemas.microsoft.com/office/infopath/2007/PartnerControls"/>
    <ds:schemaRef ds:uri="http://schemas.openxmlformats.org/package/2006/metadata/core-properties"/>
    <ds:schemaRef ds:uri="http://schemas.microsoft.com/office/2006/documentManagement/types"/>
    <ds:schemaRef ds:uri="http://purl.org/dc/terms/"/>
    <ds:schemaRef ds:uri="38490fd2-3874-498a-a766-2fc8121cd514"/>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7D3D6F78-81B7-47B6-8CF7-E951D6C2F76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c82783a-043f-442e-839a-a2edde742a9b"/>
    <ds:schemaRef ds:uri="38490fd2-3874-498a-a766-2fc8121cd51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9CBD5EA-191D-4269-ACD5-80F26C7B100A}">
  <ds:schemaRefs>
    <ds:schemaRef ds:uri="http://schemas.microsoft.com/sharepoint/v3/contenttype/forms"/>
  </ds:schemaRefs>
</ds:datastoreItem>
</file>

<file path=docMetadata/LabelInfo.xml><?xml version="1.0" encoding="utf-8"?>
<clbl:labelList xmlns:clbl="http://schemas.microsoft.com/office/2020/mipLabelMetadata">
  <clbl:label id="{e0793d39-0939-496d-b129-198edd916feb}" enabled="0" method="" siteId="{e0793d39-0939-496d-b129-198edd916feb}" removed="1"/>
</clbl:labelList>
</file>

<file path=docProps/app.xml><?xml version="1.0" encoding="utf-8"?>
<Properties xmlns="http://schemas.openxmlformats.org/officeDocument/2006/extended-properties" xmlns:vt="http://schemas.openxmlformats.org/officeDocument/2006/docPropsVTypes">
  <Template>ACN Graphik Template_FIXED 1</Template>
  <TotalTime>1403</TotalTime>
  <Words>5769</Words>
  <Application>Microsoft Office PowerPoint</Application>
  <PresentationFormat>Widescreen</PresentationFormat>
  <Paragraphs>1299</Paragraphs>
  <Slides>101</Slides>
  <Notes>101</Notes>
  <HiddenSlides>79</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01</vt:i4>
      </vt:variant>
    </vt:vector>
  </HeadingPairs>
  <TitlesOfParts>
    <vt:vector size="112" baseType="lpstr">
      <vt:lpstr>Aptos Narrow</vt:lpstr>
      <vt:lpstr>Arial</vt:lpstr>
      <vt:lpstr>Cambria Math</vt:lpstr>
      <vt:lpstr>Graphik</vt:lpstr>
      <vt:lpstr>Graphik Regular</vt:lpstr>
      <vt:lpstr>Graphik Semibold</vt:lpstr>
      <vt:lpstr>GT Sectra Fine Rg</vt:lpstr>
      <vt:lpstr>System Font</vt:lpstr>
      <vt:lpstr>Wingdings</vt:lpstr>
      <vt:lpstr>Accenture 2025</vt:lpstr>
      <vt:lpstr>think-cell Slide</vt:lpstr>
      <vt:lpstr>Framework VEM-Deep Learning Híbrido Adaptativo para Problemas Estruturais 2D com Estimativa de Incerteza</vt:lpstr>
      <vt:lpstr>Estrutura da Apresentação</vt:lpstr>
      <vt:lpstr>Contextualização do trabalho</vt:lpstr>
      <vt:lpstr>Motivação do Trabalho</vt:lpstr>
      <vt:lpstr>A integração entre VEM, Deep Learning e quantificação de incerteza surge como uma forma de unir precisão, rapidez e confiabilidade na análise estrutural.</vt:lpstr>
      <vt:lpstr>Objetivo do Trabalho</vt:lpstr>
      <vt:lpstr>Contribuições do Trabalho</vt:lpstr>
      <vt:lpstr>Revisão Bibliográfica</vt:lpstr>
      <vt:lpstr>Histórico dos Métodos Numéricos - (1/2)</vt:lpstr>
      <vt:lpstr>Histórico dos Métodos Numéricos - (2/2)</vt:lpstr>
      <vt:lpstr>Evolução Histórica do Machine Learning e Deep Learning</vt:lpstr>
      <vt:lpstr>Fundamentos da Incerteza em Deep Learning</vt:lpstr>
      <vt:lpstr>Outros Métodos em Machine Learning</vt:lpstr>
      <vt:lpstr>Fundamentação Teórica</vt:lpstr>
      <vt:lpstr>Fundamentos da Elasticidade Linear</vt:lpstr>
      <vt:lpstr>Fundamentos de Machine Learning</vt:lpstr>
      <vt:lpstr>Metodologia</vt:lpstr>
      <vt:lpstr>Metodologia do Framework Híbrido VEM + DL</vt:lpstr>
      <vt:lpstr>Resultados</vt:lpstr>
      <vt:lpstr>Comparação entre o VEM e a Rede Neural</vt:lpstr>
      <vt:lpstr>Evolução do Erro Durante o Treinamento</vt:lpstr>
      <vt:lpstr>Conclusão</vt:lpstr>
      <vt:lpstr>PowerPoint Presentation</vt:lpstr>
      <vt:lpstr>Obrigado!</vt:lpstr>
      <vt:lpstr>Contents</vt:lpstr>
      <vt:lpstr>Getting started with  this template</vt:lpstr>
      <vt:lpstr>How to make your story impactful</vt:lpstr>
      <vt:lpstr>How to structure a great story</vt:lpstr>
      <vt:lpstr>Colors</vt:lpstr>
      <vt:lpstr>Fonts</vt:lpstr>
      <vt:lpstr>Place section title here #1</vt:lpstr>
      <vt:lpstr>Place section  title here #2</vt:lpstr>
      <vt:lpstr>Place section  title here #3</vt:lpstr>
      <vt:lpstr>Place headline in Graphik semibold #3</vt:lpstr>
      <vt:lpstr>Place headline  in Graphik semibold #4</vt:lpstr>
      <vt:lpstr>Place a call-out here, make the most important word purple.</vt:lpstr>
      <vt:lpstr>“Place quote here #1. Lorem ipsum dolor sit amet, consectetuer adipiscing elit, sed diam nonummy nibh euismod tincidunt ut.”</vt:lpstr>
      <vt:lpstr>“Place quote here #2. Lorem ipsum dolor sit amet, consectetuer adipiscing elit, sed diam nonummy nibh euismod tincidunt ut elit.”</vt:lpstr>
      <vt:lpstr>“Place quote here #3. Lorem ipsum dolor sit amet, consectetuer adipiscing elit, sed diam nonummy nibh euismod tincidunt elit ut.”</vt:lpstr>
      <vt:lpstr>Place headline here #5</vt:lpstr>
      <vt:lpstr>Place headline here #6</vt:lpstr>
      <vt:lpstr>Place headline here #7</vt:lpstr>
      <vt:lpstr>Place headline in Graphik semibold #8</vt:lpstr>
      <vt:lpstr>Place headline here in Graphik semibold #9</vt:lpstr>
      <vt:lpstr>Place headline here in Graphik semibold #10</vt:lpstr>
      <vt:lpstr>Place headline in Graphik semibold #11</vt:lpstr>
      <vt:lpstr>Place headline in Graphik semibold #12</vt:lpstr>
      <vt:lpstr>Place headline here in Graphik semibold #13</vt:lpstr>
      <vt:lpstr>Place headline here in Graphik semibold #14</vt:lpstr>
      <vt:lpstr>Place headline here in Graphik semibold #15</vt:lpstr>
      <vt:lpstr>Place headline in Graphik semibold #16</vt:lpstr>
      <vt:lpstr>Place headline in Graphik semibold #17</vt:lpstr>
      <vt:lpstr>Place headline in Graphik semibold #18</vt:lpstr>
      <vt:lpstr>Place headline in Graphik semibold #19</vt:lpstr>
      <vt:lpstr>01</vt:lpstr>
      <vt:lpstr>01a</vt:lpstr>
      <vt:lpstr>Place headline here in Graphik semibold #20</vt:lpstr>
      <vt:lpstr>Place headline here in Graphik semibold #21</vt:lpstr>
      <vt:lpstr>Infographics</vt:lpstr>
      <vt:lpstr>Graphics</vt:lpstr>
      <vt:lpstr>Index</vt:lpstr>
      <vt:lpstr>Charts</vt:lpstr>
      <vt:lpstr>Accessibility table</vt:lpstr>
      <vt:lpstr>Order of colors</vt:lpstr>
      <vt:lpstr>Horizontal bar chart example</vt:lpstr>
      <vt:lpstr>Vertical bar chart example</vt:lpstr>
      <vt:lpstr>Lines chart example</vt:lpstr>
      <vt:lpstr>Lines chart example 2</vt:lpstr>
      <vt:lpstr>Combination column-line chart example</vt:lpstr>
      <vt:lpstr>Area chart example</vt:lpstr>
      <vt:lpstr>Pie chart example</vt:lpstr>
      <vt:lpstr>Combined pie charts</vt:lpstr>
      <vt:lpstr>Multilayer pie chart example</vt:lpstr>
      <vt:lpstr>Histogram chart example</vt:lpstr>
      <vt:lpstr>Box and whisker chart example</vt:lpstr>
      <vt:lpstr>Scatter chart example</vt:lpstr>
      <vt:lpstr>Scatter bubble chart example</vt:lpstr>
      <vt:lpstr>Waterfall chart example</vt:lpstr>
      <vt:lpstr>Funnel chart example</vt:lpstr>
      <vt:lpstr>Stock chart example</vt:lpstr>
      <vt:lpstr>Radar chart example</vt:lpstr>
      <vt:lpstr>XY matrix example</vt:lpstr>
      <vt:lpstr>Flows, diagrams, and other structures</vt:lpstr>
      <vt:lpstr>Circle illustration</vt:lpstr>
      <vt:lpstr>Horizontal issue tree example – PROPOSAL </vt:lpstr>
      <vt:lpstr>Vertical issue tree example – PROPOSAL </vt:lpstr>
      <vt:lpstr>Gantt chart example</vt:lpstr>
      <vt:lpstr>Program status dashboard example</vt:lpstr>
      <vt:lpstr>Project timeline 2</vt:lpstr>
      <vt:lpstr>Prioritization matrix</vt:lpstr>
      <vt:lpstr>Scoring</vt:lpstr>
      <vt:lpstr>Scoring with stars</vt:lpstr>
      <vt:lpstr>2x2 matrix chart example</vt:lpstr>
      <vt:lpstr>Illustrative graphs  and frameworks</vt:lpstr>
      <vt:lpstr>Exponential curve illustrative graphs</vt:lpstr>
      <vt:lpstr>Distribution illustrative graphs</vt:lpstr>
      <vt:lpstr>Small illustrative graphs</vt:lpstr>
      <vt:lpstr>Useful objects</vt:lpstr>
      <vt:lpstr>Discontinuous axis marks</vt:lpstr>
      <vt:lpstr>Harvey ball legends</vt:lpstr>
      <vt:lpstr>Thank you</vt:lpstr>
    </vt:vector>
  </TitlesOfParts>
  <Manager>Canvas team</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Falcão Lacerda, Rafael</dc:creator>
  <cp:keywords/>
  <dc:description>version 18, Graphik font family</dc:description>
  <cp:lastModifiedBy>Falcão Lacerda, Rafael</cp:lastModifiedBy>
  <cp:revision>1</cp:revision>
  <dcterms:created xsi:type="dcterms:W3CDTF">2025-12-07T17:54:54Z</dcterms:created>
  <dcterms:modified xsi:type="dcterms:W3CDTF">2025-12-08T17:18:18Z</dcterms:modified>
  <cp:category>template deck</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A2D550D75BD947995C632333D530AD</vt:lpwstr>
  </property>
  <property fmtid="{D5CDD505-2E9C-101B-9397-08002B2CF9AE}" pid="3" name="MediaServiceImageTags">
    <vt:lpwstr/>
  </property>
</Properties>
</file>